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lsb" ContentType="application/vnd.ms-excel.sheet.binary.macroEnabled.12"/>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3.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4.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theme/theme7.xml" ContentType="application/vnd.openxmlformats-officedocument.theme+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8.xml" ContentType="application/vnd.openxmlformats-officedocument.theme+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9.xml" ContentType="application/vnd.openxmlformats-officedocument.theme+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1.xml" ContentType="application/vnd.openxmlformats-officedocument.theme+xml"/>
  <Override PartName="/ppt/tags/tag72.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theme/theme12.xml" ContentType="application/vnd.openxmlformats-officedocument.theme+xml"/>
  <Override PartName="/ppt/tags/tag73.xml" ContentType="application/vnd.openxmlformats-officedocument.presentationml.tags+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theme/theme13.xml" ContentType="application/vnd.openxmlformats-officedocument.theme+xml"/>
  <Override PartName="/ppt/tags/tag74.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77.xml" ContentType="application/vnd.openxmlformats-officedocument.presentationml.tags+xml"/>
  <Override PartName="/ppt/tags/tag78.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charts/chart4.xml" ContentType="application/vnd.openxmlformats-officedocument.drawingml.chart+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notesSlides/notesSlide6.xml" ContentType="application/vnd.openxmlformats-officedocument.presentationml.notesSlide+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tags/tag139.xml" ContentType="application/vnd.openxmlformats-officedocument.presentationml.tags+xml"/>
  <Override PartName="/ppt/tags/tag140.xml" ContentType="application/vnd.openxmlformats-officedocument.presentationml.tags+xml"/>
  <Override PartName="/ppt/notesSlides/notesSlide7.xml" ContentType="application/vnd.openxmlformats-officedocument.presentationml.notesSlide+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notesSlides/notesSlide8.xml" ContentType="application/vnd.openxmlformats-officedocument.presentationml.notesSlide+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notesSlides/notesSlide9.xml" ContentType="application/vnd.openxmlformats-officedocument.presentationml.notesSlide+xml"/>
  <Override PartName="/ppt/charts/chart9.xml" ContentType="application/vnd.openxmlformats-officedocument.drawingml.chart+xml"/>
  <Override PartName="/ppt/charts/chart10.xml" ContentType="application/vnd.openxmlformats-officedocument.drawingml.chart+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10.xml" ContentType="application/vnd.openxmlformats-officedocument.presentationml.notesSlide+xml"/>
  <Override PartName="/ppt/charts/chart11.xml" ContentType="application/vnd.openxmlformats-officedocument.drawingml.chart+xml"/>
  <Override PartName="/ppt/tags/tag216.xml" ContentType="application/vnd.openxmlformats-officedocument.presentationml.tags+xml"/>
  <Override PartName="/ppt/notesSlides/notesSlide1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783" r:id="rId4"/>
    <p:sldMasterId id="2147483792" r:id="rId5"/>
    <p:sldMasterId id="2147483801" r:id="rId6"/>
    <p:sldMasterId id="2147483810" r:id="rId7"/>
    <p:sldMasterId id="2147483821" r:id="rId8"/>
    <p:sldMasterId id="2147483830" r:id="rId9"/>
    <p:sldMasterId id="2147483839" r:id="rId10"/>
    <p:sldMasterId id="2147483850" r:id="rId11"/>
    <p:sldMasterId id="2147483859" r:id="rId12"/>
    <p:sldMasterId id="2147483868" r:id="rId13"/>
    <p:sldMasterId id="2147483885" r:id="rId14"/>
    <p:sldMasterId id="2147483936" r:id="rId15"/>
    <p:sldMasterId id="2147484025" r:id="rId16"/>
  </p:sldMasterIdLst>
  <p:notesMasterIdLst>
    <p:notesMasterId r:id="rId30"/>
  </p:notesMasterIdLst>
  <p:handoutMasterIdLst>
    <p:handoutMasterId r:id="rId31"/>
  </p:handoutMasterIdLst>
  <p:sldIdLst>
    <p:sldId id="887" r:id="rId17"/>
    <p:sldId id="639" r:id="rId18"/>
    <p:sldId id="953" r:id="rId19"/>
    <p:sldId id="1376" r:id="rId20"/>
    <p:sldId id="733" r:id="rId21"/>
    <p:sldId id="1373" r:id="rId22"/>
    <p:sldId id="1385" r:id="rId23"/>
    <p:sldId id="977" r:id="rId24"/>
    <p:sldId id="1384" r:id="rId25"/>
    <p:sldId id="1379" r:id="rId26"/>
    <p:sldId id="1382" r:id="rId27"/>
    <p:sldId id="271" r:id="rId28"/>
    <p:sldId id="905" r:id="rId29"/>
  </p:sldIdLst>
  <p:sldSz cx="12192000" cy="6858000"/>
  <p:notesSz cx="7019925" cy="9305925"/>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26D8C6D9-2294-49B8-80B3-9CFB89ABBF5F}">
          <p14:sldIdLst>
            <p14:sldId id="887"/>
            <p14:sldId id="639"/>
            <p14:sldId id="953"/>
            <p14:sldId id="1376"/>
            <p14:sldId id="733"/>
            <p14:sldId id="1373"/>
            <p14:sldId id="1385"/>
            <p14:sldId id="977"/>
            <p14:sldId id="1384"/>
            <p14:sldId id="1379"/>
            <p14:sldId id="1382"/>
            <p14:sldId id="271"/>
            <p14:sldId id="905"/>
          </p14:sldIdLst>
        </p14:section>
      </p14:sectionLst>
    </p:ext>
    <p:ext uri="{EFAFB233-063F-42B5-8137-9DF3F51BA10A}">
      <p15:sldGuideLst xmlns:p15="http://schemas.microsoft.com/office/powerpoint/2012/main">
        <p15:guide id="1" orient="horz" pos="2160" userDrawn="1">
          <p15:clr>
            <a:srgbClr val="A4A3A4"/>
          </p15:clr>
        </p15:guide>
        <p15:guide id="2" pos="3888" userDrawn="1">
          <p15:clr>
            <a:srgbClr val="A4A3A4"/>
          </p15:clr>
        </p15:guide>
        <p15:guide id="3" pos="7512" userDrawn="1">
          <p15:clr>
            <a:srgbClr val="A4A3A4"/>
          </p15:clr>
        </p15:guide>
        <p15:guide id="4" pos="192" userDrawn="1">
          <p15:clr>
            <a:srgbClr val="A4A3A4"/>
          </p15:clr>
        </p15:guide>
        <p15:guide id="5" orient="horz" pos="417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244E065-66C4-D9A3-26CD-A1CB20575357}" name="Awrad Alenezi" initials="AA" userId="S::AAlenezi@agility.com::26d2f56a-2752-4d67-be29-8f2f0d1c05b4" providerId="AD"/>
  <p188:author id="{EF5CE775-2A5F-5D81-68F9-F686979A9659}" name="Henadi Al Saleh" initials="HAS" userId="S::HaAlSaleh@agility.com::08d0eb33-ecc7-481c-a033-9489b7938128" providerId="AD"/>
  <p188:author id="{B18E93F7-EB7A-14A6-CB39-024196E2B1AE}" name="Soriana Borjas" initials="SB" userId="S::SBorjas@agility.com::56b27fb7-e855-4130-bf61-b6d5584d3128"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Henadi Al Saleh" initials="HAS" lastIdx="17" clrIdx="4">
    <p:extLst>
      <p:ext uri="{19B8F6BF-5375-455C-9EA6-DF929625EA0E}">
        <p15:presenceInfo xmlns:p15="http://schemas.microsoft.com/office/powerpoint/2012/main" userId="S-1-5-21-2060214353-2027774246-4111902719-9239" providerId="AD"/>
      </p:ext>
    </p:extLst>
  </p:cmAuthor>
  <p:cmAuthor id="8" name="Soriana Borjas" initials="SB" lastIdx="15" clrIdx="5">
    <p:extLst>
      <p:ext uri="{19B8F6BF-5375-455C-9EA6-DF929625EA0E}">
        <p15:presenceInfo xmlns:p15="http://schemas.microsoft.com/office/powerpoint/2012/main" userId="S-1-5-21-2060214353-2027774246-4111902719-35781" providerId="AD"/>
      </p:ext>
    </p:extLst>
  </p:cmAuthor>
  <p:cmAuthor id="3" name="Imen Helali" initials="IH" lastIdx="10" clrIdx="0">
    <p:extLst>
      <p:ext uri="{19B8F6BF-5375-455C-9EA6-DF929625EA0E}">
        <p15:presenceInfo xmlns:p15="http://schemas.microsoft.com/office/powerpoint/2012/main" userId="S-1-5-21-2060214353-2027774246-4111902719-164904" providerId="AD"/>
      </p:ext>
    </p:extLst>
  </p:cmAuthor>
  <p:cmAuthor id="4" name="Awrad Alenezi" initials="AA" lastIdx="20" clrIdx="1">
    <p:extLst>
      <p:ext uri="{19B8F6BF-5375-455C-9EA6-DF929625EA0E}">
        <p15:presenceInfo xmlns:p15="http://schemas.microsoft.com/office/powerpoint/2012/main" userId="S-1-5-21-2060214353-2027774246-4111902719-109962" providerId="AD"/>
      </p:ext>
    </p:extLst>
  </p:cmAuthor>
  <p:cmAuthor id="5" name="Mariam Al Foudery" initials="MAF" lastIdx="145" clrIdx="2">
    <p:extLst>
      <p:ext uri="{19B8F6BF-5375-455C-9EA6-DF929625EA0E}">
        <p15:presenceInfo xmlns:p15="http://schemas.microsoft.com/office/powerpoint/2012/main" userId="S-1-5-21-2060214353-2027774246-4111902719-12986" providerId="AD"/>
      </p:ext>
    </p:extLst>
  </p:cmAuthor>
  <p:cmAuthor id="6" name="Deena Al Shatti" initials="DAS" lastIdx="44" clrIdx="3">
    <p:extLst>
      <p:ext uri="{19B8F6BF-5375-455C-9EA6-DF929625EA0E}">
        <p15:presenceInfo xmlns:p15="http://schemas.microsoft.com/office/powerpoint/2012/main" userId="S-1-5-21-2060214353-2027774246-4111902719-114482"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4C6B"/>
    <a:srgbClr val="D86018"/>
    <a:srgbClr val="AF272F"/>
    <a:srgbClr val="C4BFB6"/>
    <a:srgbClr val="8C857B"/>
    <a:srgbClr val="474647"/>
    <a:srgbClr val="0A7960"/>
    <a:srgbClr val="DDCBA4"/>
    <a:srgbClr val="805475"/>
    <a:srgbClr val="7C9FC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72833802-FEF1-4C79-8D5D-14CF1EAF98D9}" styleName="Light Style 2 - Accent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17292A2E-F333-43FB-9621-5CBBE7FDCDCB}" styleName="Light Style 2 - Accent 4">
    <a:wholeTbl>
      <a:tcTxStyle>
        <a:fontRef idx="minor">
          <a:scrgbClr r="0" g="0" b="0"/>
        </a:fontRef>
        <a:schemeClr val="tx1"/>
      </a:tcTxStyle>
      <a:tcStyle>
        <a:tcBdr>
          <a:left>
            <a:lnRef idx="1">
              <a:schemeClr val="accent4"/>
            </a:lnRef>
          </a:left>
          <a:right>
            <a:lnRef idx="1">
              <a:schemeClr val="accent4"/>
            </a:lnRef>
          </a:right>
          <a:top>
            <a:lnRef idx="1">
              <a:schemeClr val="accent4"/>
            </a:lnRef>
          </a:top>
          <a:bottom>
            <a:lnRef idx="1">
              <a:schemeClr val="accent4"/>
            </a:lnRef>
          </a:bottom>
          <a:insideH>
            <a:ln>
              <a:noFill/>
            </a:ln>
          </a:insideH>
          <a:insideV>
            <a:ln>
              <a:noFill/>
            </a:ln>
          </a:insideV>
        </a:tcBdr>
        <a:fill>
          <a:noFill/>
        </a:fill>
      </a:tcStyle>
    </a:wholeTbl>
    <a:band1H>
      <a:tcStyle>
        <a:tcBdr>
          <a:top>
            <a:lnRef idx="1">
              <a:schemeClr val="accent4"/>
            </a:lnRef>
          </a:top>
          <a:bottom>
            <a:lnRef idx="1">
              <a:schemeClr val="accent4"/>
            </a:lnRef>
          </a:bottom>
        </a:tcBdr>
      </a:tcStyle>
    </a:band1H>
    <a:band1V>
      <a:tcStyle>
        <a:tcBdr>
          <a:left>
            <a:lnRef idx="1">
              <a:schemeClr val="accent4"/>
            </a:lnRef>
          </a:left>
          <a:right>
            <a:lnRef idx="1">
              <a:schemeClr val="accent4"/>
            </a:lnRef>
          </a:right>
        </a:tcBdr>
      </a:tcStyle>
    </a:band1V>
    <a:band2V>
      <a:tcStyle>
        <a:tcBdr>
          <a:left>
            <a:lnRef idx="1">
              <a:schemeClr val="accent4"/>
            </a:lnRef>
          </a:left>
          <a:right>
            <a:lnRef idx="1">
              <a:schemeClr val="accent4"/>
            </a:lnRef>
          </a:right>
        </a:tcBdr>
      </a:tcStyle>
    </a:band2V>
    <a:lastCol>
      <a:tcTxStyle b="on"/>
      <a:tcStyle>
        <a:tcBdr/>
      </a:tcStyle>
    </a:lastCol>
    <a:firstCol>
      <a:tcTxStyle b="on"/>
      <a:tcStyle>
        <a:tcBdr/>
      </a:tcStyle>
    </a:firstCol>
    <a:lastRow>
      <a:tcTxStyle b="on"/>
      <a:tcStyle>
        <a:tcBdr>
          <a:top>
            <a:ln w="50800" cmpd="dbl">
              <a:solidFill>
                <a:schemeClr val="accent4"/>
              </a:solidFill>
            </a:ln>
          </a:top>
        </a:tcBdr>
      </a:tcStyle>
    </a:lastRow>
    <a:firstRow>
      <a:tcTxStyle b="on">
        <a:fontRef idx="minor">
          <a:scrgbClr r="0" g="0" b="0"/>
        </a:fontRef>
        <a:schemeClr val="bg1"/>
      </a:tcTxStyle>
      <a:tcStyle>
        <a:tcBdr/>
        <a:fillRef idx="1">
          <a:schemeClr val="accent4"/>
        </a:fillRef>
      </a:tcStyle>
    </a:firstRow>
  </a:tblStyle>
  <a:tblStyle styleId="{5A111915-BE36-4E01-A7E5-04B1672EAD32}" styleName="Light Style 2 - Accent 5">
    <a:wholeTbl>
      <a:tcTxStyle>
        <a:fontRef idx="minor">
          <a:scrgbClr r="0" g="0" b="0"/>
        </a:fontRef>
        <a:schemeClr val="tx1"/>
      </a:tcTxStyle>
      <a:tcStyle>
        <a:tcBdr>
          <a:left>
            <a:lnRef idx="1">
              <a:schemeClr val="accent5"/>
            </a:lnRef>
          </a:left>
          <a:right>
            <a:lnRef idx="1">
              <a:schemeClr val="accent5"/>
            </a:lnRef>
          </a:right>
          <a:top>
            <a:lnRef idx="1">
              <a:schemeClr val="accent5"/>
            </a:lnRef>
          </a:top>
          <a:bottom>
            <a:lnRef idx="1">
              <a:schemeClr val="accent5"/>
            </a:lnRef>
          </a:bottom>
          <a:insideH>
            <a:ln>
              <a:noFill/>
            </a:ln>
          </a:insideH>
          <a:insideV>
            <a:ln>
              <a:noFill/>
            </a:ln>
          </a:insideV>
        </a:tcBdr>
        <a:fill>
          <a:noFill/>
        </a:fill>
      </a:tcStyle>
    </a:wholeTbl>
    <a:band1H>
      <a:tcStyle>
        <a:tcBdr>
          <a:top>
            <a:lnRef idx="1">
              <a:schemeClr val="accent5"/>
            </a:lnRef>
          </a:top>
          <a:bottom>
            <a:lnRef idx="1">
              <a:schemeClr val="accent5"/>
            </a:lnRef>
          </a:bottom>
        </a:tcBdr>
      </a:tcStyle>
    </a:band1H>
    <a:band1V>
      <a:tcStyle>
        <a:tcBdr>
          <a:left>
            <a:lnRef idx="1">
              <a:schemeClr val="accent5"/>
            </a:lnRef>
          </a:left>
          <a:right>
            <a:lnRef idx="1">
              <a:schemeClr val="accent5"/>
            </a:lnRef>
          </a:right>
        </a:tcBdr>
      </a:tcStyle>
    </a:band1V>
    <a:band2V>
      <a:tcStyle>
        <a:tcBdr>
          <a:left>
            <a:lnRef idx="1">
              <a:schemeClr val="accent5"/>
            </a:lnRef>
          </a:left>
          <a:right>
            <a:lnRef idx="1">
              <a:schemeClr val="accent5"/>
            </a:lnRef>
          </a:right>
        </a:tcBdr>
      </a:tcStyle>
    </a:band2V>
    <a:lastCol>
      <a:tcTxStyle b="on"/>
      <a:tcStyle>
        <a:tcBdr/>
      </a:tcStyle>
    </a:lastCol>
    <a:firstCol>
      <a:tcTxStyle b="on"/>
      <a:tcStyle>
        <a:tcBdr/>
      </a:tcStyle>
    </a:firstCol>
    <a:lastRow>
      <a:tcTxStyle b="on"/>
      <a:tcStyle>
        <a:tcBdr>
          <a:top>
            <a:ln w="50800" cmpd="dbl">
              <a:solidFill>
                <a:schemeClr val="accent5"/>
              </a:solidFill>
            </a:ln>
          </a:top>
        </a:tcBdr>
      </a:tcStyle>
    </a:lastRow>
    <a:firstRow>
      <a:tcTxStyle b="on">
        <a:fontRef idx="minor">
          <a:scrgbClr r="0" g="0" b="0"/>
        </a:fontRef>
        <a:schemeClr val="bg1"/>
      </a:tcTxStyle>
      <a:tcStyle>
        <a:tcBdr/>
        <a:fillRef idx="1">
          <a:schemeClr val="accent5"/>
        </a:fillRef>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 styleId="{ED083AE6-46FA-4A59-8FB0-9F97EB10719F}" styleName="Light Style 3 - Accent 4">
    <a:wholeTbl>
      <a:tcTxStyle>
        <a:fontRef idx="minor">
          <a:scrgbClr r="0" g="0" b="0"/>
        </a:fontRef>
        <a:schemeClr val="tx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noFill/>
        </a:fill>
      </a:tcStyle>
    </a:wholeTbl>
    <a:band1H>
      <a:tcStyle>
        <a:tcBdr/>
        <a:fill>
          <a:solidFill>
            <a:schemeClr val="accent4">
              <a:alpha val="20000"/>
            </a:schemeClr>
          </a:solidFill>
        </a:fill>
      </a:tcStyle>
    </a:band1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50800" cmpd="dbl">
              <a:solidFill>
                <a:schemeClr val="accent4"/>
              </a:solidFill>
            </a:ln>
          </a:top>
        </a:tcBdr>
        <a:fill>
          <a:noFill/>
        </a:fill>
      </a:tcStyle>
    </a:lastRow>
    <a:firstRow>
      <a:tcTxStyle b="on"/>
      <a:tcStyle>
        <a:tcBdr>
          <a:bottom>
            <a:ln w="25400" cmpd="sng">
              <a:solidFill>
                <a:schemeClr val="accent4"/>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C083E6E3-FA7D-4D7B-A595-EF9225AFEA82}" styleName="Light Style 1 - Acc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5FD0F851-EC5A-4D38-B0AD-8093EC10F338}" styleName="Light Style 1 - Accent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EB344D84-9AFB-497E-A393-DC336BA19D2E}" styleName="Medium Style 3 - Accent 3">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3"/>
          </a:solidFill>
        </a:fill>
      </a:tcStyle>
    </a:lastCol>
    <a:firstCol>
      <a:tcTxStyle b="on">
        <a:fontRef idx="minor">
          <a:scrgbClr r="0" g="0" b="0"/>
        </a:fontRef>
        <a:schemeClr val="lt1"/>
      </a:tcTxStyle>
      <a:tcStyle>
        <a:tcBdr/>
        <a:fill>
          <a:solidFill>
            <a:schemeClr val="accent3"/>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2853" autoAdjust="0"/>
    <p:restoredTop sz="89447" autoAdjust="0"/>
  </p:normalViewPr>
  <p:slideViewPr>
    <p:cSldViewPr snapToGrid="0">
      <p:cViewPr varScale="1">
        <p:scale>
          <a:sx n="68" d="100"/>
          <a:sy n="68" d="100"/>
        </p:scale>
        <p:origin x="700" y="64"/>
      </p:cViewPr>
      <p:guideLst>
        <p:guide orient="horz" pos="2160"/>
        <p:guide pos="3888"/>
        <p:guide pos="7512"/>
        <p:guide pos="192"/>
        <p:guide orient="horz" pos="4176"/>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 Target="slides/slide2.xml"/><Relationship Id="rId26" Type="http://schemas.openxmlformats.org/officeDocument/2006/relationships/slide" Target="slides/slide10.xml"/><Relationship Id="rId21" Type="http://schemas.openxmlformats.org/officeDocument/2006/relationships/slide" Target="slides/slide5.xml"/><Relationship Id="rId34"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1.xml"/><Relationship Id="rId25" Type="http://schemas.openxmlformats.org/officeDocument/2006/relationships/slide" Target="slides/slide9.xml"/><Relationship Id="rId33" Type="http://schemas.openxmlformats.org/officeDocument/2006/relationships/commentAuthors" Target="commentAuthor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4.xml"/><Relationship Id="rId29" Type="http://schemas.openxmlformats.org/officeDocument/2006/relationships/slide" Target="slides/slide13.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8.xml"/><Relationship Id="rId32" Type="http://schemas.openxmlformats.org/officeDocument/2006/relationships/tags" Target="tags/tag1.xml"/><Relationship Id="rId37"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7.xml"/><Relationship Id="rId28" Type="http://schemas.openxmlformats.org/officeDocument/2006/relationships/slide" Target="slides/slide12.xml"/><Relationship Id="rId36" Type="http://schemas.openxmlformats.org/officeDocument/2006/relationships/theme" Target="theme/theme1.xml"/><Relationship Id="rId10" Type="http://schemas.openxmlformats.org/officeDocument/2006/relationships/slideMaster" Target="slideMasters/slideMaster7.xml"/><Relationship Id="rId19" Type="http://schemas.openxmlformats.org/officeDocument/2006/relationships/slide" Target="slides/slide3.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6.xml"/><Relationship Id="rId27" Type="http://schemas.openxmlformats.org/officeDocument/2006/relationships/slide" Target="slides/slide11.xml"/><Relationship Id="rId30" Type="http://schemas.openxmlformats.org/officeDocument/2006/relationships/notesMaster" Target="notesMasters/notesMaster1.xml"/><Relationship Id="rId35" Type="http://schemas.openxmlformats.org/officeDocument/2006/relationships/viewProps" Target="viewProps.xml"/><Relationship Id="rId8" Type="http://schemas.openxmlformats.org/officeDocument/2006/relationships/slideMaster" Target="slideMasters/slideMaster5.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Binary_Worksheet.xlsb"/></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Binary_Worksheet9.xlsb"/></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Binary_Worksheet10.xlsb"/></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Binary_Worksheet1.xlsb"/></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Binary_Worksheet2.xlsb"/></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Binary_Worksheet3.xlsb"/></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Binary_Worksheet4.xlsb"/></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Binary_Worksheet5.xlsb"/></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Binary_Worksheet6.xlsb"/></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Binary_Worksheet7.xlsb"/></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Binary_Worksheet8.xlsb"/></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0492459218221E-2"/>
          <c:y val="0.20461384152457371"/>
          <c:w val="0.96799015081563555"/>
          <c:h val="0.65295887662988972"/>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0-9FC1-4F6C-A59D-ED3EF1CD1E32}"/>
              </c:ext>
            </c:extLst>
          </c:dPt>
          <c:dLbls>
            <c:dLbl>
              <c:idx val="0"/>
              <c:layout>
                <c:manualLayout>
                  <c:x val="0"/>
                  <c:y val="-0.2938816449348044"/>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9FC1-4F6C-A59D-ED3EF1CD1E32}"/>
                </c:ext>
              </c:extLst>
            </c:dLbl>
            <c:dLbl>
              <c:idx val="1"/>
              <c:layout>
                <c:manualLayout>
                  <c:x val="0"/>
                  <c:y val="-0.38916750250752258"/>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9FC1-4F6C-A59D-ED3EF1CD1E3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56.3</c:v>
                </c:pt>
                <c:pt idx="1">
                  <c:v>360.8</c:v>
                </c:pt>
              </c:numCache>
            </c:numRef>
          </c:val>
          <c:extLst>
            <c:ext xmlns:c16="http://schemas.microsoft.com/office/drawing/2014/chart" uri="{C3380CC4-5D6E-409C-BE32-E72D297353CC}">
              <c16:uniqueId val="{00000002-9FC1-4F6C-A59D-ED3EF1CD1E32}"/>
            </c:ext>
          </c:extLst>
        </c:ser>
        <c:dLbls>
          <c:showLegendKey val="0"/>
          <c:showVal val="0"/>
          <c:showCatName val="0"/>
          <c:showSerName val="0"/>
          <c:showPercent val="0"/>
          <c:showBubbleSize val="0"/>
        </c:dLbls>
        <c:gapWidth val="80"/>
        <c:overlap val="100"/>
        <c:axId val="681850784"/>
        <c:axId val="1"/>
      </c:barChart>
      <c:catAx>
        <c:axId val="68185078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60.8"/>
          <c:min val="0"/>
        </c:scaling>
        <c:delete val="1"/>
        <c:axPos val="l"/>
        <c:numFmt formatCode="General" sourceLinked="1"/>
        <c:majorTickMark val="out"/>
        <c:minorTickMark val="none"/>
        <c:tickLblPos val="nextTo"/>
        <c:crossAx val="681850784"/>
        <c:crosses val="min"/>
        <c:crossBetween val="between"/>
      </c:valAx>
    </c:plotArea>
    <c:plotVisOnly val="0"/>
    <c:dispBlanksAs val="gap"/>
    <c:showDLblsOverMax val="1"/>
  </c:chart>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556224144415192E-2"/>
          <c:y val="8.3333333333333329E-2"/>
          <c:w val="0.96088755171116957"/>
          <c:h val="0.83333333333333337"/>
        </c:manualLayout>
      </c:layout>
      <c:barChart>
        <c:barDir val="col"/>
        <c:grouping val="stacked"/>
        <c:varyColors val="0"/>
        <c:ser>
          <c:idx val="0"/>
          <c:order val="0"/>
          <c:spPr>
            <a:noFill/>
            <a:ln>
              <a:noFill/>
            </a:ln>
          </c:spPr>
          <c:invertIfNegative val="0"/>
          <c:dPt>
            <c:idx val="0"/>
            <c:invertIfNegative val="0"/>
            <c:bubble3D val="0"/>
            <c:spPr>
              <a:solidFill>
                <a:schemeClr val="accent1"/>
              </a:solidFill>
              <a:ln>
                <a:noFill/>
              </a:ln>
            </c:spPr>
            <c:extLst>
              <c:ext xmlns:c16="http://schemas.microsoft.com/office/drawing/2014/chart" uri="{C3380CC4-5D6E-409C-BE32-E72D297353CC}">
                <c16:uniqueId val="{00000000-349C-4F7C-B257-07CA91F01323}"/>
              </c:ext>
            </c:extLst>
          </c:dPt>
          <c:dPt>
            <c:idx val="6"/>
            <c:invertIfNegative val="0"/>
            <c:bubble3D val="0"/>
            <c:spPr>
              <a:solidFill>
                <a:schemeClr val="accent1"/>
              </a:solidFill>
              <a:ln>
                <a:noFill/>
              </a:ln>
            </c:spPr>
            <c:extLst>
              <c:ext xmlns:c16="http://schemas.microsoft.com/office/drawing/2014/chart" uri="{C3380CC4-5D6E-409C-BE32-E72D297353CC}">
                <c16:uniqueId val="{00000001-349C-4F7C-B257-07CA91F01323}"/>
              </c:ext>
            </c:extLst>
          </c:dPt>
          <c:val>
            <c:numRef>
              <c:f>Sheet1!$A$1:$G$1</c:f>
              <c:numCache>
                <c:formatCode>General</c:formatCode>
                <c:ptCount val="7"/>
                <c:pt idx="0">
                  <c:v>231.81883116883114</c:v>
                </c:pt>
                <c:pt idx="1">
                  <c:v>33.748831168831202</c:v>
                </c:pt>
                <c:pt idx="2">
                  <c:v>33.748831168831202</c:v>
                </c:pt>
                <c:pt idx="3">
                  <c:v>148.23883116883121</c:v>
                </c:pt>
                <c:pt idx="4">
                  <c:v>164.10883116883122</c:v>
                </c:pt>
                <c:pt idx="5">
                  <c:v>311.30883116883126</c:v>
                </c:pt>
                <c:pt idx="6">
                  <c:v>311.30883116883138</c:v>
                </c:pt>
              </c:numCache>
            </c:numRef>
          </c:val>
          <c:extLst>
            <c:ext xmlns:c16="http://schemas.microsoft.com/office/drawing/2014/chart" uri="{C3380CC4-5D6E-409C-BE32-E72D297353CC}">
              <c16:uniqueId val="{00000002-349C-4F7C-B257-07CA91F01323}"/>
            </c:ext>
          </c:extLst>
        </c:ser>
        <c:ser>
          <c:idx val="1"/>
          <c:order val="1"/>
          <c:spPr>
            <a:solidFill>
              <a:schemeClr val="accent1"/>
            </a:solidFill>
            <a:ln>
              <a:noFill/>
            </a:ln>
          </c:spPr>
          <c:invertIfNegative val="0"/>
          <c:dLbls>
            <c:dLbl>
              <c:idx val="1"/>
              <c:layout>
                <c:manualLayout>
                  <c:x val="0"/>
                  <c:y val="-1.2919896640826874E-3"/>
                </c:manualLayout>
              </c:layout>
              <c:numFmt formatCode="#,##0;#,##0" sourceLinked="0"/>
              <c:spPr>
                <a:noFill/>
                <a:ln>
                  <a:noFill/>
                </a:ln>
              </c:spPr>
              <c:txPr>
                <a:bodyPr wrap="none"/>
                <a:lstStyle/>
                <a:p>
                  <a:pPr>
                    <a:defRPr sz="9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349C-4F7C-B257-07CA91F01323}"/>
                </c:ext>
              </c:extLst>
            </c:dLbl>
            <c:dLbl>
              <c:idx val="2"/>
              <c:layout>
                <c:manualLayout>
                  <c:x val="0"/>
                  <c:y val="-1.2919896640826874E-3"/>
                </c:manualLayout>
              </c:layout>
              <c:numFmt formatCode="#,##0;#,##0" sourceLinked="0"/>
              <c:spPr>
                <a:noFill/>
                <a:ln>
                  <a:noFill/>
                </a:ln>
              </c:spPr>
              <c:txPr>
                <a:bodyPr wrap="none"/>
                <a:lstStyle/>
                <a:p>
                  <a:pPr>
                    <a:defRPr sz="9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349C-4F7C-B257-07CA91F01323}"/>
                </c:ext>
              </c:extLst>
            </c:dLbl>
            <c:dLbl>
              <c:idx val="3"/>
              <c:layout>
                <c:manualLayout>
                  <c:x val="0"/>
                  <c:y val="-1.2919896640826874E-3"/>
                </c:manualLayout>
              </c:layout>
              <c:numFmt formatCode="#,##0;#,##0" sourceLinked="0"/>
              <c:spPr>
                <a:noFill/>
                <a:ln>
                  <a:noFill/>
                </a:ln>
              </c:spPr>
              <c:txPr>
                <a:bodyPr wrap="none"/>
                <a:lstStyle/>
                <a:p>
                  <a:pPr>
                    <a:defRPr sz="9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349C-4F7C-B257-07CA91F01323}"/>
                </c:ext>
              </c:extLst>
            </c:dLbl>
            <c:dLbl>
              <c:idx val="4"/>
              <c:layout>
                <c:manualLayout>
                  <c:x val="0"/>
                  <c:y val="-1.2919896640826874E-3"/>
                </c:manualLayout>
              </c:layout>
              <c:numFmt formatCode="#,##0;#,##0" sourceLinked="0"/>
              <c:spPr>
                <a:noFill/>
                <a:ln>
                  <a:noFill/>
                </a:ln>
              </c:spPr>
              <c:txPr>
                <a:bodyPr wrap="none"/>
                <a:lstStyle/>
                <a:p>
                  <a:pPr>
                    <a:defRPr sz="900" kern="1200">
                      <a:solidFill>
                        <a:srgbClr val="FFFFFF"/>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349C-4F7C-B257-07CA91F01323}"/>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G$2</c:f>
              <c:numCache>
                <c:formatCode>General</c:formatCode>
                <c:ptCount val="7"/>
                <c:pt idx="1">
                  <c:v>198.06999999999994</c:v>
                </c:pt>
                <c:pt idx="2">
                  <c:v>114.49000000000001</c:v>
                </c:pt>
                <c:pt idx="3">
                  <c:v>15.870000000000005</c:v>
                </c:pt>
                <c:pt idx="4">
                  <c:v>158.38</c:v>
                </c:pt>
                <c:pt idx="5">
                  <c:v>11.17999999999995</c:v>
                </c:pt>
              </c:numCache>
            </c:numRef>
          </c:val>
          <c:extLst>
            <c:ext xmlns:c16="http://schemas.microsoft.com/office/drawing/2014/chart" uri="{C3380CC4-5D6E-409C-BE32-E72D297353CC}">
              <c16:uniqueId val="{00000007-349C-4F7C-B257-07CA91F01323}"/>
            </c:ext>
          </c:extLst>
        </c:ser>
        <c:dLbls>
          <c:showLegendKey val="0"/>
          <c:showVal val="0"/>
          <c:showCatName val="0"/>
          <c:showSerName val="0"/>
          <c:showPercent val="0"/>
          <c:showBubbleSize val="0"/>
        </c:dLbls>
        <c:gapWidth val="80"/>
        <c:overlap val="100"/>
        <c:axId val="1686188064"/>
        <c:axId val="1"/>
      </c:barChart>
      <c:catAx>
        <c:axId val="1686188064"/>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322.48883116883121"/>
          <c:min val="0"/>
        </c:scaling>
        <c:delete val="1"/>
        <c:axPos val="l"/>
        <c:numFmt formatCode="General" sourceLinked="1"/>
        <c:majorTickMark val="out"/>
        <c:minorTickMark val="none"/>
        <c:tickLblPos val="nextTo"/>
        <c:crossAx val="1686188064"/>
        <c:crosses val="min"/>
        <c:crossBetween val="between"/>
      </c:valAx>
    </c:plotArea>
    <c:plotVisOnly val="0"/>
    <c:dispBlanksAs val="gap"/>
    <c:showDLblsOverMax val="1"/>
  </c:chart>
  <c:externalData r:id="rId1">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54598754122389E-2"/>
          <c:y val="6.0891938250428816E-2"/>
          <c:w val="0.96189080249175518"/>
          <c:h val="0.87821612349914235"/>
        </c:manualLayout>
      </c:layout>
      <c:barChart>
        <c:barDir val="col"/>
        <c:grouping val="stacked"/>
        <c:varyColors val="0"/>
        <c:ser>
          <c:idx val="0"/>
          <c:order val="0"/>
          <c:spPr>
            <a:solidFill>
              <a:schemeClr val="accent4"/>
            </a:solidFill>
            <a:ln>
              <a:noFill/>
            </a:ln>
          </c:spPr>
          <c:invertIfNegative val="0"/>
          <c:dLbls>
            <c:dLbl>
              <c:idx val="0"/>
              <c:layout>
                <c:manualLayout>
                  <c:x val="0"/>
                  <c:y val="-1.2864493996569469E-3"/>
                </c:manualLayout>
              </c:layout>
              <c:numFmt formatCode="#,##0&quot;%&quot;;&quot;-&quot;#,##0&quot;%&quot;" sourceLinked="0"/>
              <c:spPr>
                <a:noFill/>
                <a:ln>
                  <a:noFill/>
                </a:ln>
              </c:spPr>
              <c:txPr>
                <a:bodyPr wrap="none"/>
                <a:lstStyle/>
                <a:p>
                  <a:pPr>
                    <a:defRPr sz="1000"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65D-4650-862F-2E4B33CE95C0}"/>
                </c:ext>
              </c:extLst>
            </c:dLbl>
            <c:dLbl>
              <c:idx val="1"/>
              <c:layout>
                <c:manualLayout>
                  <c:x val="0"/>
                  <c:y val="-1.2864493996569469E-3"/>
                </c:manualLayout>
              </c:layout>
              <c:numFmt formatCode="#,##0&quot;%&quot;;&quot;-&quot;#,##0&quot;%&quot;" sourceLinked="0"/>
              <c:spPr>
                <a:noFill/>
                <a:ln>
                  <a:noFill/>
                </a:ln>
              </c:spPr>
              <c:txPr>
                <a:bodyPr wrap="none"/>
                <a:lstStyle/>
                <a:p>
                  <a:pPr>
                    <a:defRPr sz="1000"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65D-4650-862F-2E4B33CE95C0}"/>
                </c:ext>
              </c:extLst>
            </c:dLbl>
            <c:dLbl>
              <c:idx val="2"/>
              <c:layout>
                <c:manualLayout>
                  <c:x val="0"/>
                  <c:y val="-1.2864493996569469E-3"/>
                </c:manualLayout>
              </c:layout>
              <c:numFmt formatCode="#,##0&quot;%&quot;;&quot;-&quot;#,##0&quot;%&quot;" sourceLinked="0"/>
              <c:spPr>
                <a:noFill/>
                <a:ln>
                  <a:noFill/>
                </a:ln>
              </c:spPr>
              <c:txPr>
                <a:bodyPr wrap="none"/>
                <a:lstStyle/>
                <a:p>
                  <a:pPr>
                    <a:defRPr sz="1000"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2-B65D-4650-862F-2E4B33CE95C0}"/>
                </c:ext>
              </c:extLst>
            </c:dLbl>
            <c:dLbl>
              <c:idx val="3"/>
              <c:layout>
                <c:manualLayout>
                  <c:x val="0"/>
                  <c:y val="-1.2864493996569469E-3"/>
                </c:manualLayout>
              </c:layout>
              <c:numFmt formatCode="#,##0&quot;%&quot;;&quot;-&quot;#,##0&quot;%&quot;" sourceLinked="0"/>
              <c:spPr>
                <a:noFill/>
                <a:ln>
                  <a:noFill/>
                </a:ln>
              </c:spPr>
              <c:txPr>
                <a:bodyPr wrap="none"/>
                <a:lstStyle/>
                <a:p>
                  <a:pPr>
                    <a:defRPr sz="1000" kern="1200">
                      <a:solidFill>
                        <a:schemeClr val="bg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B65D-4650-862F-2E4B33CE95C0}"/>
                </c:ext>
              </c:extLst>
            </c:dLbl>
            <c:dLbl>
              <c:idx val="4"/>
              <c:layout>
                <c:manualLayout>
                  <c:x val="0"/>
                  <c:y val="-1.2864493996569469E-3"/>
                </c:manualLayout>
              </c:layout>
              <c:numFmt formatCode="#,##0&quot;%&quot;;&quot;-&quot;#,##0&quot;%&quot;" sourceLinked="0"/>
              <c:spPr>
                <a:noFill/>
                <a:ln>
                  <a:noFill/>
                </a:ln>
              </c:spPr>
              <c:txPr>
                <a:bodyPr wrap="none"/>
                <a:lstStyle/>
                <a:p>
                  <a:pPr>
                    <a:defRPr sz="1000" kern="1200">
                      <a:solidFill>
                        <a:schemeClr val="bg1"/>
                      </a:solidFill>
                      <a:latin typeface="Arial"/>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B65D-4650-862F-2E4B33CE95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E$1</c:f>
              <c:numCache>
                <c:formatCode>General</c:formatCode>
                <c:ptCount val="5"/>
                <c:pt idx="0">
                  <c:v>49.925911291119242</c:v>
                </c:pt>
                <c:pt idx="1">
                  <c:v>49.499538035109339</c:v>
                </c:pt>
                <c:pt idx="2">
                  <c:v>36.024087748225675</c:v>
                </c:pt>
                <c:pt idx="3">
                  <c:v>84.869566746539022</c:v>
                </c:pt>
                <c:pt idx="4">
                  <c:v>60.714285714285708</c:v>
                </c:pt>
              </c:numCache>
            </c:numRef>
          </c:val>
          <c:extLst>
            <c:ext xmlns:c16="http://schemas.microsoft.com/office/drawing/2014/chart" uri="{C3380CC4-5D6E-409C-BE32-E72D297353CC}">
              <c16:uniqueId val="{00000005-B65D-4650-862F-2E4B33CE95C0}"/>
            </c:ext>
          </c:extLst>
        </c:ser>
        <c:ser>
          <c:idx val="1"/>
          <c:order val="1"/>
          <c:spPr>
            <a:solidFill>
              <a:schemeClr val="accent3"/>
            </a:solidFill>
            <a:ln>
              <a:noFill/>
            </a:ln>
          </c:spPr>
          <c:invertIfNegative val="0"/>
          <c:dLbls>
            <c:dLbl>
              <c:idx val="0"/>
              <c:layout>
                <c:manualLayout>
                  <c:x val="0"/>
                  <c:y val="-1.2864493996569469E-3"/>
                </c:manualLayout>
              </c:layout>
              <c:numFmt formatCode="#,##0&quot;%&quot;;&quot;-&quot;#,##0&quot;%&quot;" sourceLinked="0"/>
              <c:spPr>
                <a:noFill/>
                <a:ln>
                  <a:noFill/>
                </a:ln>
              </c:spPr>
              <c:txPr>
                <a:bodyPr wrap="none"/>
                <a:lstStyle/>
                <a:p>
                  <a:pPr>
                    <a:defRPr sz="1000" kern="1200">
                      <a:solidFill>
                        <a:schemeClr val="bg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B65D-4650-862F-2E4B33CE95C0}"/>
                </c:ext>
              </c:extLst>
            </c:dLbl>
            <c:dLbl>
              <c:idx val="1"/>
              <c:layout>
                <c:manualLayout>
                  <c:x val="0"/>
                  <c:y val="-1.2864493996569469E-3"/>
                </c:manualLayout>
              </c:layout>
              <c:numFmt formatCode="#,##0&quot;%&quot;;&quot;-&quot;#,##0&quot;%&quot;" sourceLinked="0"/>
              <c:spPr>
                <a:noFill/>
                <a:ln>
                  <a:noFill/>
                </a:ln>
              </c:spPr>
              <c:txPr>
                <a:bodyPr wrap="none"/>
                <a:lstStyle/>
                <a:p>
                  <a:pPr>
                    <a:defRPr sz="1000"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B65D-4650-862F-2E4B33CE95C0}"/>
                </c:ext>
              </c:extLst>
            </c:dLbl>
            <c:dLbl>
              <c:idx val="2"/>
              <c:layout>
                <c:manualLayout>
                  <c:x val="0"/>
                  <c:y val="-1.2864493996569469E-3"/>
                </c:manualLayout>
              </c:layout>
              <c:numFmt formatCode="#,##0&quot;%&quot;;&quot;-&quot;#,##0&quot;%&quot;" sourceLinked="0"/>
              <c:spPr>
                <a:noFill/>
                <a:ln>
                  <a:noFill/>
                </a:ln>
              </c:spPr>
              <c:txPr>
                <a:bodyPr wrap="none"/>
                <a:lstStyle/>
                <a:p>
                  <a:pPr>
                    <a:defRPr sz="1000" kern="1200">
                      <a:solidFill>
                        <a:schemeClr val="bg1"/>
                      </a:solidFill>
                      <a:latin typeface="Arial"/>
                      <a:ea typeface="Arial"/>
                      <a:cs typeface="Arial"/>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B65D-4650-862F-2E4B33CE95C0}"/>
                </c:ext>
              </c:extLst>
            </c:dLbl>
            <c:dLbl>
              <c:idx val="3"/>
              <c:layout>
                <c:manualLayout>
                  <c:x val="0"/>
                  <c:y val="-1.2864493996569469E-3"/>
                </c:manualLayout>
              </c:layout>
              <c:numFmt formatCode="#,##0&quot;%&quot;;&quot;-&quot;#,##0&quot;%&quot;" sourceLinked="0"/>
              <c:spPr>
                <a:noFill/>
                <a:ln>
                  <a:noFill/>
                </a:ln>
              </c:spPr>
              <c:txPr>
                <a:bodyPr wrap="none"/>
                <a:lstStyle/>
                <a:p>
                  <a:pPr>
                    <a:defRPr sz="1000" kern="1200">
                      <a:solidFill>
                        <a:schemeClr val="bg1"/>
                      </a:solidFill>
                      <a:latin typeface="Arial"/>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B65D-4650-862F-2E4B33CE95C0}"/>
                </c:ext>
              </c:extLst>
            </c:dLbl>
            <c:dLbl>
              <c:idx val="4"/>
              <c:layout>
                <c:manualLayout>
                  <c:x val="0"/>
                  <c:y val="-1.2864493996569469E-3"/>
                </c:manualLayout>
              </c:layout>
              <c:numFmt formatCode="#,##0&quot;%&quot;;&quot;-&quot;#,##0&quot;%&quot;" sourceLinked="0"/>
              <c:spPr>
                <a:noFill/>
                <a:ln>
                  <a:noFill/>
                </a:ln>
              </c:spPr>
              <c:txPr>
                <a:bodyPr wrap="none"/>
                <a:lstStyle/>
                <a:p>
                  <a:pPr>
                    <a:defRPr sz="1000" kern="1200">
                      <a:solidFill>
                        <a:schemeClr val="bg1"/>
                      </a:solidFill>
                      <a:latin typeface="Arial"/>
                      <a:ea typeface="+mn-ea"/>
                      <a:cs typeface="+mn-cs"/>
                      <a:sym typeface="Arial"/>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B65D-4650-862F-2E4B33CE95C0}"/>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E$2</c:f>
              <c:numCache>
                <c:formatCode>General</c:formatCode>
                <c:ptCount val="5"/>
                <c:pt idx="0">
                  <c:v>50.074088708880758</c:v>
                </c:pt>
                <c:pt idx="1">
                  <c:v>50.500461964890661</c:v>
                </c:pt>
                <c:pt idx="2">
                  <c:v>63.975912251774311</c:v>
                </c:pt>
                <c:pt idx="3">
                  <c:v>15.130433253460962</c:v>
                </c:pt>
                <c:pt idx="4">
                  <c:v>39.285714285714278</c:v>
                </c:pt>
              </c:numCache>
            </c:numRef>
          </c:val>
          <c:extLst>
            <c:ext xmlns:c16="http://schemas.microsoft.com/office/drawing/2014/chart" uri="{C3380CC4-5D6E-409C-BE32-E72D297353CC}">
              <c16:uniqueId val="{0000000B-B65D-4650-862F-2E4B33CE95C0}"/>
            </c:ext>
          </c:extLst>
        </c:ser>
        <c:dLbls>
          <c:showLegendKey val="0"/>
          <c:showVal val="0"/>
          <c:showCatName val="0"/>
          <c:showSerName val="0"/>
          <c:showPercent val="0"/>
          <c:showBubbleSize val="0"/>
        </c:dLbls>
        <c:gapWidth val="80"/>
        <c:overlap val="100"/>
        <c:axId val="2040124432"/>
        <c:axId val="1"/>
      </c:barChart>
      <c:catAx>
        <c:axId val="204012443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
          <c:min val="0"/>
        </c:scaling>
        <c:delete val="1"/>
        <c:axPos val="l"/>
        <c:numFmt formatCode="General" sourceLinked="1"/>
        <c:majorTickMark val="out"/>
        <c:minorTickMark val="none"/>
        <c:tickLblPos val="nextTo"/>
        <c:crossAx val="2040124432"/>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0492459218221E-2"/>
          <c:y val="0.20461384152457371"/>
          <c:w val="0.96799015081563555"/>
          <c:h val="0.65295887662988972"/>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0-8467-47F8-8798-04CE0E526772}"/>
              </c:ext>
            </c:extLst>
          </c:dPt>
          <c:dLbls>
            <c:dLbl>
              <c:idx val="0"/>
              <c:layout>
                <c:manualLayout>
                  <c:x val="0"/>
                  <c:y val="-0.2848545636910732"/>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467-47F8-8798-04CE0E526772}"/>
                </c:ext>
              </c:extLst>
            </c:dLbl>
            <c:dLbl>
              <c:idx val="1"/>
              <c:layout>
                <c:manualLayout>
                  <c:x val="0"/>
                  <c:y val="-0.38916750250752258"/>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467-47F8-8798-04CE0E526772}"/>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45.53</c:v>
                </c:pt>
                <c:pt idx="1">
                  <c:v>212.82</c:v>
                </c:pt>
              </c:numCache>
            </c:numRef>
          </c:val>
          <c:extLst>
            <c:ext xmlns:c16="http://schemas.microsoft.com/office/drawing/2014/chart" uri="{C3380CC4-5D6E-409C-BE32-E72D297353CC}">
              <c16:uniqueId val="{00000002-8467-47F8-8798-04CE0E526772}"/>
            </c:ext>
          </c:extLst>
        </c:ser>
        <c:dLbls>
          <c:showLegendKey val="0"/>
          <c:showVal val="0"/>
          <c:showCatName val="0"/>
          <c:showSerName val="0"/>
          <c:showPercent val="0"/>
          <c:showBubbleSize val="0"/>
        </c:dLbls>
        <c:gapWidth val="80"/>
        <c:overlap val="100"/>
        <c:axId val="681849392"/>
        <c:axId val="1"/>
      </c:barChart>
      <c:catAx>
        <c:axId val="68184939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12.82"/>
          <c:min val="0"/>
        </c:scaling>
        <c:delete val="1"/>
        <c:axPos val="l"/>
        <c:numFmt formatCode="General" sourceLinked="1"/>
        <c:majorTickMark val="out"/>
        <c:minorTickMark val="none"/>
        <c:tickLblPos val="nextTo"/>
        <c:crossAx val="681849392"/>
        <c:crosses val="min"/>
        <c:crossBetween val="between"/>
      </c:valAx>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0492459218221E-2"/>
          <c:y val="0.22295081967213115"/>
          <c:w val="0.96799015081563555"/>
          <c:h val="0.62185792349726776"/>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0-8724-4E2D-A421-57C8395E7749}"/>
              </c:ext>
            </c:extLst>
          </c:dPt>
          <c:dLbls>
            <c:dLbl>
              <c:idx val="0"/>
              <c:layout>
                <c:manualLayout>
                  <c:x val="0"/>
                  <c:y val="-0.31038251366120218"/>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8724-4E2D-A421-57C8395E7749}"/>
                </c:ext>
              </c:extLst>
            </c:dLbl>
            <c:dLbl>
              <c:idx val="1"/>
              <c:layout>
                <c:manualLayout>
                  <c:x val="0"/>
                  <c:y val="-0.37923497267759565"/>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8724-4E2D-A421-57C8395E774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5.844999999999999</c:v>
                </c:pt>
                <c:pt idx="1">
                  <c:v>58.75</c:v>
                </c:pt>
              </c:numCache>
            </c:numRef>
          </c:val>
          <c:extLst>
            <c:ext xmlns:c16="http://schemas.microsoft.com/office/drawing/2014/chart" uri="{C3380CC4-5D6E-409C-BE32-E72D297353CC}">
              <c16:uniqueId val="{00000002-8724-4E2D-A421-57C8395E7749}"/>
            </c:ext>
          </c:extLst>
        </c:ser>
        <c:dLbls>
          <c:showLegendKey val="0"/>
          <c:showVal val="0"/>
          <c:showCatName val="0"/>
          <c:showSerName val="0"/>
          <c:showPercent val="0"/>
          <c:showBubbleSize val="0"/>
        </c:dLbls>
        <c:gapWidth val="80"/>
        <c:overlap val="100"/>
        <c:axId val="681855888"/>
        <c:axId val="1"/>
      </c:barChart>
      <c:catAx>
        <c:axId val="681855888"/>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8.75"/>
          <c:min val="0"/>
        </c:scaling>
        <c:delete val="1"/>
        <c:axPos val="l"/>
        <c:numFmt formatCode="General" sourceLinked="1"/>
        <c:majorTickMark val="out"/>
        <c:minorTickMark val="none"/>
        <c:tickLblPos val="nextTo"/>
        <c:crossAx val="681855888"/>
        <c:crosses val="min"/>
        <c:crossBetween val="between"/>
      </c:valAx>
    </c:plotArea>
    <c:plotVisOnly val="0"/>
    <c:dispBlanksAs val="gap"/>
    <c:showDLblsOverMax val="1"/>
  </c:chart>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0492459218221E-2"/>
          <c:y val="0.22295081967213115"/>
          <c:w val="0.96799015081563555"/>
          <c:h val="0.62185792349726776"/>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0-EF3E-4B0E-B976-38A5C838A5C7}"/>
              </c:ext>
            </c:extLst>
          </c:dPt>
          <c:dLbls>
            <c:dLbl>
              <c:idx val="0"/>
              <c:layout>
                <c:manualLayout>
                  <c:x val="0"/>
                  <c:y val="-0.20655737704918034"/>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F3E-4B0E-B976-38A5C838A5C7}"/>
                </c:ext>
              </c:extLst>
            </c:dLbl>
            <c:dLbl>
              <c:idx val="1"/>
              <c:layout>
                <c:manualLayout>
                  <c:x val="0"/>
                  <c:y val="-0.37923497267759565"/>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F3E-4B0E-B976-38A5C838A5C7}"/>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2.574</c:v>
                </c:pt>
                <c:pt idx="1">
                  <c:v>28.045000000000002</c:v>
                </c:pt>
              </c:numCache>
            </c:numRef>
          </c:val>
          <c:extLst>
            <c:ext xmlns:c16="http://schemas.microsoft.com/office/drawing/2014/chart" uri="{C3380CC4-5D6E-409C-BE32-E72D297353CC}">
              <c16:uniqueId val="{00000002-EF3E-4B0E-B976-38A5C838A5C7}"/>
            </c:ext>
          </c:extLst>
        </c:ser>
        <c:dLbls>
          <c:showLegendKey val="0"/>
          <c:showVal val="0"/>
          <c:showCatName val="0"/>
          <c:showSerName val="0"/>
          <c:showPercent val="0"/>
          <c:showBubbleSize val="0"/>
        </c:dLbls>
        <c:gapWidth val="80"/>
        <c:overlap val="100"/>
        <c:axId val="898402912"/>
        <c:axId val="1"/>
      </c:barChart>
      <c:catAx>
        <c:axId val="89840291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28.045000000000002"/>
          <c:min val="0"/>
        </c:scaling>
        <c:delete val="1"/>
        <c:axPos val="l"/>
        <c:numFmt formatCode="General" sourceLinked="1"/>
        <c:majorTickMark val="out"/>
        <c:minorTickMark val="none"/>
        <c:tickLblPos val="nextTo"/>
        <c:crossAx val="898402912"/>
        <c:crosses val="min"/>
        <c:crossBetween val="between"/>
      </c:valAx>
    </c:plotArea>
    <c:plotVisOnly val="0"/>
    <c:dispBlanksAs val="gap"/>
    <c:showDLblsOverMax val="1"/>
  </c:chart>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0492459218221E-2"/>
          <c:y val="0.20461384152457371"/>
          <c:w val="0.96799015081563555"/>
          <c:h val="0.65295887662988972"/>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0-168E-431A-B73E-FCD8247604E1}"/>
              </c:ext>
            </c:extLst>
          </c:dPt>
          <c:dLbls>
            <c:dLbl>
              <c:idx val="0"/>
              <c:layout>
                <c:manualLayout>
                  <c:x val="0"/>
                  <c:y val="-0.23269809428284854"/>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168E-431A-B73E-FCD8247604E1}"/>
                </c:ext>
              </c:extLst>
            </c:dLbl>
            <c:dLbl>
              <c:idx val="1"/>
              <c:layout>
                <c:manualLayout>
                  <c:x val="0"/>
                  <c:y val="-0.38916750250752258"/>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68E-431A-B73E-FCD8247604E1}"/>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526.85400000000004</c:v>
                </c:pt>
                <c:pt idx="1">
                  <c:v>1009.164</c:v>
                </c:pt>
              </c:numCache>
            </c:numRef>
          </c:val>
          <c:extLst>
            <c:ext xmlns:c16="http://schemas.microsoft.com/office/drawing/2014/chart" uri="{C3380CC4-5D6E-409C-BE32-E72D297353CC}">
              <c16:uniqueId val="{00000002-168E-431A-B73E-FCD8247604E1}"/>
            </c:ext>
          </c:extLst>
        </c:ser>
        <c:dLbls>
          <c:showLegendKey val="0"/>
          <c:showVal val="0"/>
          <c:showCatName val="0"/>
          <c:showSerName val="0"/>
          <c:showPercent val="0"/>
          <c:showBubbleSize val="0"/>
        </c:dLbls>
        <c:gapWidth val="80"/>
        <c:overlap val="100"/>
        <c:axId val="1070036272"/>
        <c:axId val="1"/>
      </c:barChart>
      <c:catAx>
        <c:axId val="1070036272"/>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009.164"/>
          <c:min val="0"/>
        </c:scaling>
        <c:delete val="1"/>
        <c:axPos val="l"/>
        <c:numFmt formatCode="General" sourceLinked="1"/>
        <c:majorTickMark val="out"/>
        <c:minorTickMark val="none"/>
        <c:tickLblPos val="nextTo"/>
        <c:crossAx val="1070036272"/>
        <c:crosses val="min"/>
        <c:crossBetween val="between"/>
      </c:valAx>
    </c:plotArea>
    <c:plotVisOnly val="0"/>
    <c:dispBlanksAs val="gap"/>
    <c:showDLblsOverMax val="1"/>
  </c:chart>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0492459218221E-2"/>
          <c:y val="0.20461384152457371"/>
          <c:w val="0.96799015081563555"/>
          <c:h val="0.65295887662988972"/>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0-B3D5-427C-8A3B-9E694592ECA9}"/>
              </c:ext>
            </c:extLst>
          </c:dPt>
          <c:dLbls>
            <c:dLbl>
              <c:idx val="0"/>
              <c:layout>
                <c:manualLayout>
                  <c:x val="0"/>
                  <c:y val="-0.21664994984954863"/>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B3D5-427C-8A3B-9E694592ECA9}"/>
                </c:ext>
              </c:extLst>
            </c:dLbl>
            <c:dLbl>
              <c:idx val="1"/>
              <c:layout>
                <c:manualLayout>
                  <c:x val="0"/>
                  <c:y val="-0.38916750250752258"/>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B3D5-427C-8A3B-9E694592ECA9}"/>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284.72000000000003</c:v>
                </c:pt>
                <c:pt idx="1">
                  <c:v>599.69600000000003</c:v>
                </c:pt>
              </c:numCache>
            </c:numRef>
          </c:val>
          <c:extLst>
            <c:ext xmlns:c16="http://schemas.microsoft.com/office/drawing/2014/chart" uri="{C3380CC4-5D6E-409C-BE32-E72D297353CC}">
              <c16:uniqueId val="{00000002-B3D5-427C-8A3B-9E694592ECA9}"/>
            </c:ext>
          </c:extLst>
        </c:ser>
        <c:dLbls>
          <c:showLegendKey val="0"/>
          <c:showVal val="0"/>
          <c:showCatName val="0"/>
          <c:showSerName val="0"/>
          <c:showPercent val="0"/>
          <c:showBubbleSize val="0"/>
        </c:dLbls>
        <c:gapWidth val="80"/>
        <c:overlap val="100"/>
        <c:axId val="1074718416"/>
        <c:axId val="1"/>
      </c:barChart>
      <c:catAx>
        <c:axId val="1074718416"/>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99.69600000000003"/>
          <c:min val="0"/>
        </c:scaling>
        <c:delete val="1"/>
        <c:axPos val="l"/>
        <c:numFmt formatCode="General" sourceLinked="1"/>
        <c:majorTickMark val="out"/>
        <c:minorTickMark val="none"/>
        <c:tickLblPos val="nextTo"/>
        <c:crossAx val="1074718416"/>
        <c:crosses val="min"/>
        <c:crossBetween val="between"/>
      </c:valAx>
    </c:plotArea>
    <c:plotVisOnly val="0"/>
    <c:dispBlanksAs val="gap"/>
    <c:showDLblsOverMax val="1"/>
  </c:chart>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0492459218221E-2"/>
          <c:y val="0.22295081967213115"/>
          <c:w val="0.96799015081563555"/>
          <c:h val="0.62185792349726776"/>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0-E34C-416C-ABFA-B64037FE340F}"/>
              </c:ext>
            </c:extLst>
          </c:dPt>
          <c:dLbls>
            <c:dLbl>
              <c:idx val="0"/>
              <c:layout>
                <c:manualLayout>
                  <c:x val="0"/>
                  <c:y val="-0.26994535519125684"/>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E34C-416C-ABFA-B64037FE340F}"/>
                </c:ext>
              </c:extLst>
            </c:dLbl>
            <c:dLbl>
              <c:idx val="1"/>
              <c:layout>
                <c:manualLayout>
                  <c:x val="0"/>
                  <c:y val="-0.37923497267759565"/>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E34C-416C-ABFA-B64037FE340F}"/>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116.76600000000001</c:v>
                </c:pt>
                <c:pt idx="1">
                  <c:v>179.625</c:v>
                </c:pt>
              </c:numCache>
            </c:numRef>
          </c:val>
          <c:extLst>
            <c:ext xmlns:c16="http://schemas.microsoft.com/office/drawing/2014/chart" uri="{C3380CC4-5D6E-409C-BE32-E72D297353CC}">
              <c16:uniqueId val="{00000002-E34C-416C-ABFA-B64037FE340F}"/>
            </c:ext>
          </c:extLst>
        </c:ser>
        <c:dLbls>
          <c:showLegendKey val="0"/>
          <c:showVal val="0"/>
          <c:showCatName val="0"/>
          <c:showSerName val="0"/>
          <c:showPercent val="0"/>
          <c:showBubbleSize val="0"/>
        </c:dLbls>
        <c:gapWidth val="80"/>
        <c:overlap val="100"/>
        <c:axId val="371723583"/>
        <c:axId val="1"/>
      </c:barChart>
      <c:catAx>
        <c:axId val="371723583"/>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179.625"/>
          <c:min val="0"/>
        </c:scaling>
        <c:delete val="1"/>
        <c:axPos val="l"/>
        <c:numFmt formatCode="General" sourceLinked="1"/>
        <c:majorTickMark val="out"/>
        <c:minorTickMark val="none"/>
        <c:tickLblPos val="nextTo"/>
        <c:crossAx val="371723583"/>
        <c:crosses val="min"/>
        <c:crossBetween val="between"/>
      </c:valAx>
    </c:plotArea>
    <c:plotVisOnly val="0"/>
    <c:dispBlanksAs val="gap"/>
    <c:showDLblsOverMax val="1"/>
  </c:chart>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600492459218221E-2"/>
          <c:y val="0.22295081967213115"/>
          <c:w val="0.96799015081563555"/>
          <c:h val="0.62185792349726776"/>
        </c:manualLayout>
      </c:layout>
      <c:barChart>
        <c:barDir val="col"/>
        <c:grouping val="stacked"/>
        <c:varyColors val="0"/>
        <c:ser>
          <c:idx val="0"/>
          <c:order val="0"/>
          <c:spPr>
            <a:solidFill>
              <a:schemeClr val="accent3"/>
            </a:solidFill>
            <a:ln>
              <a:noFill/>
            </a:ln>
          </c:spPr>
          <c:invertIfNegative val="0"/>
          <c:dPt>
            <c:idx val="0"/>
            <c:invertIfNegative val="0"/>
            <c:bubble3D val="0"/>
            <c:spPr>
              <a:solidFill>
                <a:schemeClr val="accent6"/>
              </a:solidFill>
              <a:ln>
                <a:noFill/>
              </a:ln>
            </c:spPr>
            <c:extLst>
              <c:ext xmlns:c16="http://schemas.microsoft.com/office/drawing/2014/chart" uri="{C3380CC4-5D6E-409C-BE32-E72D297353CC}">
                <c16:uniqueId val="{00000000-74FD-4290-8AA4-BCB53417B7EB}"/>
              </c:ext>
            </c:extLst>
          </c:dPt>
          <c:dLbls>
            <c:dLbl>
              <c:idx val="0"/>
              <c:layout>
                <c:manualLayout>
                  <c:x val="0"/>
                  <c:y val="-0.29071038251366121"/>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74FD-4290-8AA4-BCB53417B7EB}"/>
                </c:ext>
              </c:extLst>
            </c:dLbl>
            <c:dLbl>
              <c:idx val="1"/>
              <c:layout>
                <c:manualLayout>
                  <c:x val="0"/>
                  <c:y val="-0.37923497267759565"/>
                </c:manualLayout>
              </c:layout>
              <c:numFmt formatCode="#,##0.0;&quot;-&quot;#,##0.0" sourceLinked="0"/>
              <c:spPr>
                <a:noFill/>
                <a:ln>
                  <a:noFill/>
                </a:ln>
              </c:spPr>
              <c:txPr>
                <a:bodyPr wrap="none"/>
                <a:lstStyle/>
                <a:p>
                  <a:pPr>
                    <a:defRPr sz="10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74FD-4290-8AA4-BCB53417B7E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41.393000000000001</c:v>
                </c:pt>
                <c:pt idx="1">
                  <c:v>57.527999999999999</c:v>
                </c:pt>
              </c:numCache>
            </c:numRef>
          </c:val>
          <c:extLst>
            <c:ext xmlns:c16="http://schemas.microsoft.com/office/drawing/2014/chart" uri="{C3380CC4-5D6E-409C-BE32-E72D297353CC}">
              <c16:uniqueId val="{00000002-74FD-4290-8AA4-BCB53417B7EB}"/>
            </c:ext>
          </c:extLst>
        </c:ser>
        <c:dLbls>
          <c:showLegendKey val="0"/>
          <c:showVal val="0"/>
          <c:showCatName val="0"/>
          <c:showSerName val="0"/>
          <c:showPercent val="0"/>
          <c:showBubbleSize val="0"/>
        </c:dLbls>
        <c:gapWidth val="80"/>
        <c:overlap val="100"/>
        <c:axId val="601824111"/>
        <c:axId val="1"/>
      </c:barChart>
      <c:catAx>
        <c:axId val="601824111"/>
        <c:scaling>
          <c:orientation val="minMax"/>
        </c:scaling>
        <c:delete val="0"/>
        <c:axPos val="b"/>
        <c:majorGridlines>
          <c:spPr>
            <a:ln>
              <a:noFill/>
            </a:ln>
          </c:spPr>
        </c:majorGridlines>
        <c:majorTickMark val="none"/>
        <c:minorTickMark val="none"/>
        <c:tickLblPos val="none"/>
        <c:spPr>
          <a:ln w="9525" cmpd="sng" algn="ctr">
            <a:solidFill>
              <a:schemeClr val="tx1"/>
            </a:solidFill>
            <a:prstDash val="solid"/>
          </a:ln>
        </c:spPr>
        <c:crossAx val="1"/>
        <c:crosses val="min"/>
        <c:auto val="0"/>
        <c:lblAlgn val="ctr"/>
        <c:lblOffset val="100"/>
        <c:noMultiLvlLbl val="0"/>
      </c:catAx>
      <c:valAx>
        <c:axId val="1"/>
        <c:scaling>
          <c:orientation val="minMax"/>
          <c:max val="57.527999999999999"/>
          <c:min val="0"/>
        </c:scaling>
        <c:delete val="1"/>
        <c:axPos val="l"/>
        <c:numFmt formatCode="General" sourceLinked="1"/>
        <c:majorTickMark val="out"/>
        <c:minorTickMark val="none"/>
        <c:tickLblPos val="nextTo"/>
        <c:crossAx val="601824111"/>
        <c:crosses val="min"/>
        <c:crossBetween val="between"/>
      </c:valAx>
    </c:plotArea>
    <c:plotVisOnly val="0"/>
    <c:dispBlanksAs val="gap"/>
    <c:showDLblsOverMax val="1"/>
  </c:chart>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252128841169936E-2"/>
          <c:y val="9.1403699673558214E-2"/>
          <c:w val="0.96149574231766011"/>
          <c:h val="0.81719260065288357"/>
        </c:manualLayout>
      </c:layout>
      <c:barChart>
        <c:barDir val="bar"/>
        <c:grouping val="stacked"/>
        <c:varyColors val="0"/>
        <c:ser>
          <c:idx val="0"/>
          <c:order val="0"/>
          <c:spPr>
            <a:solidFill>
              <a:srgbClr val="EC9351"/>
            </a:solidFill>
            <a:ln>
              <a:noFill/>
            </a:ln>
          </c:spPr>
          <c:invertIfNegative val="0"/>
          <c:dLbls>
            <c:dLbl>
              <c:idx val="0"/>
              <c:layout>
                <c:manualLayout>
                  <c:x val="0"/>
                  <c:y val="1.632208922742111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C21E-475B-9A48-46622D164CAB}"/>
                </c:ext>
              </c:extLst>
            </c:dLbl>
            <c:dLbl>
              <c:idx val="1"/>
              <c:layout>
                <c:manualLayout>
                  <c:x val="-3.7023324694557573E-4"/>
                  <c:y val="1.632208922742111E-3"/>
                </c:manualLayout>
              </c:layout>
              <c:numFmt formatCode="#,##0&quot;%&quot;;&quot;-&quot;#,##0&quot;%&quot;" sourceLinked="0"/>
              <c:spPr>
                <a:noFill/>
                <a:ln>
                  <a:noFill/>
                </a:ln>
              </c:spPr>
              <c:txPr>
                <a:bodyPr wrap="none"/>
                <a:lstStyle/>
                <a:p>
                  <a:pPr>
                    <a:defRPr sz="1200" kern="1200">
                      <a:solidFill>
                        <a:schemeClr val="bg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C21E-475B-9A48-46622D164C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B$1</c:f>
              <c:numCache>
                <c:formatCode>General</c:formatCode>
                <c:ptCount val="2"/>
                <c:pt idx="0">
                  <c:v>9.1</c:v>
                </c:pt>
                <c:pt idx="1">
                  <c:v>36.700000000000003</c:v>
                </c:pt>
              </c:numCache>
            </c:numRef>
          </c:val>
          <c:extLst>
            <c:ext xmlns:c16="http://schemas.microsoft.com/office/drawing/2014/chart" uri="{C3380CC4-5D6E-409C-BE32-E72D297353CC}">
              <c16:uniqueId val="{00000002-C21E-475B-9A48-46622D164CAB}"/>
            </c:ext>
          </c:extLst>
        </c:ser>
        <c:ser>
          <c:idx val="1"/>
          <c:order val="1"/>
          <c:spPr>
            <a:solidFill>
              <a:srgbClr val="FADFCE"/>
            </a:solidFill>
            <a:ln>
              <a:noFill/>
            </a:ln>
          </c:spPr>
          <c:invertIfNegative val="0"/>
          <c:dLbls>
            <c:dLbl>
              <c:idx val="0"/>
              <c:layout>
                <c:manualLayout>
                  <c:x val="0"/>
                  <c:y val="1.63220892274211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C21E-475B-9A48-46622D164CAB}"/>
                </c:ext>
              </c:extLst>
            </c:dLbl>
            <c:dLbl>
              <c:idx val="1"/>
              <c:layout>
                <c:manualLayout>
                  <c:x val="0"/>
                  <c:y val="1.63220892274211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4-C21E-475B-9A48-46622D164C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2:$B$2</c:f>
              <c:numCache>
                <c:formatCode>General</c:formatCode>
                <c:ptCount val="2"/>
                <c:pt idx="0">
                  <c:v>88.7</c:v>
                </c:pt>
                <c:pt idx="1">
                  <c:v>52</c:v>
                </c:pt>
              </c:numCache>
            </c:numRef>
          </c:val>
          <c:extLst>
            <c:ext xmlns:c16="http://schemas.microsoft.com/office/drawing/2014/chart" uri="{C3380CC4-5D6E-409C-BE32-E72D297353CC}">
              <c16:uniqueId val="{00000005-C21E-475B-9A48-46622D164CAB}"/>
            </c:ext>
          </c:extLst>
        </c:ser>
        <c:ser>
          <c:idx val="2"/>
          <c:order val="2"/>
          <c:spPr>
            <a:solidFill>
              <a:srgbClr val="C3CFE1"/>
            </a:solidFill>
            <a:ln>
              <a:noFill/>
            </a:ln>
          </c:spPr>
          <c:invertIfNegative val="0"/>
          <c:dPt>
            <c:idx val="1"/>
            <c:invertIfNegative val="0"/>
            <c:bubble3D val="0"/>
            <c:spPr>
              <a:solidFill>
                <a:srgbClr val="DFE5EF"/>
              </a:solidFill>
              <a:ln>
                <a:noFill/>
              </a:ln>
            </c:spPr>
            <c:extLst>
              <c:ext xmlns:c16="http://schemas.microsoft.com/office/drawing/2014/chart" uri="{C3380CC4-5D6E-409C-BE32-E72D297353CC}">
                <c16:uniqueId val="{00000006-C21E-475B-9A48-46622D164CAB}"/>
              </c:ext>
            </c:extLst>
          </c:dPt>
          <c:dLbls>
            <c:dLbl>
              <c:idx val="1"/>
              <c:layout>
                <c:manualLayout>
                  <c:x val="0"/>
                  <c:y val="1.632208922742111E-3"/>
                </c:manualLayout>
              </c:layout>
              <c:numFmt formatCode="#,##0&quot;%&quot;;&quot;-&quot;#,##0&quot;%&quot;" sourceLinked="0"/>
              <c:spPr>
                <a:noFill/>
                <a:ln>
                  <a:noFill/>
                </a:ln>
              </c:spPr>
              <c:txPr>
                <a:bodyPr wrap="none"/>
                <a:lstStyle/>
                <a:p>
                  <a:pPr>
                    <a:defRPr sz="1200" kern="1200">
                      <a:solidFill>
                        <a:schemeClr val="tx1"/>
                      </a:solidFill>
                      <a:latin typeface="+mn-lt"/>
                      <a:ea typeface="+mn-ea"/>
                      <a:cs typeface="+mn-cs"/>
                    </a:defRPr>
                  </a:pPr>
                  <a:endParaRPr lang="en-US"/>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6-C21E-475B-9A48-46622D164CAB}"/>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3:$B$3</c:f>
              <c:numCache>
                <c:formatCode>General</c:formatCode>
                <c:ptCount val="2"/>
                <c:pt idx="0">
                  <c:v>2.200000000000002</c:v>
                </c:pt>
                <c:pt idx="1">
                  <c:v>11.299999999999999</c:v>
                </c:pt>
              </c:numCache>
            </c:numRef>
          </c:val>
          <c:extLst>
            <c:ext xmlns:c16="http://schemas.microsoft.com/office/drawing/2014/chart" uri="{C3380CC4-5D6E-409C-BE32-E72D297353CC}">
              <c16:uniqueId val="{00000007-C21E-475B-9A48-46622D164CAB}"/>
            </c:ext>
          </c:extLst>
        </c:ser>
        <c:dLbls>
          <c:showLegendKey val="0"/>
          <c:showVal val="0"/>
          <c:showCatName val="0"/>
          <c:showSerName val="0"/>
          <c:showPercent val="0"/>
          <c:showBubbleSize val="0"/>
        </c:dLbls>
        <c:gapWidth val="80"/>
        <c:overlap val="100"/>
        <c:axId val="1024686576"/>
        <c:axId val="1"/>
      </c:barChart>
      <c:catAx>
        <c:axId val="1024686576"/>
        <c:scaling>
          <c:orientation val="maxMin"/>
        </c:scaling>
        <c:delete val="0"/>
        <c:axPos val="l"/>
        <c:majorGridlines>
          <c:spPr>
            <a:ln>
              <a:noFill/>
            </a:ln>
          </c:spPr>
        </c:majorGridlines>
        <c:majorTickMark val="none"/>
        <c:minorTickMark val="none"/>
        <c:tickLblPos val="none"/>
        <c:spPr>
          <a:ln w="9525" cmpd="sng" algn="ctr">
            <a:solidFill>
              <a:schemeClr val="bg1"/>
            </a:solidFill>
            <a:prstDash val="solid"/>
          </a:ln>
        </c:spPr>
        <c:crossAx val="1"/>
        <c:crosses val="min"/>
        <c:auto val="0"/>
        <c:lblAlgn val="ctr"/>
        <c:lblOffset val="100"/>
        <c:noMultiLvlLbl val="0"/>
      </c:catAx>
      <c:valAx>
        <c:axId val="1"/>
        <c:scaling>
          <c:orientation val="minMax"/>
          <c:max val="100"/>
          <c:min val="0"/>
        </c:scaling>
        <c:delete val="1"/>
        <c:axPos val="t"/>
        <c:numFmt formatCode="General" sourceLinked="1"/>
        <c:majorTickMark val="out"/>
        <c:minorTickMark val="none"/>
        <c:tickLblPos val="nextTo"/>
        <c:crossAx val="1024686576"/>
        <c:crosses val="min"/>
        <c:crossBetween val="between"/>
      </c:valAx>
    </c:plotArea>
    <c:plotVisOnly val="0"/>
    <c:dispBlanksAs val="gap"/>
    <c:showDLblsOverMax val="1"/>
  </c:chart>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1968" cy="466912"/>
          </a:xfrm>
          <a:prstGeom prst="rect">
            <a:avLst/>
          </a:prstGeom>
        </p:spPr>
        <p:txBody>
          <a:bodyPr vert="horz" lIns="93277" tIns="46639" rIns="93277" bIns="46639" rtlCol="0"/>
          <a:lstStyle>
            <a:lvl1pPr algn="l">
              <a:defRPr sz="1200"/>
            </a:lvl1pPr>
          </a:lstStyle>
          <a:p>
            <a:endParaRPr lang="en-US"/>
          </a:p>
        </p:txBody>
      </p:sp>
      <p:sp>
        <p:nvSpPr>
          <p:cNvPr id="3" name="Date Placeholder 2"/>
          <p:cNvSpPr>
            <a:spLocks noGrp="1"/>
          </p:cNvSpPr>
          <p:nvPr>
            <p:ph type="dt" sz="quarter" idx="1"/>
          </p:nvPr>
        </p:nvSpPr>
        <p:spPr>
          <a:xfrm>
            <a:off x="3976333" y="0"/>
            <a:ext cx="3041968" cy="466912"/>
          </a:xfrm>
          <a:prstGeom prst="rect">
            <a:avLst/>
          </a:prstGeom>
        </p:spPr>
        <p:txBody>
          <a:bodyPr vert="horz" lIns="93277" tIns="46639" rIns="93277" bIns="46639" rtlCol="0"/>
          <a:lstStyle>
            <a:lvl1pPr algn="r">
              <a:defRPr sz="1200"/>
            </a:lvl1pPr>
          </a:lstStyle>
          <a:p>
            <a:fld id="{089524C6-C594-400B-8083-B2346933AE92}" type="datetimeFigureOut">
              <a:rPr lang="en-US" smtClean="0"/>
              <a:t>11/16/2023</a:t>
            </a:fld>
            <a:endParaRPr lang="en-US"/>
          </a:p>
        </p:txBody>
      </p:sp>
      <p:sp>
        <p:nvSpPr>
          <p:cNvPr id="4" name="Footer Placeholder 3"/>
          <p:cNvSpPr>
            <a:spLocks noGrp="1"/>
          </p:cNvSpPr>
          <p:nvPr>
            <p:ph type="ftr" sz="quarter" idx="2"/>
          </p:nvPr>
        </p:nvSpPr>
        <p:spPr>
          <a:xfrm>
            <a:off x="0" y="8839015"/>
            <a:ext cx="3041968" cy="466911"/>
          </a:xfrm>
          <a:prstGeom prst="rect">
            <a:avLst/>
          </a:prstGeom>
        </p:spPr>
        <p:txBody>
          <a:bodyPr vert="horz" lIns="93277" tIns="46639" rIns="93277" bIns="46639" rtlCol="0" anchor="b"/>
          <a:lstStyle>
            <a:lvl1pPr algn="l">
              <a:defRPr sz="1200"/>
            </a:lvl1pPr>
          </a:lstStyle>
          <a:p>
            <a:endParaRPr lang="en-US"/>
          </a:p>
        </p:txBody>
      </p:sp>
      <p:sp>
        <p:nvSpPr>
          <p:cNvPr id="5" name="Slide Number Placeholder 4"/>
          <p:cNvSpPr>
            <a:spLocks noGrp="1"/>
          </p:cNvSpPr>
          <p:nvPr>
            <p:ph type="sldNum" sz="quarter" idx="3"/>
          </p:nvPr>
        </p:nvSpPr>
        <p:spPr>
          <a:xfrm>
            <a:off x="3976333" y="8839015"/>
            <a:ext cx="3041968" cy="466911"/>
          </a:xfrm>
          <a:prstGeom prst="rect">
            <a:avLst/>
          </a:prstGeom>
        </p:spPr>
        <p:txBody>
          <a:bodyPr vert="horz" lIns="93277" tIns="46639" rIns="93277" bIns="46639" rtlCol="0" anchor="b"/>
          <a:lstStyle>
            <a:lvl1pPr algn="r">
              <a:defRPr sz="1200"/>
            </a:lvl1pPr>
          </a:lstStyle>
          <a:p>
            <a:fld id="{08E44230-2EB9-4D46-87CF-26DE68F618F4}" type="slidenum">
              <a:rPr lang="en-US" smtClean="0"/>
              <a:t>‹#›</a:t>
            </a:fld>
            <a:endParaRPr lang="en-US"/>
          </a:p>
        </p:txBody>
      </p:sp>
    </p:spTree>
    <p:extLst>
      <p:ext uri="{BB962C8B-B14F-4D97-AF65-F5344CB8AC3E}">
        <p14:creationId xmlns:p14="http://schemas.microsoft.com/office/powerpoint/2010/main" val="421585693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1968" cy="466912"/>
          </a:xfrm>
          <a:prstGeom prst="rect">
            <a:avLst/>
          </a:prstGeom>
        </p:spPr>
        <p:txBody>
          <a:bodyPr vert="horz" lIns="93277" tIns="46639" rIns="93277" bIns="46639" rtlCol="0"/>
          <a:lstStyle>
            <a:lvl1pPr algn="l">
              <a:defRPr sz="1200"/>
            </a:lvl1pPr>
          </a:lstStyle>
          <a:p>
            <a:endParaRPr lang="en-US"/>
          </a:p>
        </p:txBody>
      </p:sp>
      <p:sp>
        <p:nvSpPr>
          <p:cNvPr id="3" name="Date Placeholder 2"/>
          <p:cNvSpPr>
            <a:spLocks noGrp="1"/>
          </p:cNvSpPr>
          <p:nvPr>
            <p:ph type="dt" idx="1"/>
          </p:nvPr>
        </p:nvSpPr>
        <p:spPr>
          <a:xfrm>
            <a:off x="3976333" y="0"/>
            <a:ext cx="3041968" cy="466912"/>
          </a:xfrm>
          <a:prstGeom prst="rect">
            <a:avLst/>
          </a:prstGeom>
        </p:spPr>
        <p:txBody>
          <a:bodyPr vert="horz" lIns="93277" tIns="46639" rIns="93277" bIns="46639" rtlCol="0"/>
          <a:lstStyle>
            <a:lvl1pPr algn="r">
              <a:defRPr sz="1200"/>
            </a:lvl1pPr>
          </a:lstStyle>
          <a:p>
            <a:fld id="{E87BAC9F-1DF7-4539-9CDA-EFD70BB7F612}" type="datetimeFigureOut">
              <a:rPr lang="en-US" smtClean="0"/>
              <a:t>11/16/2023</a:t>
            </a:fld>
            <a:endParaRPr lang="en-US"/>
          </a:p>
        </p:txBody>
      </p:sp>
      <p:sp>
        <p:nvSpPr>
          <p:cNvPr id="4" name="Slide Image Placeholder 3"/>
          <p:cNvSpPr>
            <a:spLocks noGrp="1" noRot="1" noChangeAspect="1"/>
          </p:cNvSpPr>
          <p:nvPr>
            <p:ph type="sldImg" idx="2"/>
          </p:nvPr>
        </p:nvSpPr>
        <p:spPr>
          <a:xfrm>
            <a:off x="719138" y="1163638"/>
            <a:ext cx="5581650" cy="3140075"/>
          </a:xfrm>
          <a:prstGeom prst="rect">
            <a:avLst/>
          </a:prstGeom>
          <a:noFill/>
          <a:ln w="12700">
            <a:solidFill>
              <a:prstClr val="black"/>
            </a:solidFill>
          </a:ln>
        </p:spPr>
        <p:txBody>
          <a:bodyPr vert="horz" lIns="93277" tIns="46639" rIns="93277" bIns="46639" rtlCol="0" anchor="ctr"/>
          <a:lstStyle/>
          <a:p>
            <a:endParaRPr lang="en-US"/>
          </a:p>
        </p:txBody>
      </p:sp>
      <p:sp>
        <p:nvSpPr>
          <p:cNvPr id="5" name="Notes Placeholder 4"/>
          <p:cNvSpPr>
            <a:spLocks noGrp="1"/>
          </p:cNvSpPr>
          <p:nvPr>
            <p:ph type="body" sz="quarter" idx="3"/>
          </p:nvPr>
        </p:nvSpPr>
        <p:spPr>
          <a:xfrm>
            <a:off x="701993" y="4478476"/>
            <a:ext cx="5615940" cy="3664208"/>
          </a:xfrm>
          <a:prstGeom prst="rect">
            <a:avLst/>
          </a:prstGeom>
        </p:spPr>
        <p:txBody>
          <a:bodyPr vert="horz" lIns="93277" tIns="46639" rIns="93277" bIns="4663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39015"/>
            <a:ext cx="3041968" cy="466911"/>
          </a:xfrm>
          <a:prstGeom prst="rect">
            <a:avLst/>
          </a:prstGeom>
        </p:spPr>
        <p:txBody>
          <a:bodyPr vert="horz" lIns="93277" tIns="46639" rIns="93277" bIns="46639" rtlCol="0" anchor="b"/>
          <a:lstStyle>
            <a:lvl1pPr algn="l">
              <a:defRPr sz="1200"/>
            </a:lvl1pPr>
          </a:lstStyle>
          <a:p>
            <a:endParaRPr lang="en-US"/>
          </a:p>
        </p:txBody>
      </p:sp>
      <p:sp>
        <p:nvSpPr>
          <p:cNvPr id="7" name="Slide Number Placeholder 6"/>
          <p:cNvSpPr>
            <a:spLocks noGrp="1"/>
          </p:cNvSpPr>
          <p:nvPr>
            <p:ph type="sldNum" sz="quarter" idx="5"/>
          </p:nvPr>
        </p:nvSpPr>
        <p:spPr>
          <a:xfrm>
            <a:off x="3976333" y="8839015"/>
            <a:ext cx="3041968" cy="466911"/>
          </a:xfrm>
          <a:prstGeom prst="rect">
            <a:avLst/>
          </a:prstGeom>
        </p:spPr>
        <p:txBody>
          <a:bodyPr vert="horz" lIns="93277" tIns="46639" rIns="93277" bIns="46639" rtlCol="0" anchor="b"/>
          <a:lstStyle>
            <a:lvl1pPr algn="r">
              <a:defRPr sz="1200"/>
            </a:lvl1pPr>
          </a:lstStyle>
          <a:p>
            <a:fld id="{93372132-DBB3-42D4-98EE-E6F532012678}" type="slidenum">
              <a:rPr lang="en-US" smtClean="0"/>
              <a:t>‹#›</a:t>
            </a:fld>
            <a:endParaRPr lang="en-US"/>
          </a:p>
        </p:txBody>
      </p:sp>
    </p:spTree>
    <p:extLst>
      <p:ext uri="{BB962C8B-B14F-4D97-AF65-F5344CB8AC3E}">
        <p14:creationId xmlns:p14="http://schemas.microsoft.com/office/powerpoint/2010/main" val="143455216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pPr algn="l" defTabSz="914308" fontAlgn="base">
              <a:spcBef>
                <a:spcPct val="0"/>
              </a:spcBef>
              <a:spcAft>
                <a:spcPct val="0"/>
              </a:spcAft>
              <a:defRPr/>
            </a:pPr>
            <a:fld id="{0994DFE8-8EE7-C149-B909-6AE5F0665A86}" type="slidenum">
              <a:rPr lang="en-US" sz="1800">
                <a:solidFill>
                  <a:prstClr val="black"/>
                </a:solidFill>
                <a:latin typeface="Calibri" charset="0"/>
                <a:ea typeface="ＭＳ Ｐゴシック" charset="0"/>
              </a:rPr>
              <a:pPr algn="l" defTabSz="914308" fontAlgn="base">
                <a:spcBef>
                  <a:spcPct val="0"/>
                </a:spcBef>
                <a:spcAft>
                  <a:spcPct val="0"/>
                </a:spcAft>
                <a:defRPr/>
              </a:pPr>
              <a:t>2</a:t>
            </a:fld>
            <a:endParaRPr lang="en-US" sz="1800" dirty="0">
              <a:solidFill>
                <a:prstClr val="black"/>
              </a:solidFill>
              <a:latin typeface="Calibri" charset="0"/>
              <a:ea typeface="ＭＳ Ｐゴシック" charset="0"/>
            </a:endParaRPr>
          </a:p>
        </p:txBody>
      </p:sp>
    </p:spTree>
    <p:extLst>
      <p:ext uri="{BB962C8B-B14F-4D97-AF65-F5344CB8AC3E}">
        <p14:creationId xmlns:p14="http://schemas.microsoft.com/office/powerpoint/2010/main" val="319238238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5"/>
          </p:nvPr>
        </p:nvSpPr>
        <p:spPr/>
        <p:txBody>
          <a:bodyPr/>
          <a:lstStyle/>
          <a:p>
            <a:pPr algn="l" defTabSz="914308" fontAlgn="base">
              <a:spcBef>
                <a:spcPct val="0"/>
              </a:spcBef>
              <a:spcAft>
                <a:spcPct val="0"/>
              </a:spcAft>
              <a:defRPr/>
            </a:pPr>
            <a:fld id="{0994DFE8-8EE7-C149-B909-6AE5F0665A86}" type="slidenum">
              <a:rPr lang="en-US" sz="1800">
                <a:solidFill>
                  <a:prstClr val="black"/>
                </a:solidFill>
                <a:latin typeface="Calibri" charset="0"/>
                <a:ea typeface="ＭＳ Ｐゴシック" charset="0"/>
              </a:rPr>
              <a:pPr algn="l" defTabSz="914308" fontAlgn="base">
                <a:spcBef>
                  <a:spcPct val="0"/>
                </a:spcBef>
                <a:spcAft>
                  <a:spcPct val="0"/>
                </a:spcAft>
                <a:defRPr/>
              </a:pPr>
              <a:t>11</a:t>
            </a:fld>
            <a:endParaRPr lang="en-US" sz="1800">
              <a:solidFill>
                <a:prstClr val="black"/>
              </a:solidFill>
              <a:latin typeface="Calibri" charset="0"/>
              <a:ea typeface="ＭＳ Ｐゴシック" charset="0"/>
            </a:endParaRPr>
          </a:p>
        </p:txBody>
      </p:sp>
    </p:spTree>
    <p:extLst>
      <p:ext uri="{BB962C8B-B14F-4D97-AF65-F5344CB8AC3E}">
        <p14:creationId xmlns:p14="http://schemas.microsoft.com/office/powerpoint/2010/main" val="26855496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0994DFE8-8EE7-C149-B909-6AE5F0665A86}" type="slidenum">
              <a:rPr lang="en-US" smtClean="0"/>
              <a:pPr>
                <a:defRPr/>
              </a:pPr>
              <a:t>12</a:t>
            </a:fld>
            <a:endParaRPr lang="en-US"/>
          </a:p>
        </p:txBody>
      </p:sp>
    </p:spTree>
    <p:extLst>
      <p:ext uri="{BB962C8B-B14F-4D97-AF65-F5344CB8AC3E}">
        <p14:creationId xmlns:p14="http://schemas.microsoft.com/office/powerpoint/2010/main" val="2998778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372132-DBB3-42D4-98EE-E6F532012678}" type="slidenum">
              <a:rPr lang="en-US" smtClean="0"/>
              <a:t>3</a:t>
            </a:fld>
            <a:endParaRPr lang="en-US"/>
          </a:p>
        </p:txBody>
      </p:sp>
    </p:spTree>
    <p:extLst>
      <p:ext uri="{BB962C8B-B14F-4D97-AF65-F5344CB8AC3E}">
        <p14:creationId xmlns:p14="http://schemas.microsoft.com/office/powerpoint/2010/main" val="231181593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32" indent="-171432">
              <a:buFontTx/>
              <a:buChar char="-"/>
            </a:pPr>
            <a:endParaRPr lang="en-US" dirty="0"/>
          </a:p>
        </p:txBody>
      </p:sp>
      <p:sp>
        <p:nvSpPr>
          <p:cNvPr id="4" name="Slide Number Placeholder 3"/>
          <p:cNvSpPr>
            <a:spLocks noGrp="1"/>
          </p:cNvSpPr>
          <p:nvPr>
            <p:ph type="sldNum" sz="quarter" idx="5"/>
          </p:nvPr>
        </p:nvSpPr>
        <p:spPr/>
        <p:txBody>
          <a:bodyPr/>
          <a:lstStyle/>
          <a:p>
            <a:pPr algn="l" defTabSz="914308" fontAlgn="base">
              <a:spcBef>
                <a:spcPct val="0"/>
              </a:spcBef>
              <a:spcAft>
                <a:spcPct val="0"/>
              </a:spcAft>
              <a:defRPr/>
            </a:pPr>
            <a:fld id="{0994DFE8-8EE7-C149-B909-6AE5F0665A86}" type="slidenum">
              <a:rPr lang="en-US" sz="1800">
                <a:solidFill>
                  <a:prstClr val="black"/>
                </a:solidFill>
                <a:latin typeface="Calibri" charset="0"/>
                <a:ea typeface="ＭＳ Ｐゴシック" charset="0"/>
              </a:rPr>
              <a:pPr algn="l" defTabSz="914308" fontAlgn="base">
                <a:spcBef>
                  <a:spcPct val="0"/>
                </a:spcBef>
                <a:spcAft>
                  <a:spcPct val="0"/>
                </a:spcAft>
                <a:defRPr/>
              </a:pPr>
              <a:t>4</a:t>
            </a:fld>
            <a:endParaRPr lang="en-US" sz="1800">
              <a:solidFill>
                <a:prstClr val="black"/>
              </a:solidFill>
              <a:latin typeface="Calibri" charset="0"/>
              <a:ea typeface="ＭＳ Ｐゴシック" charset="0"/>
            </a:endParaRPr>
          </a:p>
        </p:txBody>
      </p:sp>
    </p:spTree>
    <p:extLst>
      <p:ext uri="{BB962C8B-B14F-4D97-AF65-F5344CB8AC3E}">
        <p14:creationId xmlns:p14="http://schemas.microsoft.com/office/powerpoint/2010/main" val="85185568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3372132-DBB3-42D4-98EE-E6F532012678}" type="slidenum">
              <a:rPr lang="en-US" smtClean="0"/>
              <a:t>5</a:t>
            </a:fld>
            <a:endParaRPr lang="en-US"/>
          </a:p>
        </p:txBody>
      </p:sp>
    </p:spTree>
    <p:extLst>
      <p:ext uri="{BB962C8B-B14F-4D97-AF65-F5344CB8AC3E}">
        <p14:creationId xmlns:p14="http://schemas.microsoft.com/office/powerpoint/2010/main" val="396927404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32" indent="-171432">
              <a:buFontTx/>
              <a:buChar char="-"/>
            </a:pPr>
            <a:endParaRPr lang="en-US" dirty="0"/>
          </a:p>
        </p:txBody>
      </p:sp>
      <p:sp>
        <p:nvSpPr>
          <p:cNvPr id="4" name="Slide Number Placeholder 3"/>
          <p:cNvSpPr>
            <a:spLocks noGrp="1"/>
          </p:cNvSpPr>
          <p:nvPr>
            <p:ph type="sldNum" sz="quarter" idx="5"/>
          </p:nvPr>
        </p:nvSpPr>
        <p:spPr/>
        <p:txBody>
          <a:bodyPr/>
          <a:lstStyle/>
          <a:p>
            <a:pPr algn="l" defTabSz="914308" fontAlgn="base">
              <a:spcBef>
                <a:spcPct val="0"/>
              </a:spcBef>
              <a:spcAft>
                <a:spcPct val="0"/>
              </a:spcAft>
              <a:defRPr/>
            </a:pPr>
            <a:fld id="{0994DFE8-8EE7-C149-B909-6AE5F0665A86}" type="slidenum">
              <a:rPr lang="en-US" sz="1800">
                <a:solidFill>
                  <a:prstClr val="black"/>
                </a:solidFill>
                <a:latin typeface="Calibri" charset="0"/>
                <a:ea typeface="ＭＳ Ｐゴシック" charset="0"/>
              </a:rPr>
              <a:pPr algn="l" defTabSz="914308" fontAlgn="base">
                <a:spcBef>
                  <a:spcPct val="0"/>
                </a:spcBef>
                <a:spcAft>
                  <a:spcPct val="0"/>
                </a:spcAft>
                <a:defRPr/>
              </a:pPr>
              <a:t>6</a:t>
            </a:fld>
            <a:endParaRPr lang="en-US" sz="1800">
              <a:solidFill>
                <a:prstClr val="black"/>
              </a:solidFill>
              <a:latin typeface="Calibri" charset="0"/>
              <a:ea typeface="ＭＳ Ｐゴシック" charset="0"/>
            </a:endParaRPr>
          </a:p>
        </p:txBody>
      </p:sp>
    </p:spTree>
    <p:extLst>
      <p:ext uri="{BB962C8B-B14F-4D97-AF65-F5344CB8AC3E}">
        <p14:creationId xmlns:p14="http://schemas.microsoft.com/office/powerpoint/2010/main" val="349822401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32" indent="-171432">
              <a:buFontTx/>
              <a:buChar char="-"/>
            </a:pPr>
            <a:endParaRPr lang="en-US" dirty="0"/>
          </a:p>
        </p:txBody>
      </p:sp>
      <p:sp>
        <p:nvSpPr>
          <p:cNvPr id="4" name="Slide Number Placeholder 3"/>
          <p:cNvSpPr>
            <a:spLocks noGrp="1"/>
          </p:cNvSpPr>
          <p:nvPr>
            <p:ph type="sldNum" sz="quarter" idx="5"/>
          </p:nvPr>
        </p:nvSpPr>
        <p:spPr/>
        <p:txBody>
          <a:bodyPr/>
          <a:lstStyle/>
          <a:p>
            <a:pPr algn="l" defTabSz="914308" fontAlgn="base">
              <a:spcBef>
                <a:spcPct val="0"/>
              </a:spcBef>
              <a:spcAft>
                <a:spcPct val="0"/>
              </a:spcAft>
              <a:defRPr/>
            </a:pPr>
            <a:fld id="{0994DFE8-8EE7-C149-B909-6AE5F0665A86}" type="slidenum">
              <a:rPr lang="en-US" sz="1800">
                <a:solidFill>
                  <a:prstClr val="black"/>
                </a:solidFill>
                <a:latin typeface="Calibri" charset="0"/>
                <a:ea typeface="ＭＳ Ｐゴシック" charset="0"/>
              </a:rPr>
              <a:pPr algn="l" defTabSz="914308" fontAlgn="base">
                <a:spcBef>
                  <a:spcPct val="0"/>
                </a:spcBef>
                <a:spcAft>
                  <a:spcPct val="0"/>
                </a:spcAft>
                <a:defRPr/>
              </a:pPr>
              <a:t>7</a:t>
            </a:fld>
            <a:endParaRPr lang="en-US" sz="1800">
              <a:solidFill>
                <a:prstClr val="black"/>
              </a:solidFill>
              <a:latin typeface="Calibri" charset="0"/>
              <a:ea typeface="ＭＳ Ｐゴシック" charset="0"/>
            </a:endParaRPr>
          </a:p>
        </p:txBody>
      </p:sp>
    </p:spTree>
    <p:extLst>
      <p:ext uri="{BB962C8B-B14F-4D97-AF65-F5344CB8AC3E}">
        <p14:creationId xmlns:p14="http://schemas.microsoft.com/office/powerpoint/2010/main" val="27720902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171432" indent="-171432">
              <a:buFontTx/>
              <a:buChar char="-"/>
            </a:pPr>
            <a:endParaRPr lang="en-US" dirty="0"/>
          </a:p>
        </p:txBody>
      </p:sp>
      <p:sp>
        <p:nvSpPr>
          <p:cNvPr id="4" name="Slide Number Placeholder 3"/>
          <p:cNvSpPr>
            <a:spLocks noGrp="1"/>
          </p:cNvSpPr>
          <p:nvPr>
            <p:ph type="sldNum" sz="quarter" idx="5"/>
          </p:nvPr>
        </p:nvSpPr>
        <p:spPr/>
        <p:txBody>
          <a:bodyPr/>
          <a:lstStyle/>
          <a:p>
            <a:pPr algn="l" defTabSz="914308" fontAlgn="base">
              <a:spcBef>
                <a:spcPct val="0"/>
              </a:spcBef>
              <a:spcAft>
                <a:spcPct val="0"/>
              </a:spcAft>
              <a:defRPr/>
            </a:pPr>
            <a:fld id="{0994DFE8-8EE7-C149-B909-6AE5F0665A86}" type="slidenum">
              <a:rPr lang="en-US" sz="1800">
                <a:solidFill>
                  <a:prstClr val="black"/>
                </a:solidFill>
                <a:latin typeface="Calibri" charset="0"/>
                <a:ea typeface="ＭＳ Ｐゴシック" charset="0"/>
              </a:rPr>
              <a:pPr algn="l" defTabSz="914308" fontAlgn="base">
                <a:spcBef>
                  <a:spcPct val="0"/>
                </a:spcBef>
                <a:spcAft>
                  <a:spcPct val="0"/>
                </a:spcAft>
                <a:defRPr/>
              </a:pPr>
              <a:t>8</a:t>
            </a:fld>
            <a:endParaRPr lang="en-US" sz="1800">
              <a:solidFill>
                <a:prstClr val="black"/>
              </a:solidFill>
              <a:latin typeface="Calibri" charset="0"/>
              <a:ea typeface="ＭＳ Ｐゴシック" charset="0"/>
            </a:endParaRPr>
          </a:p>
        </p:txBody>
      </p:sp>
    </p:spTree>
    <p:extLst>
      <p:ext uri="{BB962C8B-B14F-4D97-AF65-F5344CB8AC3E}">
        <p14:creationId xmlns:p14="http://schemas.microsoft.com/office/powerpoint/2010/main" val="34522010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3200400" lvl="7" indent="0">
              <a:buFontTx/>
              <a:buNone/>
            </a:pPr>
            <a:endParaRPr lang="en-US" baseline="0" dirty="0"/>
          </a:p>
        </p:txBody>
      </p:sp>
      <p:sp>
        <p:nvSpPr>
          <p:cNvPr id="4" name="Slide Number Placeholder 3"/>
          <p:cNvSpPr>
            <a:spLocks noGrp="1"/>
          </p:cNvSpPr>
          <p:nvPr>
            <p:ph type="sldNum" sz="quarter" idx="5"/>
          </p:nvPr>
        </p:nvSpPr>
        <p:spPr/>
        <p:txBody>
          <a:bodyPr/>
          <a:lstStyle/>
          <a:p>
            <a:pPr marL="0" marR="0" lvl="0" indent="0" algn="l" defTabSz="914308" rtl="0" eaLnBrk="1" fontAlgn="base" latinLnBrk="0" hangingPunct="1">
              <a:lnSpc>
                <a:spcPct val="100000"/>
              </a:lnSpc>
              <a:spcBef>
                <a:spcPct val="0"/>
              </a:spcBef>
              <a:spcAft>
                <a:spcPct val="0"/>
              </a:spcAft>
              <a:buClrTx/>
              <a:buSzTx/>
              <a:buFontTx/>
              <a:buNone/>
              <a:tabLst/>
              <a:defRPr/>
            </a:pPr>
            <a:fld id="{0994DFE8-8EE7-C149-B909-6AE5F0665A86}" type="slidenum">
              <a:rPr kumimoji="0" lang="en-US" sz="1800" b="0" i="0" u="none" strike="noStrike" kern="1200" cap="none" spc="0" normalizeH="0" baseline="0" noProof="0">
                <a:ln>
                  <a:noFill/>
                </a:ln>
                <a:solidFill>
                  <a:prstClr val="black"/>
                </a:solidFill>
                <a:effectLst/>
                <a:uLnTx/>
                <a:uFillTx/>
                <a:latin typeface="Calibri" charset="0"/>
                <a:ea typeface="ＭＳ Ｐゴシック" charset="0"/>
                <a:cs typeface="+mn-cs"/>
              </a:rPr>
              <a:pPr marL="0" marR="0" lvl="0" indent="0" algn="l" defTabSz="914308" rtl="0" eaLnBrk="1" fontAlgn="base" latinLnBrk="0" hangingPunct="1">
                <a:lnSpc>
                  <a:spcPct val="100000"/>
                </a:lnSpc>
                <a:spcBef>
                  <a:spcPct val="0"/>
                </a:spcBef>
                <a:spcAft>
                  <a:spcPct val="0"/>
                </a:spcAft>
                <a:buClrTx/>
                <a:buSzTx/>
                <a:buFontTx/>
                <a:buNone/>
                <a:tabLst/>
                <a:defRPr/>
              </a:pPr>
              <a:t>9</a:t>
            </a:fld>
            <a:endParaRPr kumimoji="0" lang="en-US" sz="1800" b="0" i="0" u="none" strike="noStrike" kern="1200" cap="none" spc="0" normalizeH="0" baseline="0" noProof="0">
              <a:ln>
                <a:noFill/>
              </a:ln>
              <a:solidFill>
                <a:prstClr val="black"/>
              </a:solidFill>
              <a:effectLst/>
              <a:uLnTx/>
              <a:uFillTx/>
              <a:latin typeface="Calibri" charset="0"/>
              <a:ea typeface="ＭＳ Ｐゴシック" charset="0"/>
              <a:cs typeface="+mn-cs"/>
            </a:endParaRPr>
          </a:p>
        </p:txBody>
      </p:sp>
    </p:spTree>
    <p:extLst>
      <p:ext uri="{BB962C8B-B14F-4D97-AF65-F5344CB8AC3E}">
        <p14:creationId xmlns:p14="http://schemas.microsoft.com/office/powerpoint/2010/main" val="226598121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3200400" lvl="7" indent="0" algn="l">
              <a:buFontTx/>
              <a:buNone/>
            </a:pPr>
            <a:endParaRPr lang="en-US" baseline="0" dirty="0"/>
          </a:p>
        </p:txBody>
      </p:sp>
      <p:sp>
        <p:nvSpPr>
          <p:cNvPr id="4" name="Slide Number Placeholder 3"/>
          <p:cNvSpPr>
            <a:spLocks noGrp="1"/>
          </p:cNvSpPr>
          <p:nvPr>
            <p:ph type="sldNum" sz="quarter" idx="5"/>
          </p:nvPr>
        </p:nvSpPr>
        <p:spPr/>
        <p:txBody>
          <a:bodyPr/>
          <a:lstStyle/>
          <a:p>
            <a:pPr marL="0" marR="0" lvl="0" indent="0" algn="l" defTabSz="914308" rtl="0" eaLnBrk="1" fontAlgn="base" latinLnBrk="0" hangingPunct="1">
              <a:lnSpc>
                <a:spcPct val="100000"/>
              </a:lnSpc>
              <a:spcBef>
                <a:spcPct val="0"/>
              </a:spcBef>
              <a:spcAft>
                <a:spcPct val="0"/>
              </a:spcAft>
              <a:buClrTx/>
              <a:buSzTx/>
              <a:buFontTx/>
              <a:buNone/>
              <a:tabLst/>
              <a:defRPr/>
            </a:pPr>
            <a:fld id="{0994DFE8-8EE7-C149-B909-6AE5F0665A86}" type="slidenum">
              <a:rPr kumimoji="0" lang="en-US" sz="1800" b="0" i="0" u="none" strike="noStrike" kern="1200" cap="none" spc="0" normalizeH="0" baseline="0" noProof="0">
                <a:ln>
                  <a:noFill/>
                </a:ln>
                <a:solidFill>
                  <a:prstClr val="black"/>
                </a:solidFill>
                <a:effectLst/>
                <a:uLnTx/>
                <a:uFillTx/>
                <a:latin typeface="Calibri" charset="0"/>
                <a:ea typeface="ＭＳ Ｐゴシック" charset="0"/>
                <a:cs typeface="+mn-cs"/>
              </a:rPr>
              <a:pPr marL="0" marR="0" lvl="0" indent="0" algn="l" defTabSz="914308" rtl="0" eaLnBrk="1" fontAlgn="base" latinLnBrk="0" hangingPunct="1">
                <a:lnSpc>
                  <a:spcPct val="100000"/>
                </a:lnSpc>
                <a:spcBef>
                  <a:spcPct val="0"/>
                </a:spcBef>
                <a:spcAft>
                  <a:spcPct val="0"/>
                </a:spcAft>
                <a:buClrTx/>
                <a:buSzTx/>
                <a:buFontTx/>
                <a:buNone/>
                <a:tabLst/>
                <a:defRPr/>
              </a:pPr>
              <a:t>10</a:t>
            </a:fld>
            <a:endParaRPr kumimoji="0" lang="en-US" sz="1800" b="0" i="0" u="none" strike="noStrike" kern="1200" cap="none" spc="0" normalizeH="0" baseline="0" noProof="0">
              <a:ln>
                <a:noFill/>
              </a:ln>
              <a:solidFill>
                <a:prstClr val="black"/>
              </a:solidFill>
              <a:effectLst/>
              <a:uLnTx/>
              <a:uFillTx/>
              <a:latin typeface="Calibri" charset="0"/>
              <a:ea typeface="ＭＳ Ｐゴシック" charset="0"/>
              <a:cs typeface="+mn-cs"/>
            </a:endParaRPr>
          </a:p>
        </p:txBody>
      </p:sp>
    </p:spTree>
    <p:extLst>
      <p:ext uri="{BB962C8B-B14F-4D97-AF65-F5344CB8AC3E}">
        <p14:creationId xmlns:p14="http://schemas.microsoft.com/office/powerpoint/2010/main" val="9044854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0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0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1.emf"/><Relationship Id="rId1" Type="http://schemas.openxmlformats.org/officeDocument/2006/relationships/slideMaster" Target="../slideMasters/slideMaster11.xml"/></Relationships>
</file>

<file path=ppt/slideLayouts/_rels/slideLayout1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2.emf"/><Relationship Id="rId1" Type="http://schemas.openxmlformats.org/officeDocument/2006/relationships/slideMaster" Target="../slideMasters/slideMaster11.xml"/></Relationships>
</file>

<file path=ppt/slideLayouts/_rels/slideLayout1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3.jpeg"/><Relationship Id="rId1" Type="http://schemas.openxmlformats.org/officeDocument/2006/relationships/slideMaster" Target="../slideMasters/slideMaster11.xml"/></Relationships>
</file>

<file path=ppt/slideLayouts/_rels/slideLayout1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1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emf"/><Relationship Id="rId1" Type="http://schemas.openxmlformats.org/officeDocument/2006/relationships/slideMaster" Target="../slideMasters/slideMaster1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2.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emf"/><Relationship Id="rId1" Type="http://schemas.openxmlformats.org/officeDocument/2006/relationships/slideMaster" Target="../slideMasters/slideMaster12.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g"/><Relationship Id="rId1" Type="http://schemas.openxmlformats.org/officeDocument/2006/relationships/slideMaster" Target="../slideMasters/slideMaster12.xml"/></Relationships>
</file>

<file path=ppt/slideLayouts/_rels/slideLayout12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g"/><Relationship Id="rId1" Type="http://schemas.openxmlformats.org/officeDocument/2006/relationships/slideMaster" Target="../slideMasters/slideMaster1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jpg"/><Relationship Id="rId1" Type="http://schemas.openxmlformats.org/officeDocument/2006/relationships/slideMaster" Target="../slideMasters/slideMaster12.xml"/></Relationships>
</file>

<file path=ppt/slideLayouts/_rels/slideLayout12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g"/><Relationship Id="rId1" Type="http://schemas.openxmlformats.org/officeDocument/2006/relationships/slideMaster" Target="../slideMasters/slideMaster12.xml"/></Relationships>
</file>

<file path=ppt/slideLayouts/_rels/slideLayout12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g"/><Relationship Id="rId1" Type="http://schemas.openxmlformats.org/officeDocument/2006/relationships/slideMaster" Target="../slideMasters/slideMaster12.xml"/></Relationships>
</file>

<file path=ppt/slideLayouts/_rels/slideLayout12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12.xml"/></Relationships>
</file>

<file path=ppt/slideLayouts/_rels/slideLayout1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g"/><Relationship Id="rId1" Type="http://schemas.openxmlformats.org/officeDocument/2006/relationships/slideMaster" Target="../slideMasters/slideMaster1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4" Type="http://schemas.openxmlformats.org/officeDocument/2006/relationships/image" Target="../media/image5.png"/></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4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4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4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4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1.emf"/><Relationship Id="rId1" Type="http://schemas.openxmlformats.org/officeDocument/2006/relationships/slideMaster" Target="../slideMasters/slideMaster12.xml"/></Relationships>
</file>

<file path=ppt/slideLayouts/_rels/slideLayout1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2.emf"/><Relationship Id="rId1" Type="http://schemas.openxmlformats.org/officeDocument/2006/relationships/slideMaster" Target="../slideMasters/slideMaster12.xml"/></Relationships>
</file>

<file path=ppt/slideLayouts/_rels/slideLayout15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13.xml"/></Relationships>
</file>

<file path=ppt/slideLayouts/_rels/slideLayout15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emf"/><Relationship Id="rId1" Type="http://schemas.openxmlformats.org/officeDocument/2006/relationships/slideMaster" Target="../slideMasters/slideMaster13.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3.xml"/></Relationships>
</file>

<file path=ppt/slideLayouts/_rels/slideLayout157.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emf"/><Relationship Id="rId1" Type="http://schemas.openxmlformats.org/officeDocument/2006/relationships/slideMaster" Target="../slideMasters/slideMaster13.xml"/></Relationships>
</file>

<file path=ppt/slideLayouts/_rels/slideLayout15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g"/><Relationship Id="rId1" Type="http://schemas.openxmlformats.org/officeDocument/2006/relationships/slideMaster" Target="../slideMasters/slideMaster13.xml"/></Relationships>
</file>

<file path=ppt/slideLayouts/_rels/slideLayout15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g"/><Relationship Id="rId1" Type="http://schemas.openxmlformats.org/officeDocument/2006/relationships/slideMaster" Target="../slideMasters/slideMaster13.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5.png"/></Relationships>
</file>

<file path=ppt/slideLayouts/_rels/slideLayout16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jpg"/><Relationship Id="rId1" Type="http://schemas.openxmlformats.org/officeDocument/2006/relationships/slideMaster" Target="../slideMasters/slideMaster13.xml"/></Relationships>
</file>

<file path=ppt/slideLayouts/_rels/slideLayout16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g"/><Relationship Id="rId1" Type="http://schemas.openxmlformats.org/officeDocument/2006/relationships/slideMaster" Target="../slideMasters/slideMaster13.xml"/></Relationships>
</file>

<file path=ppt/slideLayouts/_rels/slideLayout16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g"/><Relationship Id="rId1" Type="http://schemas.openxmlformats.org/officeDocument/2006/relationships/slideMaster" Target="../slideMasters/slideMaster13.xml"/></Relationships>
</file>

<file path=ppt/slideLayouts/_rels/slideLayout16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13.xml"/></Relationships>
</file>

<file path=ppt/slideLayouts/_rels/slideLayout16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g"/><Relationship Id="rId1" Type="http://schemas.openxmlformats.org/officeDocument/2006/relationships/slideMaster" Target="../slideMasters/slideMaster13.xml"/></Relationships>
</file>

<file path=ppt/slideLayouts/_rels/slideLayout16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6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180.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8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8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8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1.emf"/><Relationship Id="rId1" Type="http://schemas.openxmlformats.org/officeDocument/2006/relationships/slideMaster" Target="../slideMasters/slideMaster13.xml"/></Relationships>
</file>

<file path=ppt/slideLayouts/_rels/slideLayout18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22.emf"/><Relationship Id="rId1" Type="http://schemas.openxmlformats.org/officeDocument/2006/relationships/slideMaster" Target="../slideMasters/slideMaster1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3.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tags" Target="../tags/tag19.xml"/><Relationship Id="rId4" Type="http://schemas.openxmlformats.org/officeDocument/2006/relationships/image" Target="../media/image5.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3.xml"/><Relationship Id="rId1" Type="http://schemas.openxmlformats.org/officeDocument/2006/relationships/tags" Target="../tags/tag2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3.xml"/><Relationship Id="rId1" Type="http://schemas.openxmlformats.org/officeDocument/2006/relationships/tags" Target="../tags/tag22.xml"/><Relationship Id="rId4" Type="http://schemas.openxmlformats.org/officeDocument/2006/relationships/image" Target="../media/image5.pn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7.xml"/><Relationship Id="rId1" Type="http://schemas.openxmlformats.org/officeDocument/2006/relationships/tags" Target="../tags/tag26.x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4.xml"/><Relationship Id="rId1" Type="http://schemas.openxmlformats.org/officeDocument/2006/relationships/tags" Target="../tags/tag28.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4.xml"/><Relationship Id="rId1" Type="http://schemas.openxmlformats.org/officeDocument/2006/relationships/tags" Target="../tags/tag29.xml"/><Relationship Id="rId4" Type="http://schemas.openxmlformats.org/officeDocument/2006/relationships/image" Target="../media/image5.png"/></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4.xml"/><Relationship Id="rId1" Type="http://schemas.openxmlformats.org/officeDocument/2006/relationships/tags" Target="../tags/tag33.xml"/><Relationship Id="rId4" Type="http://schemas.openxmlformats.org/officeDocument/2006/relationships/image" Target="../media/image5.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5.xml"/><Relationship Id="rId1" Type="http://schemas.openxmlformats.org/officeDocument/2006/relationships/tags" Target="../tags/tag3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5.xml"/><Relationship Id="rId1" Type="http://schemas.openxmlformats.org/officeDocument/2006/relationships/tags" Target="../tags/tag36.xml"/><Relationship Id="rId4" Type="http://schemas.openxmlformats.org/officeDocument/2006/relationships/image" Target="../media/image5.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image" Target="../media/image5.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6.xml"/><Relationship Id="rId1" Type="http://schemas.openxmlformats.org/officeDocument/2006/relationships/tags" Target="../tags/tag4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6.xml"/><Relationship Id="rId1" Type="http://schemas.openxmlformats.org/officeDocument/2006/relationships/tags" Target="../tags/tag43.xml"/><Relationship Id="rId4" Type="http://schemas.openxmlformats.org/officeDocument/2006/relationships/image" Target="../media/image5.png"/></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5.png"/></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48.xml"/><Relationship Id="rId1" Type="http://schemas.openxmlformats.org/officeDocument/2006/relationships/tags" Target="../tags/tag47.xml"/><Relationship Id="rId4" Type="http://schemas.openxmlformats.org/officeDocument/2006/relationships/image" Target="../media/image5.png"/></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7.xml"/><Relationship Id="rId1" Type="http://schemas.openxmlformats.org/officeDocument/2006/relationships/tags" Target="../tags/tag49.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7.xml"/><Relationship Id="rId1" Type="http://schemas.openxmlformats.org/officeDocument/2006/relationships/tags" Target="../tags/tag50.xml"/><Relationship Id="rId4" Type="http://schemas.openxmlformats.org/officeDocument/2006/relationships/image" Target="../media/image5.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55.xml"/><Relationship Id="rId1" Type="http://schemas.openxmlformats.org/officeDocument/2006/relationships/tags" Target="../tags/tag54.xml"/><Relationship Id="rId4" Type="http://schemas.openxmlformats.org/officeDocument/2006/relationships/image" Target="../media/image5.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8.xml"/><Relationship Id="rId1" Type="http://schemas.openxmlformats.org/officeDocument/2006/relationships/tags" Target="../tags/tag56.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8.xml"/><Relationship Id="rId1" Type="http://schemas.openxmlformats.org/officeDocument/2006/relationships/tags" Target="../tags/tag57.xml"/><Relationship Id="rId4" Type="http://schemas.openxmlformats.org/officeDocument/2006/relationships/image" Target="../media/image5.png"/></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9.xml"/><Relationship Id="rId2" Type="http://schemas.openxmlformats.org/officeDocument/2006/relationships/tags" Target="../tags/tag62.xml"/><Relationship Id="rId1" Type="http://schemas.openxmlformats.org/officeDocument/2006/relationships/tags" Target="../tags/tag61.xml"/><Relationship Id="rId4" Type="http://schemas.openxmlformats.org/officeDocument/2006/relationships/image" Target="../media/image5.pn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9.xml"/><Relationship Id="rId1" Type="http://schemas.openxmlformats.org/officeDocument/2006/relationships/tags" Target="../tags/tag6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9.xml"/><Relationship Id="rId1" Type="http://schemas.openxmlformats.org/officeDocument/2006/relationships/tags" Target="../tags/tag64.xml"/><Relationship Id="rId4" Type="http://schemas.openxmlformats.org/officeDocument/2006/relationships/image" Target="../media/image5.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69.xml"/><Relationship Id="rId1" Type="http://schemas.openxmlformats.org/officeDocument/2006/relationships/tags" Target="../tags/tag68.xml"/><Relationship Id="rId4" Type="http://schemas.openxmlformats.org/officeDocument/2006/relationships/image" Target="../media/image5.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0.xml"/><Relationship Id="rId1" Type="http://schemas.openxmlformats.org/officeDocument/2006/relationships/tags" Target="../tags/tag7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5.png"/></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0.xml"/><Relationship Id="rId1" Type="http://schemas.openxmlformats.org/officeDocument/2006/relationships/tags" Target="../tags/tag71.xml"/><Relationship Id="rId4" Type="http://schemas.openxmlformats.org/officeDocument/2006/relationships/image" Target="../media/image5.png"/></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emf"/><Relationship Id="rId1" Type="http://schemas.openxmlformats.org/officeDocument/2006/relationships/slideMaster" Target="../slideMasters/slideMaster1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0.emf"/><Relationship Id="rId1" Type="http://schemas.openxmlformats.org/officeDocument/2006/relationships/slideMaster" Target="../slideMasters/slideMaster11.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3.emf"/><Relationship Id="rId1" Type="http://schemas.openxmlformats.org/officeDocument/2006/relationships/slideMaster" Target="../slideMasters/slideMaster1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g"/><Relationship Id="rId1" Type="http://schemas.openxmlformats.org/officeDocument/2006/relationships/slideMaster" Target="../slideMasters/slideMaster11.xml"/></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5.jpg"/><Relationship Id="rId1" Type="http://schemas.openxmlformats.org/officeDocument/2006/relationships/slideMaster" Target="../slideMasters/slideMaster11.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6.jpg"/><Relationship Id="rId1" Type="http://schemas.openxmlformats.org/officeDocument/2006/relationships/slideMaster" Target="../slideMasters/slideMaster1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7.jpg"/><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8.jpg"/><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9.jpg"/><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20.jpg"/><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plhTitle"/>
          <p:cNvSpPr>
            <a:spLocks noGrp="1"/>
          </p:cNvSpPr>
          <p:nvPr>
            <p:ph type="title"/>
          </p:nvPr>
        </p:nvSpPr>
        <p:spPr>
          <a:xfrm>
            <a:off x="507998" y="337075"/>
            <a:ext cx="11176001" cy="470647"/>
          </a:xfrm>
        </p:spPr>
        <p:txBody>
          <a:bodyPr lIns="0" rIns="0"/>
          <a:lstStyle>
            <a:lvl1pPr>
              <a:defRPr sz="2400">
                <a:latin typeface="+mj-lt"/>
                <a:cs typeface="Calibri" pitchFamily="34" charset="0"/>
              </a:defRPr>
            </a:lvl1pPr>
          </a:lstStyle>
          <a:p>
            <a:r>
              <a:rPr lang="en-US" dirty="0"/>
              <a:t>Click to edit Master title style</a:t>
            </a:r>
          </a:p>
        </p:txBody>
      </p:sp>
      <p:sp>
        <p:nvSpPr>
          <p:cNvPr id="12" name="plhSubheader"/>
          <p:cNvSpPr>
            <a:spLocks noGrp="1"/>
          </p:cNvSpPr>
          <p:nvPr>
            <p:ph type="body" sz="quarter" idx="13" hasCustomPrompt="1"/>
          </p:nvPr>
        </p:nvSpPr>
        <p:spPr>
          <a:xfrm>
            <a:off x="508000" y="819150"/>
            <a:ext cx="11176001" cy="336176"/>
          </a:xfrm>
          <a:noFill/>
          <a:ln w="9525">
            <a:noFill/>
            <a:miter lim="800000"/>
            <a:headEnd/>
            <a:tailEnd/>
          </a:ln>
          <a:effectLst/>
        </p:spPr>
        <p:txBody>
          <a:bodyPr lIns="0" tIns="0" rIns="0" bIns="0"/>
          <a:lstStyle>
            <a:lvl1pPr marL="0" indent="0" algn="l" rtl="0" fontAlgn="base">
              <a:spcBef>
                <a:spcPct val="0"/>
              </a:spcBef>
              <a:spcAft>
                <a:spcPct val="0"/>
              </a:spcAft>
              <a:buNone/>
              <a:defRPr lang="en-US" sz="1400" b="1" kern="1200" dirty="0" smtClean="0">
                <a:solidFill>
                  <a:srgbClr val="7E8083"/>
                </a:solidFill>
                <a:latin typeface="+mj-lt"/>
                <a:ea typeface="+mn-ea"/>
                <a:cs typeface="Calibri" pitchFamily="34" charset="0"/>
              </a:defRPr>
            </a:lvl1pPr>
            <a:lvl2pPr algn="l" rtl="0" fontAlgn="base">
              <a:spcBef>
                <a:spcPct val="0"/>
              </a:spcBef>
              <a:spcAft>
                <a:spcPct val="0"/>
              </a:spcAft>
              <a:buNone/>
              <a:defRPr lang="en-US" sz="1400" b="1" kern="1200" dirty="0" smtClean="0">
                <a:solidFill>
                  <a:schemeClr val="tx1"/>
                </a:solidFill>
                <a:latin typeface="Arial" charset="0"/>
                <a:ea typeface="+mn-ea"/>
                <a:cs typeface="Arial" charset="0"/>
              </a:defRPr>
            </a:lvl2pPr>
            <a:lvl3pPr algn="l" rtl="0" fontAlgn="base">
              <a:spcBef>
                <a:spcPct val="0"/>
              </a:spcBef>
              <a:spcAft>
                <a:spcPct val="0"/>
              </a:spcAft>
              <a:buNone/>
              <a:defRPr lang="en-US" sz="1400" b="1" kern="1200" dirty="0" smtClean="0">
                <a:solidFill>
                  <a:schemeClr val="tx1"/>
                </a:solidFill>
                <a:latin typeface="Arial" charset="0"/>
                <a:ea typeface="+mn-ea"/>
                <a:cs typeface="Arial" charset="0"/>
              </a:defRPr>
            </a:lvl3pPr>
            <a:lvl4pPr algn="l" rtl="0" fontAlgn="base">
              <a:spcBef>
                <a:spcPct val="0"/>
              </a:spcBef>
              <a:spcAft>
                <a:spcPct val="0"/>
              </a:spcAft>
              <a:buNone/>
              <a:defRPr lang="en-US" sz="1400" b="1" kern="1200" dirty="0" smtClean="0">
                <a:solidFill>
                  <a:schemeClr val="tx1"/>
                </a:solidFill>
                <a:latin typeface="Arial" charset="0"/>
                <a:ea typeface="+mn-ea"/>
                <a:cs typeface="Arial" charset="0"/>
              </a:defRPr>
            </a:lvl4pPr>
            <a:lvl5pPr algn="l" rtl="0" fontAlgn="base">
              <a:spcBef>
                <a:spcPct val="0"/>
              </a:spcBef>
              <a:spcAft>
                <a:spcPct val="0"/>
              </a:spcAft>
              <a:buNone/>
              <a:defRPr lang="en-US" sz="1400" b="1" kern="1200" dirty="0">
                <a:solidFill>
                  <a:schemeClr val="tx1"/>
                </a:solidFill>
                <a:latin typeface="Arial" charset="0"/>
                <a:ea typeface="+mn-ea"/>
                <a:cs typeface="Arial" charset="0"/>
              </a:defRPr>
            </a:lvl5pPr>
          </a:lstStyle>
          <a:p>
            <a:pPr lvl="0"/>
            <a:r>
              <a:rPr lang="en-US" dirty="0"/>
              <a:t>Sub-Header: Enter your optional sub-heading here </a:t>
            </a:r>
          </a:p>
          <a:p>
            <a:pPr lvl="0"/>
            <a:endParaRPr lang="en-US" dirty="0"/>
          </a:p>
        </p:txBody>
      </p:sp>
      <p:sp>
        <p:nvSpPr>
          <p:cNvPr id="7" name="plhBody"/>
          <p:cNvSpPr>
            <a:spLocks noGrp="1"/>
          </p:cNvSpPr>
          <p:nvPr>
            <p:ph type="body" sz="quarter" idx="16"/>
          </p:nvPr>
        </p:nvSpPr>
        <p:spPr>
          <a:xfrm>
            <a:off x="508000" y="1333949"/>
            <a:ext cx="11176001" cy="4582758"/>
          </a:xfrm>
        </p:spPr>
        <p:txBody>
          <a:bodyPr/>
          <a:lstStyle>
            <a:lvl1pPr>
              <a:buClr>
                <a:schemeClr val="bg2"/>
              </a:buClr>
              <a:defRPr sz="1300">
                <a:latin typeface="+mn-lt"/>
                <a:cs typeface="Calibri" pitchFamily="34" charset="0"/>
              </a:defRPr>
            </a:lvl1pPr>
            <a:lvl2pPr>
              <a:buClr>
                <a:schemeClr val="bg2"/>
              </a:buClr>
              <a:defRPr sz="1300">
                <a:latin typeface="+mn-lt"/>
                <a:cs typeface="Calibri" pitchFamily="34" charset="0"/>
              </a:defRPr>
            </a:lvl2pPr>
            <a:lvl3pPr>
              <a:buClr>
                <a:schemeClr val="bg2"/>
              </a:buClr>
              <a:defRPr sz="1300">
                <a:latin typeface="+mn-lt"/>
                <a:cs typeface="Calibri" pitchFamily="34" charset="0"/>
              </a:defRPr>
            </a:lvl3pPr>
            <a:lvl4pPr>
              <a:buClr>
                <a:schemeClr val="bg2"/>
              </a:buClr>
              <a:defRPr sz="1300">
                <a:latin typeface="+mn-lt"/>
                <a:cs typeface="Calibri" pitchFamily="34" charset="0"/>
              </a:defRPr>
            </a:lvl4pPr>
            <a:lvl5pPr>
              <a:buClr>
                <a:schemeClr val="bg2"/>
              </a:buClr>
              <a:defRPr sz="1300">
                <a:latin typeface="+mn-lt"/>
                <a:cs typeface="Calibri" pitchFamily="34" charset="0"/>
              </a:defRPr>
            </a:lvl5pPr>
            <a:lvl6pPr>
              <a:defRPr/>
            </a:lvl6pPr>
            <a:lvl7pPr>
              <a:defRPr/>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7" name="Slide Number Placeholder 16"/>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7BC01EA4-3BC1-4101-9AC2-FD6B853D97D7}" type="slidenum">
              <a:rPr/>
              <a:pPr/>
              <a:t>‹#›</a:t>
            </a:fld>
            <a:endParaRPr/>
          </a:p>
        </p:txBody>
      </p:sp>
    </p:spTree>
    <p:extLst>
      <p:ext uri="{BB962C8B-B14F-4D97-AF65-F5344CB8AC3E}">
        <p14:creationId xmlns:p14="http://schemas.microsoft.com/office/powerpoint/2010/main" val="3876852506"/>
      </p:ext>
    </p:extLst>
  </p:cSld>
  <p:clrMapOvr>
    <a:masterClrMapping/>
  </p:clrMapOvr>
  <p:hf hdr="0" ftr="0" dt="0"/>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Tab Slide">
    <p:spTree>
      <p:nvGrpSpPr>
        <p:cNvPr id="1" name=""/>
        <p:cNvGrpSpPr/>
        <p:nvPr/>
      </p:nvGrpSpPr>
      <p:grpSpPr>
        <a:xfrm>
          <a:off x="0" y="0"/>
          <a:ext cx="0" cy="0"/>
          <a:chOff x="0" y="0"/>
          <a:chExt cx="0" cy="0"/>
        </a:xfrm>
      </p:grpSpPr>
      <p:pic>
        <p:nvPicPr>
          <p:cNvPr id="7"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40000" contrast="-30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Tree>
    <p:extLst>
      <p:ext uri="{BB962C8B-B14F-4D97-AF65-F5344CB8AC3E}">
        <p14:creationId xmlns:p14="http://schemas.microsoft.com/office/powerpoint/2010/main" val="4099354432"/>
      </p:ext>
    </p:extLst>
  </p:cSld>
  <p:clrMapOvr>
    <a:masterClrMapping/>
  </p:clrMapOvr>
  <p:hf hdr="0" ftr="0" dt="0"/>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2 Text + 2 Images + Footnote">
    <p:spTree>
      <p:nvGrpSpPr>
        <p:cNvPr id="1" name=""/>
        <p:cNvGrpSpPr/>
        <p:nvPr/>
      </p:nvGrpSpPr>
      <p:grpSpPr>
        <a:xfrm>
          <a:off x="0" y="0"/>
          <a:ext cx="0" cy="0"/>
          <a:chOff x="0" y="0"/>
          <a:chExt cx="0" cy="0"/>
        </a:xfrm>
      </p:grpSpPr>
      <p:pic>
        <p:nvPicPr>
          <p:cNvPr id="22" name="Imagen 21"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4" name="CuadroTexto 3"/>
          <p:cNvSpPr txBox="1"/>
          <p:nvPr userDrawn="1"/>
        </p:nvSpPr>
        <p:spPr>
          <a:xfrm>
            <a:off x="12099406" y="6960884"/>
            <a:ext cx="457140" cy="457200"/>
          </a:xfrm>
          <a:prstGeom prst="rect">
            <a:avLst/>
          </a:prstGeom>
          <a:noFill/>
          <a:ln>
            <a:noFill/>
          </a:ln>
        </p:spPr>
        <p:txBody>
          <a:bodyPr wrap="none" lIns="45684" tIns="0" rIns="45684" bIns="0" rtlCol="0" anchor="t" anchorCtr="0">
            <a:noAutofit/>
          </a:bodyPr>
          <a:lstStyle/>
          <a:p>
            <a:pPr marL="0">
              <a:lnSpc>
                <a:spcPts val="1749"/>
              </a:lnSpc>
            </a:pPr>
            <a:endParaRPr lang="es-ES" sz="2000" b="1" dirty="0" err="1">
              <a:latin typeface="+mj-lt"/>
              <a:cs typeface="Etelka Text Pro"/>
            </a:endParaRPr>
          </a:p>
        </p:txBody>
      </p:sp>
      <p:sp>
        <p:nvSpPr>
          <p:cNvPr id="27"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14" name="Conector recto 13"/>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2" name="Marcador de texto 6"/>
          <p:cNvSpPr>
            <a:spLocks noGrp="1"/>
          </p:cNvSpPr>
          <p:nvPr>
            <p:ph type="body" sz="quarter" idx="27" hasCustomPrompt="1"/>
          </p:nvPr>
        </p:nvSpPr>
        <p:spPr>
          <a:xfrm>
            <a:off x="4908023" y="1448780"/>
            <a:ext cx="4211920" cy="1224137"/>
          </a:xfrm>
          <a:prstGeom prst="rect">
            <a:avLst/>
          </a:prstGeom>
        </p:spPr>
        <p:txBody>
          <a:bodyPr vert="horz" lIns="0" tIns="0" rIns="0" bIns="17132" anchor="t" anchorCtr="0"/>
          <a:lstStyle>
            <a:lvl1pPr marL="0" marR="0" indent="0" algn="l" defTabSz="456796" rtl="0" eaLnBrk="0" fontAlgn="base" latinLnBrk="0" hangingPunct="0">
              <a:lnSpc>
                <a:spcPct val="100000"/>
              </a:lnSpc>
              <a:spcBef>
                <a:spcPts val="984"/>
              </a:spcBef>
              <a:spcAft>
                <a:spcPts val="600"/>
              </a:spcAft>
              <a:buClrTx/>
              <a:buSzTx/>
              <a:buFont typeface="Arial"/>
              <a:buNone/>
              <a:tabLst/>
              <a:defRPr sz="1800" b="0" i="0" spc="0" baseline="0">
                <a:solidFill>
                  <a:schemeClr val="tx1"/>
                </a:solidFill>
                <a:latin typeface="+mn-lt"/>
                <a:cs typeface="Noto Sans Regular"/>
              </a:defRPr>
            </a:lvl1pPr>
            <a:lvl2pPr marL="475828" indent="0">
              <a:buNone/>
              <a:defRPr/>
            </a:lvl2pPr>
          </a:lstStyle>
          <a:p>
            <a:pPr lvl="0"/>
            <a:r>
              <a:rPr lang="en-US" noProof="0" dirty="0"/>
              <a:t>Body Text (Noto Sans 36)</a:t>
            </a:r>
          </a:p>
        </p:txBody>
      </p:sp>
      <p:sp>
        <p:nvSpPr>
          <p:cNvPr id="13" name="Marcador de posición de imagen 2"/>
          <p:cNvSpPr>
            <a:spLocks noGrp="1"/>
          </p:cNvSpPr>
          <p:nvPr>
            <p:ph type="pic" sz="quarter" idx="28" hasCustomPrompt="1"/>
          </p:nvPr>
        </p:nvSpPr>
        <p:spPr>
          <a:xfrm>
            <a:off x="336111" y="2816932"/>
            <a:ext cx="4211919" cy="3420380"/>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an image</a:t>
            </a:r>
          </a:p>
          <a:p>
            <a:endParaRPr lang="en-US" noProof="0" dirty="0"/>
          </a:p>
        </p:txBody>
      </p:sp>
      <p:sp>
        <p:nvSpPr>
          <p:cNvPr id="15" name="Marcador de posición de imagen 2"/>
          <p:cNvSpPr>
            <a:spLocks noGrp="1"/>
          </p:cNvSpPr>
          <p:nvPr>
            <p:ph type="pic" sz="quarter" idx="29" hasCustomPrompt="1"/>
          </p:nvPr>
        </p:nvSpPr>
        <p:spPr>
          <a:xfrm>
            <a:off x="4908019" y="2816932"/>
            <a:ext cx="4211712" cy="3420380"/>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an image</a:t>
            </a:r>
          </a:p>
          <a:p>
            <a:endParaRPr lang="en-US" noProof="0" dirty="0"/>
          </a:p>
        </p:txBody>
      </p:sp>
      <p:sp>
        <p:nvSpPr>
          <p:cNvPr id="16" name="Marcador de texto 6"/>
          <p:cNvSpPr>
            <a:spLocks noGrp="1"/>
          </p:cNvSpPr>
          <p:nvPr>
            <p:ph type="body" sz="quarter" idx="31" hasCustomPrompt="1"/>
          </p:nvPr>
        </p:nvSpPr>
        <p:spPr>
          <a:xfrm>
            <a:off x="336111" y="1448780"/>
            <a:ext cx="4211919" cy="1224137"/>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800" b="0" i="0" spc="0" baseline="0">
                <a:solidFill>
                  <a:schemeClr val="tx1"/>
                </a:solidFill>
                <a:latin typeface="+mn-lt"/>
                <a:cs typeface="Noto Sans Regular"/>
              </a:defRPr>
            </a:lvl1pPr>
            <a:lvl2pPr marL="475828" indent="0">
              <a:buNone/>
              <a:defRPr/>
            </a:lvl2pPr>
          </a:lstStyle>
          <a:p>
            <a:pPr lvl="0"/>
            <a:r>
              <a:rPr lang="en-US" noProof="0" dirty="0"/>
              <a:t>Body Text (Noto Sans 36)</a:t>
            </a:r>
          </a:p>
        </p:txBody>
      </p:sp>
      <p:sp>
        <p:nvSpPr>
          <p:cNvPr id="19" name="Marcador de texto 6"/>
          <p:cNvSpPr>
            <a:spLocks noGrp="1"/>
          </p:cNvSpPr>
          <p:nvPr>
            <p:ph type="body" sz="quarter" idx="30" hasCustomPrompt="1"/>
          </p:nvPr>
        </p:nvSpPr>
        <p:spPr>
          <a:xfrm>
            <a:off x="9623932" y="5877272"/>
            <a:ext cx="2231957" cy="360424"/>
          </a:xfrm>
          <a:prstGeom prst="rect">
            <a:avLst/>
          </a:prstGeom>
        </p:spPr>
        <p:txBody>
          <a:bodyPr vert="horz" lIns="34267" tIns="17132" rIns="34267" bIns="17132"/>
          <a:lstStyle>
            <a:lvl1pPr marL="0" indent="0">
              <a:lnSpc>
                <a:spcPct val="110000"/>
              </a:lnSpc>
              <a:buNone/>
              <a:defRPr sz="950" b="0" i="0" spc="0" baseline="0">
                <a:solidFill>
                  <a:schemeClr val="tx1"/>
                </a:solidFill>
                <a:latin typeface="+mn-lt"/>
                <a:cs typeface="Noto Sans Regular"/>
              </a:defRPr>
            </a:lvl1pPr>
          </a:lstStyle>
          <a:p>
            <a:pPr lvl="0"/>
            <a:r>
              <a:rPr lang="en-US" noProof="0" dirty="0"/>
              <a:t>Click here to insert complementary info (footnotes, captions, legends, </a:t>
            </a:r>
            <a:r>
              <a:rPr lang="en-US" noProof="0" dirty="0" err="1"/>
              <a:t>etc</a:t>
            </a:r>
            <a:r>
              <a:rPr lang="en-US" noProof="0" dirty="0"/>
              <a:t>)</a:t>
            </a:r>
          </a:p>
        </p:txBody>
      </p:sp>
      <p:sp>
        <p:nvSpPr>
          <p:cNvPr id="20"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57619406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2 Text + 2 Images">
    <p:spTree>
      <p:nvGrpSpPr>
        <p:cNvPr id="1" name=""/>
        <p:cNvGrpSpPr/>
        <p:nvPr/>
      </p:nvGrpSpPr>
      <p:grpSpPr>
        <a:xfrm>
          <a:off x="0" y="0"/>
          <a:ext cx="0" cy="0"/>
          <a:chOff x="0" y="0"/>
          <a:chExt cx="0" cy="0"/>
        </a:xfrm>
      </p:grpSpPr>
      <p:pic>
        <p:nvPicPr>
          <p:cNvPr id="22" name="Imagen 21"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4" name="CuadroTexto 3"/>
          <p:cNvSpPr txBox="1"/>
          <p:nvPr userDrawn="1"/>
        </p:nvSpPr>
        <p:spPr>
          <a:xfrm>
            <a:off x="12099406" y="6960884"/>
            <a:ext cx="457140" cy="457200"/>
          </a:xfrm>
          <a:prstGeom prst="rect">
            <a:avLst/>
          </a:prstGeom>
          <a:noFill/>
          <a:ln>
            <a:noFill/>
          </a:ln>
        </p:spPr>
        <p:txBody>
          <a:bodyPr wrap="none" lIns="45684" tIns="0" rIns="45684" bIns="0" rtlCol="0" anchor="t" anchorCtr="0">
            <a:noAutofit/>
          </a:bodyPr>
          <a:lstStyle/>
          <a:p>
            <a:pPr marL="0">
              <a:lnSpc>
                <a:spcPts val="1749"/>
              </a:lnSpc>
            </a:pPr>
            <a:endParaRPr lang="es-ES" sz="2000" b="1" dirty="0" err="1">
              <a:latin typeface="+mj-lt"/>
              <a:cs typeface="Etelka Text Pro"/>
            </a:endParaRPr>
          </a:p>
        </p:txBody>
      </p:sp>
      <p:sp>
        <p:nvSpPr>
          <p:cNvPr id="27"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15" name="Marcador de texto 6"/>
          <p:cNvSpPr>
            <a:spLocks noGrp="1"/>
          </p:cNvSpPr>
          <p:nvPr>
            <p:ph type="body" sz="quarter" idx="27" hasCustomPrompt="1"/>
          </p:nvPr>
        </p:nvSpPr>
        <p:spPr>
          <a:xfrm>
            <a:off x="6275934" y="1448780"/>
            <a:ext cx="5579957" cy="648072"/>
          </a:xfrm>
          <a:prstGeom prst="rect">
            <a:avLst/>
          </a:prstGeom>
        </p:spPr>
        <p:txBody>
          <a:bodyPr vert="horz" lIns="0" tIns="0" rIns="0" bIns="17132" anchor="t" anchorCtr="0"/>
          <a:lstStyle>
            <a:lvl1pPr marL="0" marR="0" indent="0" algn="l" defTabSz="456796" rtl="0" eaLnBrk="0" fontAlgn="base" latinLnBrk="0" hangingPunct="0">
              <a:lnSpc>
                <a:spcPct val="100000"/>
              </a:lnSpc>
              <a:spcBef>
                <a:spcPts val="984"/>
              </a:spcBef>
              <a:spcAft>
                <a:spcPts val="600"/>
              </a:spcAft>
              <a:buClrTx/>
              <a:buSzTx/>
              <a:buFont typeface="Arial"/>
              <a:buNone/>
              <a:tabLst/>
              <a:defRPr sz="1800" b="0" i="0" spc="0" baseline="0">
                <a:solidFill>
                  <a:schemeClr val="accent1"/>
                </a:solidFill>
                <a:latin typeface="+mn-lt"/>
                <a:cs typeface="Noto Sans Regular"/>
              </a:defRPr>
            </a:lvl1pPr>
            <a:lvl2pPr marL="475828" indent="0">
              <a:buNone/>
              <a:defRPr/>
            </a:lvl2pPr>
          </a:lstStyle>
          <a:p>
            <a:pPr lvl="0"/>
            <a:r>
              <a:rPr lang="en-US" noProof="0" dirty="0"/>
              <a:t>Subhead (Noto Sans 36)</a:t>
            </a:r>
          </a:p>
        </p:txBody>
      </p:sp>
      <p:sp>
        <p:nvSpPr>
          <p:cNvPr id="16" name="Marcador de posición de imagen 2"/>
          <p:cNvSpPr>
            <a:spLocks noGrp="1"/>
          </p:cNvSpPr>
          <p:nvPr>
            <p:ph type="pic" sz="quarter" idx="28" hasCustomPrompt="1"/>
          </p:nvPr>
        </p:nvSpPr>
        <p:spPr>
          <a:xfrm>
            <a:off x="336109" y="2240868"/>
            <a:ext cx="5579893" cy="3996445"/>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baseline="0">
                <a:solidFill>
                  <a:schemeClr val="tx1"/>
                </a:solidFill>
                <a:latin typeface="+mn-lt"/>
              </a:defRPr>
            </a:lvl1pPr>
          </a:lstStyle>
          <a:p>
            <a:r>
              <a:rPr lang="en-US" noProof="0" dirty="0"/>
              <a:t>Click here to insert an image</a:t>
            </a:r>
          </a:p>
          <a:p>
            <a:endParaRPr lang="en-US" noProof="0" dirty="0"/>
          </a:p>
        </p:txBody>
      </p:sp>
      <p:sp>
        <p:nvSpPr>
          <p:cNvPr id="17" name="Marcador de posición de imagen 2"/>
          <p:cNvSpPr>
            <a:spLocks noGrp="1"/>
          </p:cNvSpPr>
          <p:nvPr>
            <p:ph type="pic" sz="quarter" idx="29" hasCustomPrompt="1"/>
          </p:nvPr>
        </p:nvSpPr>
        <p:spPr>
          <a:xfrm>
            <a:off x="6275998" y="2240868"/>
            <a:ext cx="5579682" cy="3996445"/>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an image</a:t>
            </a:r>
          </a:p>
          <a:p>
            <a:endParaRPr lang="en-US" noProof="0" dirty="0"/>
          </a:p>
        </p:txBody>
      </p:sp>
      <p:sp>
        <p:nvSpPr>
          <p:cNvPr id="19" name="Marcador de texto 6"/>
          <p:cNvSpPr>
            <a:spLocks noGrp="1"/>
          </p:cNvSpPr>
          <p:nvPr>
            <p:ph type="body" sz="quarter" idx="31" hasCustomPrompt="1"/>
          </p:nvPr>
        </p:nvSpPr>
        <p:spPr>
          <a:xfrm>
            <a:off x="336109" y="1448780"/>
            <a:ext cx="5579893" cy="64807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800" b="0" i="0" spc="0" baseline="0">
                <a:solidFill>
                  <a:schemeClr val="accent1"/>
                </a:solidFill>
                <a:latin typeface="+mn-lt"/>
                <a:cs typeface="Noto Sans Regular"/>
              </a:defRPr>
            </a:lvl1pPr>
            <a:lvl2pPr marL="475828" indent="0">
              <a:buNone/>
              <a:defRPr/>
            </a:lvl2pPr>
          </a:lstStyle>
          <a:p>
            <a:pPr lvl="0"/>
            <a:r>
              <a:rPr lang="en-US" noProof="0" dirty="0"/>
              <a:t>Subhead (Noto Sans 36)</a:t>
            </a:r>
          </a:p>
        </p:txBody>
      </p:sp>
      <p:cxnSp>
        <p:nvCxnSpPr>
          <p:cNvPr id="20" name="Conector recto 19"/>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1"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endParaRPr lang="es-ES_tradnl" dirty="0"/>
          </a:p>
        </p:txBody>
      </p:sp>
    </p:spTree>
    <p:extLst>
      <p:ext uri="{BB962C8B-B14F-4D97-AF65-F5344CB8AC3E}">
        <p14:creationId xmlns:p14="http://schemas.microsoft.com/office/powerpoint/2010/main" val="95489235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2 Text Boxes + Subheads">
    <p:spTree>
      <p:nvGrpSpPr>
        <p:cNvPr id="1" name=""/>
        <p:cNvGrpSpPr/>
        <p:nvPr/>
      </p:nvGrpSpPr>
      <p:grpSpPr>
        <a:xfrm>
          <a:off x="0" y="0"/>
          <a:ext cx="0" cy="0"/>
          <a:chOff x="0" y="0"/>
          <a:chExt cx="0" cy="0"/>
        </a:xfrm>
      </p:grpSpPr>
      <p:pic>
        <p:nvPicPr>
          <p:cNvPr id="22" name="Imagen 21"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4" name="CuadroTexto 3"/>
          <p:cNvSpPr txBox="1"/>
          <p:nvPr userDrawn="1"/>
        </p:nvSpPr>
        <p:spPr>
          <a:xfrm>
            <a:off x="12099406" y="6960884"/>
            <a:ext cx="457140" cy="457200"/>
          </a:xfrm>
          <a:prstGeom prst="rect">
            <a:avLst/>
          </a:prstGeom>
          <a:noFill/>
          <a:ln>
            <a:noFill/>
          </a:ln>
        </p:spPr>
        <p:txBody>
          <a:bodyPr wrap="none" lIns="45684" tIns="0" rIns="45684" bIns="0" rtlCol="0" anchor="t" anchorCtr="0">
            <a:noAutofit/>
          </a:bodyPr>
          <a:lstStyle/>
          <a:p>
            <a:pPr marL="0">
              <a:lnSpc>
                <a:spcPts val="1749"/>
              </a:lnSpc>
            </a:pPr>
            <a:endParaRPr lang="es-ES" sz="2000" b="1" dirty="0" err="1">
              <a:latin typeface="+mn-lt"/>
              <a:cs typeface="Etelka Text Pro"/>
            </a:endParaRPr>
          </a:p>
        </p:txBody>
      </p:sp>
      <p:sp>
        <p:nvSpPr>
          <p:cNvPr id="27"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14" name="Conector recto 13"/>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1" name="Marcador de texto 6"/>
          <p:cNvSpPr>
            <a:spLocks noGrp="1"/>
          </p:cNvSpPr>
          <p:nvPr>
            <p:ph type="body" sz="quarter" idx="27" hasCustomPrompt="1"/>
          </p:nvPr>
        </p:nvSpPr>
        <p:spPr>
          <a:xfrm>
            <a:off x="6275934" y="1448780"/>
            <a:ext cx="5579957" cy="648072"/>
          </a:xfrm>
          <a:prstGeom prst="rect">
            <a:avLst/>
          </a:prstGeom>
        </p:spPr>
        <p:txBody>
          <a:bodyPr vert="horz" lIns="0" tIns="0" rIns="0" bIns="17132" anchor="t" anchorCtr="0"/>
          <a:lstStyle>
            <a:lvl1pPr marL="0" marR="0" indent="0" algn="l" defTabSz="456796" rtl="0" eaLnBrk="0" fontAlgn="base" latinLnBrk="0" hangingPunct="0">
              <a:lnSpc>
                <a:spcPct val="100000"/>
              </a:lnSpc>
              <a:spcBef>
                <a:spcPts val="984"/>
              </a:spcBef>
              <a:spcAft>
                <a:spcPts val="600"/>
              </a:spcAft>
              <a:buClrTx/>
              <a:buSzTx/>
              <a:buFont typeface="Arial"/>
              <a:buNone/>
              <a:tabLst/>
              <a:defRPr sz="1800" b="0" i="0" spc="0" baseline="0">
                <a:solidFill>
                  <a:schemeClr val="accent1"/>
                </a:solidFill>
                <a:latin typeface="+mn-lt"/>
                <a:cs typeface="Noto Sans Regular"/>
              </a:defRPr>
            </a:lvl1pPr>
            <a:lvl2pPr marL="475828" indent="0">
              <a:buNone/>
              <a:defRPr/>
            </a:lvl2pPr>
          </a:lstStyle>
          <a:p>
            <a:pPr lvl="0"/>
            <a:r>
              <a:rPr lang="en-US" noProof="0" dirty="0"/>
              <a:t>Subhead (Noto Sans 36)</a:t>
            </a:r>
          </a:p>
        </p:txBody>
      </p:sp>
      <p:sp>
        <p:nvSpPr>
          <p:cNvPr id="15" name="Marcador de texto 6"/>
          <p:cNvSpPr>
            <a:spLocks noGrp="1"/>
          </p:cNvSpPr>
          <p:nvPr>
            <p:ph type="body" sz="quarter" idx="31" hasCustomPrompt="1"/>
          </p:nvPr>
        </p:nvSpPr>
        <p:spPr>
          <a:xfrm>
            <a:off x="336109" y="1448780"/>
            <a:ext cx="5579893" cy="64807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800" b="0" i="0" spc="0" baseline="0">
                <a:solidFill>
                  <a:schemeClr val="accent1"/>
                </a:solidFill>
                <a:latin typeface="+mn-lt"/>
                <a:cs typeface="Noto Sans Regular"/>
              </a:defRPr>
            </a:lvl1pPr>
            <a:lvl2pPr marL="475828" indent="0">
              <a:buNone/>
              <a:defRPr/>
            </a:lvl2pPr>
          </a:lstStyle>
          <a:p>
            <a:pPr lvl="0"/>
            <a:r>
              <a:rPr lang="en-US" noProof="0" dirty="0"/>
              <a:t>Subhead (Noto Sans 36)</a:t>
            </a:r>
          </a:p>
        </p:txBody>
      </p:sp>
      <p:sp>
        <p:nvSpPr>
          <p:cNvPr id="17"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13" name="Marcador de texto 2">
            <a:extLst>
              <a:ext uri="{FF2B5EF4-FFF2-40B4-BE49-F238E27FC236}">
                <a16:creationId xmlns:a16="http://schemas.microsoft.com/office/drawing/2014/main" id="{D6EBA06A-29F2-4ED0-8DE8-64F709E72A11}"/>
              </a:ext>
            </a:extLst>
          </p:cNvPr>
          <p:cNvSpPr>
            <a:spLocks noGrp="1"/>
          </p:cNvSpPr>
          <p:nvPr>
            <p:ph type="body" sz="quarter" idx="37" hasCustomPrompt="1"/>
          </p:nvPr>
        </p:nvSpPr>
        <p:spPr>
          <a:xfrm>
            <a:off x="336111" y="2241385"/>
            <a:ext cx="5581685" cy="3995928"/>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baseline="0">
                <a:solidFill>
                  <a:schemeClr val="tx1"/>
                </a:solidFill>
                <a:latin typeface="+mn-lt"/>
                <a:cs typeface="Noto Sans Regular"/>
              </a:defRPr>
            </a:lvl1pPr>
            <a:lvl2pPr>
              <a:buClr>
                <a:schemeClr val="tx2"/>
              </a:buClr>
              <a:defRPr sz="14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4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32)</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
        <p:nvSpPr>
          <p:cNvPr id="19" name="Marcador de texto 2">
            <a:extLst>
              <a:ext uri="{FF2B5EF4-FFF2-40B4-BE49-F238E27FC236}">
                <a16:creationId xmlns:a16="http://schemas.microsoft.com/office/drawing/2014/main" id="{9E8D547C-F99F-420F-B52D-05207053B0AE}"/>
              </a:ext>
            </a:extLst>
          </p:cNvPr>
          <p:cNvSpPr>
            <a:spLocks noGrp="1"/>
          </p:cNvSpPr>
          <p:nvPr>
            <p:ph type="body" sz="quarter" idx="38" hasCustomPrompt="1"/>
          </p:nvPr>
        </p:nvSpPr>
        <p:spPr>
          <a:xfrm>
            <a:off x="6274206" y="2241385"/>
            <a:ext cx="5581685" cy="3995928"/>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4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4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32) </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261926991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1 Text Box + Image">
    <p:spTree>
      <p:nvGrpSpPr>
        <p:cNvPr id="1" name=""/>
        <p:cNvGrpSpPr/>
        <p:nvPr/>
      </p:nvGrpSpPr>
      <p:grpSpPr>
        <a:xfrm>
          <a:off x="0" y="0"/>
          <a:ext cx="0" cy="0"/>
          <a:chOff x="0" y="0"/>
          <a:chExt cx="0" cy="0"/>
        </a:xfrm>
      </p:grpSpPr>
      <p:pic>
        <p:nvPicPr>
          <p:cNvPr id="11" name="Imagen 10"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6"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17" name="Conector recto 16"/>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9" name="Marcador de posición de imagen 2"/>
          <p:cNvSpPr>
            <a:spLocks noGrp="1"/>
          </p:cNvSpPr>
          <p:nvPr>
            <p:ph type="pic" sz="quarter" idx="29" hasCustomPrompt="1"/>
          </p:nvPr>
        </p:nvSpPr>
        <p:spPr>
          <a:xfrm>
            <a:off x="6275998" y="1448780"/>
            <a:ext cx="5579682" cy="4788533"/>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14"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8" name="Marcador de texto 2">
            <a:extLst>
              <a:ext uri="{FF2B5EF4-FFF2-40B4-BE49-F238E27FC236}">
                <a16:creationId xmlns:a16="http://schemas.microsoft.com/office/drawing/2014/main" id="{ADE1A4CD-24CD-4A54-91D9-E9F89494DA3E}"/>
              </a:ext>
            </a:extLst>
          </p:cNvPr>
          <p:cNvSpPr>
            <a:spLocks noGrp="1"/>
          </p:cNvSpPr>
          <p:nvPr>
            <p:ph type="body" sz="quarter" idx="37" hasCustomPrompt="1"/>
          </p:nvPr>
        </p:nvSpPr>
        <p:spPr>
          <a:xfrm>
            <a:off x="336111" y="1448780"/>
            <a:ext cx="5581685" cy="4786884"/>
          </a:xfrm>
          <a:prstGeom prst="rect">
            <a:avLst/>
          </a:prstGeom>
        </p:spPr>
        <p:txBody>
          <a:bodyPr lIns="34267" tIns="17132" rIns="34267" bIns="17132"/>
          <a:lstStyle>
            <a:lvl1pPr marL="171297" indent="-171297">
              <a:buClr>
                <a:schemeClr val="tx1"/>
              </a:buClr>
              <a:buFont typeface="Arial" panose="020B0604020202020204" pitchFamily="34" charset="0"/>
              <a:buChar char="•"/>
              <a:defRPr sz="1800" baseline="0">
                <a:solidFill>
                  <a:schemeClr val="tx1"/>
                </a:solidFill>
                <a:latin typeface="+mn-lt"/>
                <a:cs typeface="Noto Sans Regular"/>
              </a:defRPr>
            </a:lvl1pPr>
            <a:lvl2pPr>
              <a:buClr>
                <a:schemeClr val="tx2"/>
              </a:buClr>
              <a:defRPr sz="18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8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36)</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394041975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4 Images + 4 Text ">
    <p:spTree>
      <p:nvGrpSpPr>
        <p:cNvPr id="1" name=""/>
        <p:cNvGrpSpPr/>
        <p:nvPr/>
      </p:nvGrpSpPr>
      <p:grpSpPr>
        <a:xfrm>
          <a:off x="0" y="0"/>
          <a:ext cx="0" cy="0"/>
          <a:chOff x="0" y="0"/>
          <a:chExt cx="0" cy="0"/>
        </a:xfrm>
      </p:grpSpPr>
      <p:pic>
        <p:nvPicPr>
          <p:cNvPr id="23" name="Imagen 22"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25"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2"/>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24" name="Conector recto 23"/>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7" name="Marcador de texto 6"/>
          <p:cNvSpPr>
            <a:spLocks noGrp="1"/>
          </p:cNvSpPr>
          <p:nvPr>
            <p:ph type="body" sz="quarter" idx="25" hasCustomPrompt="1"/>
          </p:nvPr>
        </p:nvSpPr>
        <p:spPr>
          <a:xfrm>
            <a:off x="336111" y="3861048"/>
            <a:ext cx="2735948" cy="288032"/>
          </a:xfrm>
          <a:prstGeom prst="rect">
            <a:avLst/>
          </a:prstGeom>
        </p:spPr>
        <p:txBody>
          <a:bodyPr vert="horz" lIns="34267" tIns="17132" rIns="34267" bIns="17132"/>
          <a:lstStyle>
            <a:lvl1pPr marL="0" indent="0">
              <a:lnSpc>
                <a:spcPct val="110000"/>
              </a:lnSpc>
              <a:buNone/>
              <a:defRPr sz="1600" b="0" i="0" spc="0" baseline="0">
                <a:solidFill>
                  <a:schemeClr val="tx2"/>
                </a:solidFill>
                <a:latin typeface="+mn-lt"/>
                <a:cs typeface="Noto Sans Regular"/>
              </a:defRPr>
            </a:lvl1pPr>
          </a:lstStyle>
          <a:p>
            <a:pPr lvl="0"/>
            <a:r>
              <a:rPr lang="en-US" noProof="0" dirty="0"/>
              <a:t>Title (Noto Sans 32)</a:t>
            </a:r>
          </a:p>
        </p:txBody>
      </p:sp>
      <p:sp>
        <p:nvSpPr>
          <p:cNvPr id="29" name="Marcador de posición de imagen 2"/>
          <p:cNvSpPr>
            <a:spLocks noGrp="1"/>
          </p:cNvSpPr>
          <p:nvPr>
            <p:ph type="pic" sz="quarter" idx="39" hasCustomPrompt="1"/>
          </p:nvPr>
        </p:nvSpPr>
        <p:spPr>
          <a:xfrm>
            <a:off x="336509" y="1448780"/>
            <a:ext cx="2735700" cy="226825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30" name="Marcador de texto 6"/>
          <p:cNvSpPr>
            <a:spLocks noGrp="1"/>
          </p:cNvSpPr>
          <p:nvPr>
            <p:ph type="body" sz="quarter" idx="40" hasCustomPrompt="1"/>
          </p:nvPr>
        </p:nvSpPr>
        <p:spPr>
          <a:xfrm>
            <a:off x="3263791" y="3861048"/>
            <a:ext cx="2735948" cy="288032"/>
          </a:xfrm>
          <a:prstGeom prst="rect">
            <a:avLst/>
          </a:prstGeom>
        </p:spPr>
        <p:txBody>
          <a:bodyPr vert="horz" lIns="34267" tIns="17132" rIns="34267" bIns="17132"/>
          <a:lstStyle>
            <a:lvl1pPr marL="0" indent="0">
              <a:lnSpc>
                <a:spcPct val="110000"/>
              </a:lnSpc>
              <a:buNone/>
              <a:defRPr sz="1600" b="0" i="0" spc="0" baseline="0">
                <a:solidFill>
                  <a:schemeClr val="tx2"/>
                </a:solidFill>
                <a:latin typeface="+mn-lt"/>
                <a:cs typeface="Noto Sans Regular"/>
              </a:defRPr>
            </a:lvl1pPr>
          </a:lstStyle>
          <a:p>
            <a:pPr lvl="0"/>
            <a:r>
              <a:rPr lang="en-US" noProof="0" dirty="0"/>
              <a:t>Title (Noto Sans 32)</a:t>
            </a:r>
          </a:p>
        </p:txBody>
      </p:sp>
      <p:sp>
        <p:nvSpPr>
          <p:cNvPr id="32" name="Marcador de posición de imagen 2"/>
          <p:cNvSpPr>
            <a:spLocks noGrp="1"/>
          </p:cNvSpPr>
          <p:nvPr>
            <p:ph type="pic" sz="quarter" idx="42" hasCustomPrompt="1"/>
          </p:nvPr>
        </p:nvSpPr>
        <p:spPr>
          <a:xfrm>
            <a:off x="3264188" y="1448780"/>
            <a:ext cx="2735700" cy="226825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33" name="Marcador de texto 6"/>
          <p:cNvSpPr>
            <a:spLocks noGrp="1"/>
          </p:cNvSpPr>
          <p:nvPr>
            <p:ph type="body" sz="quarter" idx="43" hasCustomPrompt="1"/>
          </p:nvPr>
        </p:nvSpPr>
        <p:spPr>
          <a:xfrm>
            <a:off x="6191471" y="3861048"/>
            <a:ext cx="2735948" cy="288032"/>
          </a:xfrm>
          <a:prstGeom prst="rect">
            <a:avLst/>
          </a:prstGeom>
        </p:spPr>
        <p:txBody>
          <a:bodyPr vert="horz" lIns="34267" tIns="17132" rIns="34267" bIns="17132"/>
          <a:lstStyle>
            <a:lvl1pPr marL="0" indent="0">
              <a:lnSpc>
                <a:spcPct val="110000"/>
              </a:lnSpc>
              <a:buNone/>
              <a:defRPr sz="1600" b="0" i="0" spc="0" baseline="0">
                <a:solidFill>
                  <a:schemeClr val="tx2"/>
                </a:solidFill>
                <a:latin typeface="+mn-lt"/>
                <a:cs typeface="Noto Sans Regular"/>
              </a:defRPr>
            </a:lvl1pPr>
          </a:lstStyle>
          <a:p>
            <a:pPr lvl="0"/>
            <a:r>
              <a:rPr lang="en-US" noProof="0" dirty="0"/>
              <a:t>Title (Noto Sans 32)</a:t>
            </a:r>
          </a:p>
        </p:txBody>
      </p:sp>
      <p:sp>
        <p:nvSpPr>
          <p:cNvPr id="35" name="Marcador de posición de imagen 2"/>
          <p:cNvSpPr>
            <a:spLocks noGrp="1"/>
          </p:cNvSpPr>
          <p:nvPr>
            <p:ph type="pic" sz="quarter" idx="45" hasCustomPrompt="1"/>
          </p:nvPr>
        </p:nvSpPr>
        <p:spPr>
          <a:xfrm>
            <a:off x="6191867" y="1448780"/>
            <a:ext cx="2735700" cy="226825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36" name="Marcador de texto 6"/>
          <p:cNvSpPr>
            <a:spLocks noGrp="1"/>
          </p:cNvSpPr>
          <p:nvPr>
            <p:ph type="body" sz="quarter" idx="46" hasCustomPrompt="1"/>
          </p:nvPr>
        </p:nvSpPr>
        <p:spPr>
          <a:xfrm>
            <a:off x="9119150" y="3861048"/>
            <a:ext cx="2735948" cy="288032"/>
          </a:xfrm>
          <a:prstGeom prst="rect">
            <a:avLst/>
          </a:prstGeom>
        </p:spPr>
        <p:txBody>
          <a:bodyPr vert="horz" lIns="34267" tIns="17132" rIns="34267" bIns="17132"/>
          <a:lstStyle>
            <a:lvl1pPr marL="0" indent="0">
              <a:lnSpc>
                <a:spcPct val="110000"/>
              </a:lnSpc>
              <a:buNone/>
              <a:defRPr sz="1600" b="0" i="0" spc="0" baseline="0">
                <a:solidFill>
                  <a:schemeClr val="tx2"/>
                </a:solidFill>
                <a:latin typeface="+mn-lt"/>
                <a:cs typeface="Noto Sans Regular"/>
              </a:defRPr>
            </a:lvl1pPr>
          </a:lstStyle>
          <a:p>
            <a:pPr lvl="0"/>
            <a:r>
              <a:rPr lang="en-US" noProof="0" dirty="0"/>
              <a:t>Title (Noto Sans 32)</a:t>
            </a:r>
          </a:p>
        </p:txBody>
      </p:sp>
      <p:sp>
        <p:nvSpPr>
          <p:cNvPr id="38" name="Marcador de posición de imagen 2"/>
          <p:cNvSpPr>
            <a:spLocks noGrp="1"/>
          </p:cNvSpPr>
          <p:nvPr>
            <p:ph type="pic" sz="quarter" idx="48" hasCustomPrompt="1"/>
          </p:nvPr>
        </p:nvSpPr>
        <p:spPr>
          <a:xfrm>
            <a:off x="9119546" y="1448780"/>
            <a:ext cx="2735700" cy="226825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21"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20" name="Marcador de texto 2">
            <a:extLst>
              <a:ext uri="{FF2B5EF4-FFF2-40B4-BE49-F238E27FC236}">
                <a16:creationId xmlns:a16="http://schemas.microsoft.com/office/drawing/2014/main" id="{86728F71-A3C2-4698-A04D-C8D99CF97817}"/>
              </a:ext>
            </a:extLst>
          </p:cNvPr>
          <p:cNvSpPr>
            <a:spLocks noGrp="1"/>
          </p:cNvSpPr>
          <p:nvPr>
            <p:ph type="body" sz="quarter" idx="37" hasCustomPrompt="1"/>
          </p:nvPr>
        </p:nvSpPr>
        <p:spPr>
          <a:xfrm>
            <a:off x="336111" y="4257092"/>
            <a:ext cx="2738271" cy="1979676"/>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2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200">
                <a:solidFill>
                  <a:schemeClr val="tx1"/>
                </a:solidFill>
                <a:latin typeface="+mn-lt"/>
                <a:cs typeface="Noto Sans"/>
              </a:defRPr>
            </a:lvl3pPr>
            <a:lvl4pPr>
              <a:defRPr sz="1000">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
        <p:nvSpPr>
          <p:cNvPr id="22" name="Marcador de texto 2">
            <a:extLst>
              <a:ext uri="{FF2B5EF4-FFF2-40B4-BE49-F238E27FC236}">
                <a16:creationId xmlns:a16="http://schemas.microsoft.com/office/drawing/2014/main" id="{39778D50-61C0-442A-B6B1-311C80D40B68}"/>
              </a:ext>
            </a:extLst>
          </p:cNvPr>
          <p:cNvSpPr>
            <a:spLocks noGrp="1"/>
          </p:cNvSpPr>
          <p:nvPr>
            <p:ph type="body" sz="quarter" idx="49" hasCustomPrompt="1"/>
          </p:nvPr>
        </p:nvSpPr>
        <p:spPr>
          <a:xfrm>
            <a:off x="3264188" y="4257092"/>
            <a:ext cx="2738271" cy="1979676"/>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2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200">
                <a:solidFill>
                  <a:schemeClr val="tx1"/>
                </a:solidFill>
                <a:latin typeface="+mn-lt"/>
                <a:cs typeface="Noto Sans"/>
              </a:defRPr>
            </a:lvl3pPr>
            <a:lvl4pPr>
              <a:defRPr sz="1000">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
        <p:nvSpPr>
          <p:cNvPr id="34" name="Marcador de texto 2">
            <a:extLst>
              <a:ext uri="{FF2B5EF4-FFF2-40B4-BE49-F238E27FC236}">
                <a16:creationId xmlns:a16="http://schemas.microsoft.com/office/drawing/2014/main" id="{C777293C-6598-44C5-9A2B-27D0278877AA}"/>
              </a:ext>
            </a:extLst>
          </p:cNvPr>
          <p:cNvSpPr>
            <a:spLocks noGrp="1"/>
          </p:cNvSpPr>
          <p:nvPr>
            <p:ph type="body" sz="quarter" idx="50" hasCustomPrompt="1"/>
          </p:nvPr>
        </p:nvSpPr>
        <p:spPr>
          <a:xfrm>
            <a:off x="6189296" y="4257092"/>
            <a:ext cx="2738271" cy="1979676"/>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2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200">
                <a:solidFill>
                  <a:schemeClr val="tx1"/>
                </a:solidFill>
                <a:latin typeface="+mn-lt"/>
                <a:cs typeface="Noto Sans"/>
              </a:defRPr>
            </a:lvl3pPr>
            <a:lvl4pPr marL="1665396" marR="0" indent="-237913" algn="l" defTabSz="457109" rtl="0" eaLnBrk="1" fontAlgn="base" latinLnBrk="0" hangingPunct="1">
              <a:lnSpc>
                <a:spcPct val="100000"/>
              </a:lnSpc>
              <a:spcBef>
                <a:spcPct val="20000"/>
              </a:spcBef>
              <a:spcAft>
                <a:spcPct val="0"/>
              </a:spcAft>
              <a:buClrTx/>
              <a:buSzTx/>
              <a:buFontTx/>
              <a:buChar char="•"/>
              <a:tabLst/>
              <a:defRPr sz="1000">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
        <p:nvSpPr>
          <p:cNvPr id="37" name="Marcador de texto 2">
            <a:extLst>
              <a:ext uri="{FF2B5EF4-FFF2-40B4-BE49-F238E27FC236}">
                <a16:creationId xmlns:a16="http://schemas.microsoft.com/office/drawing/2014/main" id="{84BB3B42-79A6-4DDF-94C8-03F015DFEC99}"/>
              </a:ext>
            </a:extLst>
          </p:cNvPr>
          <p:cNvSpPr>
            <a:spLocks noGrp="1"/>
          </p:cNvSpPr>
          <p:nvPr>
            <p:ph type="body" sz="quarter" idx="51" hasCustomPrompt="1"/>
          </p:nvPr>
        </p:nvSpPr>
        <p:spPr>
          <a:xfrm>
            <a:off x="9119546" y="4257092"/>
            <a:ext cx="2738271" cy="1979676"/>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2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200">
                <a:solidFill>
                  <a:schemeClr val="tx1"/>
                </a:solidFill>
                <a:latin typeface="+mn-lt"/>
                <a:cs typeface="Noto Sans"/>
              </a:defRPr>
            </a:lvl3pPr>
            <a:lvl4pPr>
              <a:defRPr sz="1000">
                <a:latin typeface="+mn-lt"/>
              </a:defRPr>
            </a:lvl4pPr>
            <a:lvl5pPr>
              <a:defRPr>
                <a:latin typeface="+mn-lt"/>
              </a:defRPr>
            </a:lvl5pPr>
          </a:lstStyle>
          <a:p>
            <a:pPr lvl="0"/>
            <a:r>
              <a:rPr lang="en-US" noProof="0" dirty="0"/>
              <a:t>Body Text (Noto Sans 28) </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327696816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 Image + Footnote">
    <p:spTree>
      <p:nvGrpSpPr>
        <p:cNvPr id="1" name=""/>
        <p:cNvGrpSpPr/>
        <p:nvPr/>
      </p:nvGrpSpPr>
      <p:grpSpPr>
        <a:xfrm>
          <a:off x="0" y="0"/>
          <a:ext cx="0" cy="0"/>
          <a:chOff x="0" y="0"/>
          <a:chExt cx="0" cy="0"/>
        </a:xfrm>
      </p:grpSpPr>
      <p:pic>
        <p:nvPicPr>
          <p:cNvPr id="11" name="Imagen 10"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2"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16" name="Marcador de posición de imagen 2"/>
          <p:cNvSpPr>
            <a:spLocks noGrp="1"/>
          </p:cNvSpPr>
          <p:nvPr>
            <p:ph type="pic" sz="quarter" idx="23" hasCustomPrompt="1"/>
          </p:nvPr>
        </p:nvSpPr>
        <p:spPr>
          <a:xfrm>
            <a:off x="336510" y="1448780"/>
            <a:ext cx="8783436" cy="478853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cxnSp>
        <p:nvCxnSpPr>
          <p:cNvPr id="14" name="Conector recto 13"/>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 name="Marcador de texto 6"/>
          <p:cNvSpPr>
            <a:spLocks noGrp="1"/>
          </p:cNvSpPr>
          <p:nvPr>
            <p:ph type="body" sz="quarter" idx="30" hasCustomPrompt="1"/>
          </p:nvPr>
        </p:nvSpPr>
        <p:spPr>
          <a:xfrm>
            <a:off x="9623932" y="5877272"/>
            <a:ext cx="2231957" cy="360424"/>
          </a:xfrm>
          <a:prstGeom prst="rect">
            <a:avLst/>
          </a:prstGeom>
        </p:spPr>
        <p:txBody>
          <a:bodyPr vert="horz" lIns="34267" tIns="17132" rIns="34267" bIns="17132"/>
          <a:lstStyle>
            <a:lvl1pPr marL="0" indent="0">
              <a:lnSpc>
                <a:spcPct val="110000"/>
              </a:lnSpc>
              <a:buNone/>
              <a:defRPr sz="950" b="0" i="0" spc="0" baseline="0">
                <a:solidFill>
                  <a:schemeClr val="tx1"/>
                </a:solidFill>
                <a:latin typeface="+mn-lt"/>
                <a:cs typeface="Noto Sans Regular"/>
              </a:defRPr>
            </a:lvl1pPr>
          </a:lstStyle>
          <a:p>
            <a:pPr lvl="0"/>
            <a:r>
              <a:rPr lang="en-US" noProof="0" dirty="0"/>
              <a:t>Click here to insert complementary info (footnotes, captions, legends, </a:t>
            </a:r>
            <a:r>
              <a:rPr lang="en-US" noProof="0" dirty="0" err="1"/>
              <a:t>etc</a:t>
            </a:r>
            <a:r>
              <a:rPr lang="en-US" noProof="0" dirty="0"/>
              <a:t>)</a:t>
            </a:r>
          </a:p>
        </p:txBody>
      </p:sp>
      <p:sp>
        <p:nvSpPr>
          <p:cNvPr id="18"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42613475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 Image Full">
    <p:spTree>
      <p:nvGrpSpPr>
        <p:cNvPr id="1" name=""/>
        <p:cNvGrpSpPr/>
        <p:nvPr/>
      </p:nvGrpSpPr>
      <p:grpSpPr>
        <a:xfrm>
          <a:off x="0" y="0"/>
          <a:ext cx="0" cy="0"/>
          <a:chOff x="0" y="0"/>
          <a:chExt cx="0" cy="0"/>
        </a:xfrm>
      </p:grpSpPr>
      <p:pic>
        <p:nvPicPr>
          <p:cNvPr id="10" name="Imagen 9"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1"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15" name="Marcador de posición de imagen 2"/>
          <p:cNvSpPr>
            <a:spLocks noGrp="1"/>
          </p:cNvSpPr>
          <p:nvPr>
            <p:ph type="pic" sz="quarter" idx="23" hasCustomPrompt="1"/>
          </p:nvPr>
        </p:nvSpPr>
        <p:spPr>
          <a:xfrm>
            <a:off x="336507" y="1448780"/>
            <a:ext cx="11518988" cy="4788794"/>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cxnSp>
        <p:nvCxnSpPr>
          <p:cNvPr id="9" name="Conector recto 8"/>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2"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25700360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ext + Table + Footnote">
    <p:spTree>
      <p:nvGrpSpPr>
        <p:cNvPr id="1" name=""/>
        <p:cNvGrpSpPr/>
        <p:nvPr/>
      </p:nvGrpSpPr>
      <p:grpSpPr>
        <a:xfrm>
          <a:off x="0" y="0"/>
          <a:ext cx="0" cy="0"/>
          <a:chOff x="0" y="0"/>
          <a:chExt cx="0" cy="0"/>
        </a:xfrm>
      </p:grpSpPr>
      <p:sp>
        <p:nvSpPr>
          <p:cNvPr id="11" name="Marcador de texto 6"/>
          <p:cNvSpPr>
            <a:spLocks noGrp="1"/>
          </p:cNvSpPr>
          <p:nvPr>
            <p:ph type="body" sz="quarter" idx="10" hasCustomPrompt="1"/>
          </p:nvPr>
        </p:nvSpPr>
        <p:spPr>
          <a:xfrm>
            <a:off x="336110" y="1448780"/>
            <a:ext cx="4211920" cy="478853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400" b="0" i="0" spc="0" baseline="0">
                <a:solidFill>
                  <a:schemeClr val="tx1"/>
                </a:solidFill>
                <a:latin typeface="+mn-lt"/>
                <a:cs typeface="Noto Sans Regular"/>
              </a:defRPr>
            </a:lvl1pPr>
          </a:lstStyle>
          <a:p>
            <a:pPr lvl="0"/>
            <a:r>
              <a:rPr lang="en-US" noProof="0" dirty="0"/>
              <a:t>Body Text (Noto Sans 28)</a:t>
            </a:r>
          </a:p>
        </p:txBody>
      </p:sp>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9"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33"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6" name="Marcador de tabla 3"/>
          <p:cNvSpPr>
            <a:spLocks noGrp="1"/>
          </p:cNvSpPr>
          <p:nvPr>
            <p:ph type="tbl" sz="quarter" idx="26" hasCustomPrompt="1"/>
          </p:nvPr>
        </p:nvSpPr>
        <p:spPr>
          <a:xfrm>
            <a:off x="4908023" y="1448779"/>
            <a:ext cx="4211920" cy="4788533"/>
          </a:xfrm>
          <a:prstGeom prst="rect">
            <a:avLst/>
          </a:prstGeom>
        </p:spPr>
        <p:txBody>
          <a:bodyPr vert="horz" lIns="34267" tIns="17132" rIns="34267" bIns="17132"/>
          <a:lstStyle>
            <a:lvl1pPr marL="171297" indent="-171297">
              <a:buFont typeface="Arial" panose="020B0604020202020204" pitchFamily="34" charset="0"/>
              <a:buChar char="•"/>
              <a:defRPr sz="1250">
                <a:solidFill>
                  <a:schemeClr val="tx1"/>
                </a:solidFill>
                <a:latin typeface="+mn-lt"/>
              </a:defRPr>
            </a:lvl1pPr>
          </a:lstStyle>
          <a:p>
            <a:pPr lvl="0"/>
            <a:r>
              <a:rPr lang="en-US" noProof="0" dirty="0"/>
              <a:t>Click here to insert table</a:t>
            </a:r>
          </a:p>
        </p:txBody>
      </p:sp>
      <p:cxnSp>
        <p:nvCxnSpPr>
          <p:cNvPr id="16" name="Conector recto 15"/>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 name="Marcador de texto 6"/>
          <p:cNvSpPr>
            <a:spLocks noGrp="1"/>
          </p:cNvSpPr>
          <p:nvPr>
            <p:ph type="body" sz="quarter" idx="30" hasCustomPrompt="1"/>
          </p:nvPr>
        </p:nvSpPr>
        <p:spPr>
          <a:xfrm>
            <a:off x="9623932" y="5877272"/>
            <a:ext cx="2231957" cy="360424"/>
          </a:xfrm>
          <a:prstGeom prst="rect">
            <a:avLst/>
          </a:prstGeom>
        </p:spPr>
        <p:txBody>
          <a:bodyPr vert="horz" lIns="34267" tIns="17132" rIns="34267" bIns="17132"/>
          <a:lstStyle>
            <a:lvl1pPr marL="0" indent="0">
              <a:lnSpc>
                <a:spcPct val="110000"/>
              </a:lnSpc>
              <a:buNone/>
              <a:defRPr sz="950" b="0" i="0" spc="0" baseline="0">
                <a:solidFill>
                  <a:schemeClr val="tx1"/>
                </a:solidFill>
                <a:latin typeface="+mn-lt"/>
                <a:cs typeface="Noto Sans Regular"/>
              </a:defRPr>
            </a:lvl1pPr>
          </a:lstStyle>
          <a:p>
            <a:pPr lvl="0"/>
            <a:r>
              <a:rPr lang="en-US" noProof="0" dirty="0"/>
              <a:t>Click here to insert complementary info (footnotes, captions, legends, </a:t>
            </a:r>
            <a:r>
              <a:rPr lang="en-US" noProof="0" dirty="0" err="1"/>
              <a:t>etc</a:t>
            </a:r>
            <a:r>
              <a:rPr lang="en-US" noProof="0" dirty="0"/>
              <a:t>)</a:t>
            </a:r>
          </a:p>
        </p:txBody>
      </p:sp>
      <p:sp>
        <p:nvSpPr>
          <p:cNvPr id="17"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42517059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ext + 1 Table Full">
    <p:spTree>
      <p:nvGrpSpPr>
        <p:cNvPr id="1" name=""/>
        <p:cNvGrpSpPr/>
        <p:nvPr/>
      </p:nvGrpSpPr>
      <p:grpSpPr>
        <a:xfrm>
          <a:off x="0" y="0"/>
          <a:ext cx="0" cy="0"/>
          <a:chOff x="0" y="0"/>
          <a:chExt cx="0" cy="0"/>
        </a:xfrm>
      </p:grpSpPr>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9"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33"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6" name="Marcador de tabla 3"/>
          <p:cNvSpPr>
            <a:spLocks noGrp="1"/>
          </p:cNvSpPr>
          <p:nvPr>
            <p:ph type="tbl" sz="quarter" idx="26" hasCustomPrompt="1"/>
          </p:nvPr>
        </p:nvSpPr>
        <p:spPr>
          <a:xfrm>
            <a:off x="6275996" y="1448780"/>
            <a:ext cx="5579893" cy="4788532"/>
          </a:xfrm>
          <a:prstGeom prst="rect">
            <a:avLst/>
          </a:prstGeom>
        </p:spPr>
        <p:txBody>
          <a:bodyPr vert="horz" lIns="34267" tIns="17132" rIns="34267" bIns="17132"/>
          <a:lstStyle>
            <a:lvl1pPr marL="171297" indent="-171297">
              <a:buFont typeface="Arial" panose="020B0604020202020204" pitchFamily="34" charset="0"/>
              <a:buChar char="•"/>
              <a:defRPr sz="1250">
                <a:solidFill>
                  <a:schemeClr val="tx1"/>
                </a:solidFill>
                <a:latin typeface="+mn-lt"/>
              </a:defRPr>
            </a:lvl1pPr>
          </a:lstStyle>
          <a:p>
            <a:pPr lvl="0"/>
            <a:r>
              <a:rPr lang="en-US" noProof="0" dirty="0"/>
              <a:t>Click here to insert table</a:t>
            </a:r>
          </a:p>
        </p:txBody>
      </p:sp>
      <p:sp>
        <p:nvSpPr>
          <p:cNvPr id="14" name="Marcador de texto 6"/>
          <p:cNvSpPr>
            <a:spLocks noGrp="1"/>
          </p:cNvSpPr>
          <p:nvPr>
            <p:ph type="body" sz="quarter" idx="10" hasCustomPrompt="1"/>
          </p:nvPr>
        </p:nvSpPr>
        <p:spPr>
          <a:xfrm>
            <a:off x="336113" y="1448780"/>
            <a:ext cx="5543895" cy="478853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400" b="0" i="0" spc="0" baseline="0">
                <a:solidFill>
                  <a:schemeClr val="tx1"/>
                </a:solidFill>
                <a:latin typeface="+mn-lt"/>
                <a:cs typeface="Noto Sans Regular"/>
              </a:defRPr>
            </a:lvl1pPr>
            <a:lvl2pPr marL="475828" indent="0">
              <a:buNone/>
              <a:defRPr/>
            </a:lvl2pPr>
          </a:lstStyle>
          <a:p>
            <a:pPr lvl="0"/>
            <a:r>
              <a:rPr lang="en-US" noProof="0" dirty="0"/>
              <a:t>Body Text (Noto Sans 28)</a:t>
            </a:r>
          </a:p>
        </p:txBody>
      </p:sp>
      <p:cxnSp>
        <p:nvCxnSpPr>
          <p:cNvPr id="15" name="Conector recto 14"/>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209515031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Full Table Slide">
    <p:spTree>
      <p:nvGrpSpPr>
        <p:cNvPr id="1" name=""/>
        <p:cNvGrpSpPr/>
        <p:nvPr/>
      </p:nvGrpSpPr>
      <p:grpSpPr>
        <a:xfrm>
          <a:off x="0" y="0"/>
          <a:ext cx="0" cy="0"/>
          <a:chOff x="0" y="0"/>
          <a:chExt cx="0" cy="0"/>
        </a:xfrm>
      </p:grpSpPr>
      <p:sp>
        <p:nvSpPr>
          <p:cNvPr id="14" name="Marcador de tabla 3"/>
          <p:cNvSpPr>
            <a:spLocks noGrp="1"/>
          </p:cNvSpPr>
          <p:nvPr>
            <p:ph type="tbl" sz="quarter" idx="26" hasCustomPrompt="1"/>
          </p:nvPr>
        </p:nvSpPr>
        <p:spPr>
          <a:xfrm>
            <a:off x="336109" y="1448780"/>
            <a:ext cx="11530496" cy="4788215"/>
          </a:xfrm>
          <a:prstGeom prst="rect">
            <a:avLst/>
          </a:prstGeom>
        </p:spPr>
        <p:txBody>
          <a:bodyPr vert="horz" lIns="34267" tIns="17132" rIns="34267" bIns="17132"/>
          <a:lstStyle>
            <a:lvl1pPr marL="171297" indent="-171297">
              <a:buFont typeface="Arial" panose="020B0604020202020204" pitchFamily="34" charset="0"/>
              <a:buChar char="•"/>
              <a:defRPr sz="1250">
                <a:solidFill>
                  <a:schemeClr val="accent2"/>
                </a:solidFill>
                <a:latin typeface="+mn-lt"/>
              </a:defRPr>
            </a:lvl1pPr>
          </a:lstStyle>
          <a:p>
            <a:pPr lvl="0"/>
            <a:r>
              <a:rPr lang="en-US" noProof="0" dirty="0"/>
              <a:t>Click here to insert table</a:t>
            </a:r>
          </a:p>
        </p:txBody>
      </p:sp>
      <p:pic>
        <p:nvPicPr>
          <p:cNvPr id="13" name="Imagen 12"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5"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33" spc="-74" dirty="0">
                <a:solidFill>
                  <a:schemeClr val="tx2"/>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17" name="Conector recto 16"/>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6"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2465387732"/>
      </p:ext>
    </p:extLst>
  </p:cSld>
  <p:clrMapOvr>
    <a:masterClrMapping/>
  </p:clrMapOvr>
  <p:extLst>
    <p:ext uri="{DCECCB84-F9BA-43D5-87BE-67443E8EF086}">
      <p15:sldGuideLst xmlns:p15="http://schemas.microsoft.com/office/powerpoint/2012/main">
        <p15:guide id="1" orient="horz" pos="4320">
          <p15:clr>
            <a:srgbClr val="FBAE40"/>
          </p15:clr>
        </p15:guide>
        <p15:guide id="2" pos="7681">
          <p15:clr>
            <a:srgbClr val="FBAE40"/>
          </p15:clr>
        </p15:guide>
        <p15:guide id="3" pos="420">
          <p15:clr>
            <a:srgbClr val="FBAE40"/>
          </p15:clr>
        </p15:guide>
        <p15:guide id="4" pos="14952">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Sub Divider Slide">
    <p:spTree>
      <p:nvGrpSpPr>
        <p:cNvPr id="1" name=""/>
        <p:cNvGrpSpPr/>
        <p:nvPr/>
      </p:nvGrpSpPr>
      <p:grpSpPr>
        <a:xfrm>
          <a:off x="0" y="0"/>
          <a:ext cx="0" cy="0"/>
          <a:chOff x="0" y="0"/>
          <a:chExt cx="0" cy="0"/>
        </a:xfrm>
      </p:grpSpPr>
      <p:pic>
        <p:nvPicPr>
          <p:cNvPr id="6"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60000" contrast="-53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
        <p:nvSpPr>
          <p:cNvPr id="7"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5" name="Slide Number Placeholder 14"/>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E2ACF161-3639-4DB2-AA3B-4A41135AF63F}" type="slidenum">
              <a:rPr/>
              <a:pPr/>
              <a:t>‹#›</a:t>
            </a:fld>
            <a:endParaRPr/>
          </a:p>
        </p:txBody>
      </p:sp>
    </p:spTree>
    <p:extLst>
      <p:ext uri="{BB962C8B-B14F-4D97-AF65-F5344CB8AC3E}">
        <p14:creationId xmlns:p14="http://schemas.microsoft.com/office/powerpoint/2010/main" val="3929446790"/>
      </p:ext>
    </p:extLst>
  </p:cSld>
  <p:clrMapOvr>
    <a:masterClrMapping/>
  </p:clrMapOvr>
  <p:hf hdr="0" ftr="0" dt="0"/>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Images + Footnote">
    <p:spTree>
      <p:nvGrpSpPr>
        <p:cNvPr id="1" name=""/>
        <p:cNvGrpSpPr/>
        <p:nvPr/>
      </p:nvGrpSpPr>
      <p:grpSpPr>
        <a:xfrm>
          <a:off x="0" y="0"/>
          <a:ext cx="0" cy="0"/>
          <a:chOff x="0" y="0"/>
          <a:chExt cx="0" cy="0"/>
        </a:xfrm>
      </p:grpSpPr>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9"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33"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4" name="Marcador de posición de imagen 2"/>
          <p:cNvSpPr>
            <a:spLocks noGrp="1"/>
          </p:cNvSpPr>
          <p:nvPr>
            <p:ph type="pic" sz="quarter" idx="28" hasCustomPrompt="1"/>
          </p:nvPr>
        </p:nvSpPr>
        <p:spPr>
          <a:xfrm>
            <a:off x="336111" y="1448780"/>
            <a:ext cx="4211919" cy="4788533"/>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an image</a:t>
            </a:r>
          </a:p>
          <a:p>
            <a:endParaRPr lang="en-US" noProof="0" dirty="0"/>
          </a:p>
        </p:txBody>
      </p:sp>
      <p:sp>
        <p:nvSpPr>
          <p:cNvPr id="25" name="Marcador de posición de imagen 2"/>
          <p:cNvSpPr>
            <a:spLocks noGrp="1"/>
          </p:cNvSpPr>
          <p:nvPr>
            <p:ph type="pic" sz="quarter" idx="29" hasCustomPrompt="1"/>
          </p:nvPr>
        </p:nvSpPr>
        <p:spPr>
          <a:xfrm>
            <a:off x="4908019" y="1448780"/>
            <a:ext cx="4211712" cy="4788533"/>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an image</a:t>
            </a:r>
          </a:p>
          <a:p>
            <a:endParaRPr lang="en-US" noProof="0" dirty="0"/>
          </a:p>
        </p:txBody>
      </p:sp>
      <p:cxnSp>
        <p:nvCxnSpPr>
          <p:cNvPr id="13" name="Conector recto 12"/>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 name="Marcador de texto 6"/>
          <p:cNvSpPr>
            <a:spLocks noGrp="1"/>
          </p:cNvSpPr>
          <p:nvPr>
            <p:ph type="body" sz="quarter" idx="30" hasCustomPrompt="1"/>
          </p:nvPr>
        </p:nvSpPr>
        <p:spPr>
          <a:xfrm>
            <a:off x="9623932" y="5697252"/>
            <a:ext cx="2231957" cy="540444"/>
          </a:xfrm>
          <a:prstGeom prst="rect">
            <a:avLst/>
          </a:prstGeom>
        </p:spPr>
        <p:txBody>
          <a:bodyPr vert="horz" lIns="34267" tIns="17132" rIns="34267" bIns="17132"/>
          <a:lstStyle>
            <a:lvl1pPr marL="0" indent="0">
              <a:lnSpc>
                <a:spcPct val="110000"/>
              </a:lnSpc>
              <a:buNone/>
              <a:defRPr sz="950" b="0" i="0" spc="0" baseline="0">
                <a:solidFill>
                  <a:schemeClr val="tx1"/>
                </a:solidFill>
                <a:latin typeface="+mn-lt"/>
                <a:cs typeface="Noto Sans Regular"/>
              </a:defRPr>
            </a:lvl1pPr>
          </a:lstStyle>
          <a:p>
            <a:pPr lvl="0"/>
            <a:r>
              <a:rPr lang="en-US" noProof="0" dirty="0"/>
              <a:t>Click here to insert complementary info (footnotes, captions, legends, etc.)</a:t>
            </a:r>
          </a:p>
        </p:txBody>
      </p:sp>
      <p:sp>
        <p:nvSpPr>
          <p:cNvPr id="15"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83489585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2 Images">
    <p:spTree>
      <p:nvGrpSpPr>
        <p:cNvPr id="1" name=""/>
        <p:cNvGrpSpPr/>
        <p:nvPr/>
      </p:nvGrpSpPr>
      <p:grpSpPr>
        <a:xfrm>
          <a:off x="0" y="0"/>
          <a:ext cx="0" cy="0"/>
          <a:chOff x="0" y="0"/>
          <a:chExt cx="0" cy="0"/>
        </a:xfrm>
      </p:grpSpPr>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9"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4" name="Marcador de posición de imagen 2"/>
          <p:cNvSpPr>
            <a:spLocks noGrp="1"/>
          </p:cNvSpPr>
          <p:nvPr>
            <p:ph type="pic" sz="quarter" idx="28" hasCustomPrompt="1"/>
          </p:nvPr>
        </p:nvSpPr>
        <p:spPr>
          <a:xfrm>
            <a:off x="336109" y="1448780"/>
            <a:ext cx="5579893" cy="478853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25" name="Marcador de posición de imagen 2"/>
          <p:cNvSpPr>
            <a:spLocks noGrp="1"/>
          </p:cNvSpPr>
          <p:nvPr>
            <p:ph type="pic" sz="quarter" idx="29" hasCustomPrompt="1"/>
          </p:nvPr>
        </p:nvSpPr>
        <p:spPr>
          <a:xfrm>
            <a:off x="6275996" y="1448780"/>
            <a:ext cx="5579893" cy="478853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cxnSp>
        <p:nvCxnSpPr>
          <p:cNvPr id="13" name="Conector recto 12"/>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2"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3948344936"/>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4"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j-lt"/>
                <a:cs typeface="Karla"/>
              </a:rPr>
              <a:t>  </a:t>
            </a:r>
            <a:fld id="{E77AE0A1-274E-2944-95AF-27E87E012DC6}" type="slidenum">
              <a:rPr lang="en-US" sz="950" spc="-74" smtClean="0">
                <a:solidFill>
                  <a:schemeClr val="tx2"/>
                </a:solidFill>
                <a:latin typeface="+mj-lt"/>
                <a:cs typeface="Karla"/>
              </a:rPr>
              <a:pPr algn="r" eaLnBrk="1" hangingPunct="1">
                <a:lnSpc>
                  <a:spcPct val="120000"/>
                </a:lnSpc>
                <a:defRPr/>
              </a:pPr>
              <a:t>‹#›</a:t>
            </a:fld>
            <a:endParaRPr lang="en-US" sz="950" spc="-74" dirty="0">
              <a:solidFill>
                <a:schemeClr val="tx2"/>
              </a:solidFill>
              <a:latin typeface="+mj-lt"/>
              <a:cs typeface="Karla"/>
            </a:endParaRPr>
          </a:p>
        </p:txBody>
      </p:sp>
      <p:cxnSp>
        <p:nvCxnSpPr>
          <p:cNvPr id="7" name="Conector recto 12"/>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8"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73914432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13" name="Marcador de texto 6"/>
          <p:cNvSpPr>
            <a:spLocks noGrp="1"/>
          </p:cNvSpPr>
          <p:nvPr>
            <p:ph type="body" sz="quarter" idx="22" hasCustomPrompt="1"/>
          </p:nvPr>
        </p:nvSpPr>
        <p:spPr>
          <a:xfrm>
            <a:off x="336109" y="296652"/>
            <a:ext cx="8783832" cy="1512552"/>
          </a:xfrm>
          <a:prstGeom prst="rect">
            <a:avLst/>
          </a:prstGeom>
        </p:spPr>
        <p:txBody>
          <a:bodyPr vert="horz" lIns="34267" tIns="17132" rIns="34267" bIns="17132"/>
          <a:lstStyle>
            <a:lvl1pPr marL="0" indent="0">
              <a:buNone/>
              <a:defRPr sz="4499" b="1" i="0" spc="-149" baseline="0">
                <a:solidFill>
                  <a:schemeClr val="tx2"/>
                </a:solidFill>
                <a:latin typeface="+mj-lt"/>
                <a:cs typeface="Karla"/>
              </a:defRPr>
            </a:lvl1pPr>
          </a:lstStyle>
          <a:p>
            <a:pPr lvl="0"/>
            <a:r>
              <a:rPr lang="en-US" noProof="0" dirty="0"/>
              <a:t>Quote (Karla 90)</a:t>
            </a:r>
          </a:p>
        </p:txBody>
      </p:sp>
      <p:sp>
        <p:nvSpPr>
          <p:cNvPr id="14" name="Marcador de texto 6"/>
          <p:cNvSpPr>
            <a:spLocks noGrp="1"/>
          </p:cNvSpPr>
          <p:nvPr>
            <p:ph type="body" sz="quarter" idx="10" hasCustomPrompt="1"/>
          </p:nvPr>
        </p:nvSpPr>
        <p:spPr>
          <a:xfrm>
            <a:off x="336113" y="2025229"/>
            <a:ext cx="4139921" cy="324036"/>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400" b="0" i="0" spc="0" baseline="0">
                <a:solidFill>
                  <a:schemeClr val="tx1"/>
                </a:solidFill>
                <a:latin typeface="+mj-lt"/>
                <a:cs typeface="Noto Sans Regular"/>
              </a:defRPr>
            </a:lvl1pPr>
          </a:lstStyle>
          <a:p>
            <a:pPr lvl="0"/>
            <a:r>
              <a:rPr lang="en-US" noProof="0" dirty="0"/>
              <a:t>Click here to insert author or caption (Karla 28)</a:t>
            </a:r>
          </a:p>
        </p:txBody>
      </p:sp>
      <p:pic>
        <p:nvPicPr>
          <p:cNvPr id="10" name="Imagen 9"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1"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7A7167"/>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7" name="Conector recto 6"/>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29464617"/>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6034E32C-7533-6D41-B26B-E6788F4B982B}"/>
              </a:ext>
            </a:extLst>
          </p:cNvPr>
          <p:cNvPicPr>
            <a:picLocks noChangeAspect="1"/>
          </p:cNvPicPr>
          <p:nvPr userDrawn="1"/>
        </p:nvPicPr>
        <p:blipFill>
          <a:blip r:embed="rId2"/>
          <a:stretch>
            <a:fillRect/>
          </a:stretch>
        </p:blipFill>
        <p:spPr>
          <a:xfrm>
            <a:off x="-2034" y="2"/>
            <a:ext cx="10699263" cy="6866731"/>
          </a:xfrm>
          <a:prstGeom prst="rect">
            <a:avLst/>
          </a:prstGeom>
        </p:spPr>
      </p:pic>
      <p:sp>
        <p:nvSpPr>
          <p:cNvPr id="12" name="Marcador de texto 6"/>
          <p:cNvSpPr>
            <a:spLocks noGrp="1"/>
          </p:cNvSpPr>
          <p:nvPr>
            <p:ph type="body" sz="quarter" idx="22" hasCustomPrompt="1"/>
          </p:nvPr>
        </p:nvSpPr>
        <p:spPr>
          <a:xfrm>
            <a:off x="6203998" y="980344"/>
            <a:ext cx="2951944" cy="432432"/>
          </a:xfrm>
          <a:prstGeom prst="rect">
            <a:avLst/>
          </a:prstGeom>
        </p:spPr>
        <p:txBody>
          <a:bodyPr vert="horz" lIns="34267" tIns="17132" rIns="34267" bIns="17132"/>
          <a:lstStyle>
            <a:lvl1pPr marL="0" indent="0">
              <a:buNone/>
              <a:defRPr sz="3599" b="1" i="0" spc="-74" baseline="0">
                <a:solidFill>
                  <a:schemeClr val="tx2"/>
                </a:solidFill>
                <a:latin typeface="+mj-lt"/>
                <a:cs typeface="Karla"/>
              </a:defRPr>
            </a:lvl1pPr>
          </a:lstStyle>
          <a:p>
            <a:pPr lvl="0"/>
            <a:r>
              <a:rPr lang="es-ES_tradnl" dirty="0" err="1"/>
              <a:t>Closing</a:t>
            </a:r>
            <a:r>
              <a:rPr lang="es-ES_tradnl" dirty="0"/>
              <a:t> </a:t>
            </a:r>
            <a:r>
              <a:rPr lang="es-ES_tradnl" dirty="0" err="1"/>
              <a:t>Slide</a:t>
            </a:r>
            <a:endParaRPr lang="es-ES_tradnl" dirty="0"/>
          </a:p>
        </p:txBody>
      </p:sp>
      <p:sp>
        <p:nvSpPr>
          <p:cNvPr id="13" name="Marcador de texto 6"/>
          <p:cNvSpPr>
            <a:spLocks noGrp="1"/>
          </p:cNvSpPr>
          <p:nvPr>
            <p:ph type="body" sz="quarter" idx="23" hasCustomPrompt="1"/>
          </p:nvPr>
        </p:nvSpPr>
        <p:spPr>
          <a:xfrm>
            <a:off x="6203998" y="1615603"/>
            <a:ext cx="2951944" cy="1404156"/>
          </a:xfrm>
          <a:prstGeom prst="rect">
            <a:avLst/>
          </a:prstGeom>
        </p:spPr>
        <p:txBody>
          <a:bodyPr vert="horz" lIns="34267" tIns="17132" rIns="34267" bIns="17132"/>
          <a:lstStyle>
            <a:lvl1pPr marL="0" indent="0">
              <a:buNone/>
              <a:defRPr sz="1400" b="0" i="0" spc="0" baseline="0">
                <a:solidFill>
                  <a:schemeClr val="tx1"/>
                </a:solidFill>
                <a:latin typeface="+mj-lt"/>
                <a:cs typeface="Noto Sans Regular"/>
              </a:defRPr>
            </a:lvl1pPr>
          </a:lstStyle>
          <a:p>
            <a:pPr lvl="0"/>
            <a:r>
              <a:rPr lang="en-US" noProof="0" dirty="0"/>
              <a:t>Click here to insert contact information</a:t>
            </a:r>
          </a:p>
        </p:txBody>
      </p:sp>
      <p:pic>
        <p:nvPicPr>
          <p:cNvPr id="9" name="Imagen 8" descr="Agility_logos_ppt-01.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cxnSp>
        <p:nvCxnSpPr>
          <p:cNvPr id="10" name="Conector recto 9"/>
          <p:cNvCxnSpPr/>
          <p:nvPr userDrawn="1"/>
        </p:nvCxnSpPr>
        <p:spPr>
          <a:xfrm flipV="1">
            <a:off x="6217490" y="620712"/>
            <a:ext cx="2952366"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49666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Internal - Back Cover">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7D43B2CF-D92D-AF44-837C-B5B449BB1AC8}"/>
              </a:ext>
            </a:extLst>
          </p:cNvPr>
          <p:cNvPicPr>
            <a:picLocks noChangeAspect="1"/>
          </p:cNvPicPr>
          <p:nvPr userDrawn="1"/>
        </p:nvPicPr>
        <p:blipFill rotWithShape="1">
          <a:blip r:embed="rId2"/>
          <a:srcRect l="11831" t="17206" b="2388"/>
          <a:stretch/>
        </p:blipFill>
        <p:spPr>
          <a:xfrm>
            <a:off x="0" y="0"/>
            <a:ext cx="7958725" cy="6858000"/>
          </a:xfrm>
          <a:prstGeom prst="rect">
            <a:avLst/>
          </a:prstGeom>
        </p:spPr>
      </p:pic>
      <p:sp>
        <p:nvSpPr>
          <p:cNvPr id="6" name="Marcador de texto 6">
            <a:extLst>
              <a:ext uri="{FF2B5EF4-FFF2-40B4-BE49-F238E27FC236}">
                <a16:creationId xmlns:a16="http://schemas.microsoft.com/office/drawing/2014/main" id="{27C538F3-464C-A248-8CDD-0FB5A93F832F}"/>
              </a:ext>
            </a:extLst>
          </p:cNvPr>
          <p:cNvSpPr>
            <a:spLocks noGrp="1"/>
          </p:cNvSpPr>
          <p:nvPr>
            <p:ph type="body" sz="quarter" idx="22" hasCustomPrompt="1"/>
          </p:nvPr>
        </p:nvSpPr>
        <p:spPr>
          <a:xfrm>
            <a:off x="6203998" y="980344"/>
            <a:ext cx="2951944" cy="684460"/>
          </a:xfrm>
          <a:prstGeom prst="rect">
            <a:avLst/>
          </a:prstGeom>
        </p:spPr>
        <p:txBody>
          <a:bodyPr vert="horz" lIns="34267" tIns="17132" rIns="34267" bIns="17132"/>
          <a:lstStyle>
            <a:lvl1pPr marL="0" indent="0">
              <a:buNone/>
              <a:defRPr sz="3999" b="1" i="0" spc="-74" baseline="0">
                <a:solidFill>
                  <a:schemeClr val="tx2"/>
                </a:solidFill>
                <a:latin typeface="Karla"/>
                <a:cs typeface="Karla"/>
              </a:defRPr>
            </a:lvl1pPr>
          </a:lstStyle>
          <a:p>
            <a:pPr lvl="0"/>
            <a:r>
              <a:rPr lang="en-US" noProof="0" dirty="0"/>
              <a:t>Thank you</a:t>
            </a:r>
          </a:p>
        </p:txBody>
      </p:sp>
      <p:sp>
        <p:nvSpPr>
          <p:cNvPr id="7" name="Marcador de texto 6">
            <a:extLst>
              <a:ext uri="{FF2B5EF4-FFF2-40B4-BE49-F238E27FC236}">
                <a16:creationId xmlns:a16="http://schemas.microsoft.com/office/drawing/2014/main" id="{85DA5F3B-ED46-FC43-80F1-EB8BCC7B1CE6}"/>
              </a:ext>
            </a:extLst>
          </p:cNvPr>
          <p:cNvSpPr>
            <a:spLocks noGrp="1"/>
          </p:cNvSpPr>
          <p:nvPr>
            <p:ph type="body" sz="quarter" idx="25" hasCustomPrompt="1"/>
          </p:nvPr>
        </p:nvSpPr>
        <p:spPr>
          <a:xfrm>
            <a:off x="6203998" y="1786956"/>
            <a:ext cx="2951944" cy="1404156"/>
          </a:xfrm>
          <a:prstGeom prst="rect">
            <a:avLst/>
          </a:prstGeom>
        </p:spPr>
        <p:txBody>
          <a:bodyPr vert="horz" lIns="34267" tIns="17132" rIns="34267" bIns="17132"/>
          <a:lstStyle>
            <a:lvl1pPr marL="0" indent="0">
              <a:buNone/>
              <a:defRPr sz="1400" b="0" i="0" spc="0" baseline="0">
                <a:solidFill>
                  <a:schemeClr val="tx1"/>
                </a:solidFill>
                <a:latin typeface="+mj-lt"/>
                <a:ea typeface="Noto Sans" panose="020B0502040504020204" pitchFamily="34" charset="0"/>
                <a:cs typeface="Noto Sans" panose="020B0502040504020204" pitchFamily="34" charset="0"/>
              </a:defRPr>
            </a:lvl1pPr>
          </a:lstStyle>
          <a:p>
            <a:pPr lvl="0"/>
            <a:r>
              <a:rPr lang="en-US" noProof="0" dirty="0"/>
              <a:t>Click here to insert contact information</a:t>
            </a:r>
          </a:p>
        </p:txBody>
      </p:sp>
      <p:cxnSp>
        <p:nvCxnSpPr>
          <p:cNvPr id="12" name="Conector recto 11">
            <a:extLst>
              <a:ext uri="{FF2B5EF4-FFF2-40B4-BE49-F238E27FC236}">
                <a16:creationId xmlns:a16="http://schemas.microsoft.com/office/drawing/2014/main" id="{6227A4D8-DC6B-834F-9D41-B854002DE7E0}"/>
              </a:ext>
            </a:extLst>
          </p:cNvPr>
          <p:cNvCxnSpPr/>
          <p:nvPr userDrawn="1"/>
        </p:nvCxnSpPr>
        <p:spPr>
          <a:xfrm flipV="1">
            <a:off x="6217490" y="620712"/>
            <a:ext cx="2952366"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1" name="CuadroTexto 10">
            <a:extLst>
              <a:ext uri="{FF2B5EF4-FFF2-40B4-BE49-F238E27FC236}">
                <a16:creationId xmlns:a16="http://schemas.microsoft.com/office/drawing/2014/main" id="{7534B54F-E473-9C4C-B74E-0C879E46F685}"/>
              </a:ext>
            </a:extLst>
          </p:cNvPr>
          <p:cNvSpPr txBox="1"/>
          <p:nvPr userDrawn="1"/>
        </p:nvSpPr>
        <p:spPr>
          <a:xfrm>
            <a:off x="4022836" y="8467344"/>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Etelka Text Pro"/>
              <a:cs typeface="Etelka Text Pro"/>
            </a:endParaRPr>
          </a:p>
        </p:txBody>
      </p:sp>
      <p:sp>
        <p:nvSpPr>
          <p:cNvPr id="14" name="CuadroTexto 13">
            <a:extLst>
              <a:ext uri="{FF2B5EF4-FFF2-40B4-BE49-F238E27FC236}">
                <a16:creationId xmlns:a16="http://schemas.microsoft.com/office/drawing/2014/main" id="{D374A664-FDB5-4D41-B74A-D1E27250F1FA}"/>
              </a:ext>
            </a:extLst>
          </p:cNvPr>
          <p:cNvSpPr txBox="1"/>
          <p:nvPr userDrawn="1"/>
        </p:nvSpPr>
        <p:spPr>
          <a:xfrm>
            <a:off x="10751944" y="-1975104"/>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Etelka Text Pro"/>
              <a:cs typeface="Etelka Text Pro"/>
            </a:endParaRPr>
          </a:p>
        </p:txBody>
      </p:sp>
      <p:pic>
        <p:nvPicPr>
          <p:cNvPr id="10" name="Imagen 9" descr="Agility_logos_ppt-01.png">
            <a:extLst>
              <a:ext uri="{FF2B5EF4-FFF2-40B4-BE49-F238E27FC236}">
                <a16:creationId xmlns:a16="http://schemas.microsoft.com/office/drawing/2014/main" id="{D79C35D3-6F9B-974B-A874-EC96E7339D6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Tree>
    <p:extLst>
      <p:ext uri="{BB962C8B-B14F-4D97-AF65-F5344CB8AC3E}">
        <p14:creationId xmlns:p14="http://schemas.microsoft.com/office/powerpoint/2010/main" val="326166113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userDrawn="1">
  <p:cSld name="Section titile 02">
    <p:bg>
      <p:bgRef idx="1001">
        <a:schemeClr val="bg1"/>
      </p:bgRef>
    </p:bg>
    <p:spTree>
      <p:nvGrpSpPr>
        <p:cNvPr id="1" name=""/>
        <p:cNvGrpSpPr/>
        <p:nvPr/>
      </p:nvGrpSpPr>
      <p:grpSpPr>
        <a:xfrm>
          <a:off x="0" y="0"/>
          <a:ext cx="0" cy="0"/>
          <a:chOff x="0" y="0"/>
          <a:chExt cx="0" cy="0"/>
        </a:xfrm>
      </p:grpSpPr>
      <p:pic>
        <p:nvPicPr>
          <p:cNvPr id="5" name="Imagen 4" descr="Backgrounds12.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8" name="Imagen 17" descr="Agility_logos-02.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9623936" y="188640"/>
            <a:ext cx="2246084" cy="627888"/>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Karla"/>
                <a:cs typeface="Karla"/>
              </a:rPr>
              <a:t>  </a:t>
            </a:r>
            <a:fld id="{E77AE0A1-274E-2944-95AF-27E87E012DC6}" type="slidenum">
              <a:rPr lang="en-US" sz="950" spc="-74" smtClean="0">
                <a:solidFill>
                  <a:srgbClr val="FFFFFF"/>
                </a:solidFill>
                <a:latin typeface="Karla"/>
                <a:cs typeface="Karla"/>
              </a:rPr>
              <a:pPr algn="r" eaLnBrk="1" hangingPunct="1">
                <a:lnSpc>
                  <a:spcPct val="120000"/>
                </a:lnSpc>
                <a:defRPr/>
              </a:pPr>
              <a:t>‹#›</a:t>
            </a:fld>
            <a:endParaRPr lang="en-US" sz="950" spc="-74" dirty="0">
              <a:solidFill>
                <a:srgbClr val="FFFFFF"/>
              </a:solidFill>
              <a:latin typeface="Karla"/>
              <a:cs typeface="Karla"/>
            </a:endParaRPr>
          </a:p>
        </p:txBody>
      </p:sp>
      <p:cxnSp>
        <p:nvCxnSpPr>
          <p:cNvPr id="8" name="Conector recto 7"/>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2"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Karla"/>
                <a:cs typeface="Karla"/>
              </a:defRPr>
            </a:lvl1pPr>
          </a:lstStyle>
          <a:p>
            <a:pPr lvl="0"/>
            <a:r>
              <a:rPr lang="es-ES_tradnl" noProof="0" dirty="0" err="1"/>
              <a:t>Headline</a:t>
            </a:r>
            <a:endParaRPr lang="es-ES_tradnl" noProof="0" dirty="0"/>
          </a:p>
        </p:txBody>
      </p:sp>
      <p:sp>
        <p:nvSpPr>
          <p:cNvPr id="13"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4499" b="0" i="0" spc="-149" baseline="0">
                <a:solidFill>
                  <a:schemeClr val="bg2"/>
                </a:solidFill>
                <a:latin typeface="Karla"/>
                <a:cs typeface="Karla"/>
              </a:defRPr>
            </a:lvl1pPr>
          </a:lstStyle>
          <a:p>
            <a:pPr lvl="0"/>
            <a:r>
              <a:rPr lang="es-ES_tradnl" dirty="0" err="1"/>
              <a:t>Subheadline</a:t>
            </a:r>
            <a:endParaRPr lang="es-ES_tradnl" dirty="0"/>
          </a:p>
        </p:txBody>
      </p:sp>
    </p:spTree>
    <p:extLst>
      <p:ext uri="{BB962C8B-B14F-4D97-AF65-F5344CB8AC3E}">
        <p14:creationId xmlns:p14="http://schemas.microsoft.com/office/powerpoint/2010/main" val="4039921556"/>
      </p:ext>
    </p:extLst>
  </p:cSld>
  <p:clrMapOvr>
    <a:overrideClrMapping bg1="lt1" tx1="dk1" bg2="lt2" tx2="dk2" accent1="accent1" accent2="accent2" accent3="accent3" accent4="accent4" accent5="accent5" accent6="accent6" hlink="hlink" folHlink="folHlink"/>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5" name="Imagen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12195175" cy="68659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8" name="Conector recto 7"/>
          <p:cNvCxnSpPr/>
          <p:nvPr userDrawn="1"/>
        </p:nvCxnSpPr>
        <p:spPr>
          <a:xfrm flipV="1">
            <a:off x="443752" y="620712"/>
            <a:ext cx="4932513"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7" name="Marcador de texto 6"/>
          <p:cNvSpPr>
            <a:spLocks noGrp="1"/>
          </p:cNvSpPr>
          <p:nvPr>
            <p:ph type="body" sz="quarter" idx="10" hasCustomPrompt="1"/>
          </p:nvPr>
        </p:nvSpPr>
        <p:spPr>
          <a:xfrm>
            <a:off x="444108" y="1016732"/>
            <a:ext cx="5435896" cy="1548556"/>
          </a:xfrm>
          <a:prstGeom prst="rect">
            <a:avLst/>
          </a:prstGeom>
        </p:spPr>
        <p:txBody>
          <a:bodyPr vert="horz" lIns="34267" tIns="17132" rIns="34267" bIns="17132"/>
          <a:lstStyle>
            <a:lvl1pPr marL="0" indent="0">
              <a:buNone/>
              <a:defRPr sz="4499" b="1" i="0" spc="-149" baseline="0">
                <a:solidFill>
                  <a:schemeClr val="bg2"/>
                </a:solidFill>
                <a:latin typeface="Karla" pitchFamily="2" charset="0"/>
                <a:ea typeface="Karla" pitchFamily="2" charset="0"/>
                <a:cs typeface="Karla" pitchFamily="2" charset="0"/>
              </a:defRPr>
            </a:lvl1pPr>
          </a:lstStyle>
          <a:p>
            <a:pPr lvl="0"/>
            <a:r>
              <a:rPr lang="en-US" noProof="0" dirty="0"/>
              <a:t>Click here to insert presentation title</a:t>
            </a:r>
          </a:p>
        </p:txBody>
      </p:sp>
      <p:sp>
        <p:nvSpPr>
          <p:cNvPr id="14" name="Marcador de texto 13"/>
          <p:cNvSpPr>
            <a:spLocks noGrp="1"/>
          </p:cNvSpPr>
          <p:nvPr>
            <p:ph type="body" sz="quarter" idx="12" hasCustomPrompt="1"/>
          </p:nvPr>
        </p:nvSpPr>
        <p:spPr>
          <a:xfrm>
            <a:off x="443748" y="2673303"/>
            <a:ext cx="5400256" cy="1044575"/>
          </a:xfrm>
          <a:prstGeom prst="rect">
            <a:avLst/>
          </a:prstGeom>
        </p:spPr>
        <p:txBody>
          <a:bodyPr vert="horz" lIns="34267" tIns="17132" rIns="34267" bIns="17132"/>
          <a:lstStyle>
            <a:lvl1pPr marL="0" indent="0">
              <a:buNone/>
              <a:defRPr sz="2500" spc="-74" baseline="0">
                <a:solidFill>
                  <a:schemeClr val="bg2"/>
                </a:solidFill>
                <a:latin typeface="+mn-lt"/>
                <a:ea typeface="Karla" pitchFamily="2" charset="0"/>
                <a:cs typeface="Karla" pitchFamily="2" charset="0"/>
              </a:defRPr>
            </a:lvl1pPr>
          </a:lstStyle>
          <a:p>
            <a:pPr lvl="0"/>
            <a:r>
              <a:rPr lang="en-US" noProof="0" dirty="0"/>
              <a:t>Click here to insert subtitle</a:t>
            </a:r>
          </a:p>
        </p:txBody>
      </p:sp>
      <p:sp>
        <p:nvSpPr>
          <p:cNvPr id="19" name="Marcador de texto 11"/>
          <p:cNvSpPr>
            <a:spLocks noGrp="1"/>
          </p:cNvSpPr>
          <p:nvPr>
            <p:ph type="body" sz="quarter" idx="11" hasCustomPrompt="1"/>
          </p:nvPr>
        </p:nvSpPr>
        <p:spPr>
          <a:xfrm>
            <a:off x="443748" y="314382"/>
            <a:ext cx="3492293" cy="216384"/>
          </a:xfrm>
          <a:prstGeom prst="rect">
            <a:avLst/>
          </a:prstGeom>
        </p:spPr>
        <p:txBody>
          <a:bodyPr vert="horz" lIns="34267" tIns="17132" rIns="34267" bIns="17132"/>
          <a:lstStyle>
            <a:lvl1pPr marL="0" indent="0">
              <a:buNone/>
              <a:defRPr sz="900" baseline="0">
                <a:solidFill>
                  <a:schemeClr val="bg2"/>
                </a:solidFill>
                <a:latin typeface="+mn-lt"/>
                <a:cs typeface="Karla"/>
              </a:defRPr>
            </a:lvl1pPr>
          </a:lstStyle>
          <a:p>
            <a:pPr lvl="0"/>
            <a:r>
              <a:rPr lang="en-GB" noProof="0" dirty="0"/>
              <a:t>MONTH / DAY / YEAR</a:t>
            </a:r>
          </a:p>
        </p:txBody>
      </p:sp>
      <p:pic>
        <p:nvPicPr>
          <p:cNvPr id="10" name="Imagen 9" descr="Agility_logos_pp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59966" y="5337212"/>
            <a:ext cx="3855219" cy="1066800"/>
          </a:xfrm>
          <a:prstGeom prst="rect">
            <a:avLst/>
          </a:prstGeom>
        </p:spPr>
      </p:pic>
    </p:spTree>
    <p:extLst>
      <p:ext uri="{BB962C8B-B14F-4D97-AF65-F5344CB8AC3E}">
        <p14:creationId xmlns:p14="http://schemas.microsoft.com/office/powerpoint/2010/main" val="398865624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Internal Cover">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65C2EEC-F2DD-264D-8279-13327B685EA8}"/>
              </a:ext>
            </a:extLst>
          </p:cNvPr>
          <p:cNvPicPr>
            <a:picLocks noChangeAspect="1"/>
          </p:cNvPicPr>
          <p:nvPr userDrawn="1"/>
        </p:nvPicPr>
        <p:blipFill rotWithShape="1">
          <a:blip r:embed="rId2"/>
          <a:srcRect t="906" r="672" b="1039"/>
          <a:stretch/>
        </p:blipFill>
        <p:spPr>
          <a:xfrm>
            <a:off x="3346283" y="1"/>
            <a:ext cx="8845717" cy="6858000"/>
          </a:xfrm>
          <a:prstGeom prst="rect">
            <a:avLst/>
          </a:prstGeom>
        </p:spPr>
      </p:pic>
      <p:sp>
        <p:nvSpPr>
          <p:cNvPr id="13" name="Marcador de texto 6"/>
          <p:cNvSpPr>
            <a:spLocks noGrp="1"/>
          </p:cNvSpPr>
          <p:nvPr>
            <p:ph type="body" sz="quarter" idx="10" hasCustomPrompt="1"/>
          </p:nvPr>
        </p:nvSpPr>
        <p:spPr>
          <a:xfrm>
            <a:off x="444108" y="1016349"/>
            <a:ext cx="5435896" cy="1548556"/>
          </a:xfrm>
          <a:prstGeom prst="rect">
            <a:avLst/>
          </a:prstGeom>
        </p:spPr>
        <p:txBody>
          <a:bodyPr vert="horz" lIns="34267" tIns="17132" rIns="34267" bIns="17132"/>
          <a:lstStyle>
            <a:lvl1pPr marL="0" indent="0">
              <a:buNone/>
              <a:defRPr sz="4499" b="1" i="0" spc="-149" baseline="0">
                <a:solidFill>
                  <a:schemeClr val="tx2"/>
                </a:solidFill>
                <a:latin typeface="Karla"/>
                <a:cs typeface="Karla"/>
              </a:defRPr>
            </a:lvl1pPr>
          </a:lstStyle>
          <a:p>
            <a:pPr lvl="0"/>
            <a:r>
              <a:rPr lang="en-US" noProof="0" dirty="0"/>
              <a:t>Click here to insert presentation title</a:t>
            </a:r>
          </a:p>
        </p:txBody>
      </p:sp>
      <p:sp>
        <p:nvSpPr>
          <p:cNvPr id="14" name="Marcador de texto 13"/>
          <p:cNvSpPr>
            <a:spLocks noGrp="1"/>
          </p:cNvSpPr>
          <p:nvPr>
            <p:ph type="body" sz="quarter" idx="12" hasCustomPrompt="1"/>
          </p:nvPr>
        </p:nvSpPr>
        <p:spPr>
          <a:xfrm>
            <a:off x="443748" y="2672920"/>
            <a:ext cx="5400256" cy="1044575"/>
          </a:xfrm>
          <a:prstGeom prst="rect">
            <a:avLst/>
          </a:prstGeom>
        </p:spPr>
        <p:txBody>
          <a:bodyPr vert="horz" lIns="34267" tIns="17132" rIns="34267" bIns="17132"/>
          <a:lstStyle>
            <a:lvl1pPr marL="0" indent="0">
              <a:buNone/>
              <a:defRPr sz="2500" spc="-74" baseline="0">
                <a:solidFill>
                  <a:schemeClr val="tx1"/>
                </a:solidFill>
                <a:latin typeface="Karla"/>
                <a:cs typeface="Karla"/>
              </a:defRPr>
            </a:lvl1pPr>
          </a:lstStyle>
          <a:p>
            <a:pPr lvl="0"/>
            <a:r>
              <a:rPr lang="en-US" noProof="0" dirty="0"/>
              <a:t>Click here to insert subtitle</a:t>
            </a:r>
          </a:p>
        </p:txBody>
      </p:sp>
      <p:sp>
        <p:nvSpPr>
          <p:cNvPr id="15" name="Marcador de texto 11"/>
          <p:cNvSpPr>
            <a:spLocks noGrp="1"/>
          </p:cNvSpPr>
          <p:nvPr>
            <p:ph type="body" sz="quarter" idx="11" hasCustomPrompt="1"/>
          </p:nvPr>
        </p:nvSpPr>
        <p:spPr>
          <a:xfrm>
            <a:off x="443748" y="314382"/>
            <a:ext cx="3492293" cy="216384"/>
          </a:xfrm>
          <a:prstGeom prst="rect">
            <a:avLst/>
          </a:prstGeom>
        </p:spPr>
        <p:txBody>
          <a:bodyPr vert="horz" lIns="34267" tIns="17132" rIns="34267" bIns="17132"/>
          <a:lstStyle>
            <a:lvl1pPr marL="0" indent="0">
              <a:buNone/>
              <a:defRPr sz="900" baseline="0">
                <a:solidFill>
                  <a:schemeClr val="tx2"/>
                </a:solidFill>
                <a:latin typeface="Karla"/>
                <a:cs typeface="Karla"/>
              </a:defRPr>
            </a:lvl1pPr>
          </a:lstStyle>
          <a:p>
            <a:pPr lvl="0"/>
            <a:r>
              <a:rPr lang="en-GB" noProof="0" dirty="0"/>
              <a:t>MONTH / DAY / YEAR</a:t>
            </a:r>
          </a:p>
        </p:txBody>
      </p:sp>
      <p:cxnSp>
        <p:nvCxnSpPr>
          <p:cNvPr id="8" name="Conector recto 7">
            <a:extLst>
              <a:ext uri="{FF2B5EF4-FFF2-40B4-BE49-F238E27FC236}">
                <a16:creationId xmlns:a16="http://schemas.microsoft.com/office/drawing/2014/main" id="{3A294987-36C5-1440-8687-EFE01C38D955}"/>
              </a:ext>
            </a:extLst>
          </p:cNvPr>
          <p:cNvCxnSpPr/>
          <p:nvPr userDrawn="1"/>
        </p:nvCxnSpPr>
        <p:spPr>
          <a:xfrm flipV="1">
            <a:off x="443752" y="620712"/>
            <a:ext cx="4932513"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9" name="Imagen 8" descr="Agility_logos_ppt-03.png">
            <a:extLst>
              <a:ext uri="{FF2B5EF4-FFF2-40B4-BE49-F238E27FC236}">
                <a16:creationId xmlns:a16="http://schemas.microsoft.com/office/drawing/2014/main" id="{1F32402F-CA39-374D-9E7E-6F578ACA4C8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59966" y="5337212"/>
            <a:ext cx="3855219" cy="1066800"/>
          </a:xfrm>
          <a:prstGeom prst="rect">
            <a:avLst/>
          </a:prstGeom>
        </p:spPr>
      </p:pic>
    </p:spTree>
    <p:extLst>
      <p:ext uri="{BB962C8B-B14F-4D97-AF65-F5344CB8AC3E}">
        <p14:creationId xmlns:p14="http://schemas.microsoft.com/office/powerpoint/2010/main" val="73503629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14" name="Marcador de texto 13"/>
          <p:cNvSpPr>
            <a:spLocks noGrp="1"/>
          </p:cNvSpPr>
          <p:nvPr>
            <p:ph type="body" sz="quarter" idx="12" hasCustomPrompt="1"/>
          </p:nvPr>
        </p:nvSpPr>
        <p:spPr>
          <a:xfrm>
            <a:off x="336113" y="1448780"/>
            <a:ext cx="6192241" cy="4932549"/>
          </a:xfrm>
          <a:prstGeom prst="rect">
            <a:avLst/>
          </a:prstGeom>
        </p:spPr>
        <p:txBody>
          <a:bodyPr vert="horz" lIns="34267" tIns="17132" rIns="34267" bIns="17132"/>
          <a:lstStyle>
            <a:lvl1pPr marL="456796" marR="0" indent="-456796" algn="l" defTabSz="456796" rtl="0" eaLnBrk="1" fontAlgn="base" latinLnBrk="0" hangingPunct="1">
              <a:lnSpc>
                <a:spcPct val="100000"/>
              </a:lnSpc>
              <a:spcBef>
                <a:spcPct val="20000"/>
              </a:spcBef>
              <a:spcAft>
                <a:spcPct val="0"/>
              </a:spcAft>
              <a:buClrTx/>
              <a:buSzTx/>
              <a:buFont typeface="+mj-lt"/>
              <a:buAutoNum type="arabicPeriod"/>
              <a:tabLst/>
              <a:defRPr sz="2500" b="0" spc="-74" baseline="0">
                <a:solidFill>
                  <a:schemeClr val="tx2"/>
                </a:solidFill>
                <a:latin typeface="+mn-lt"/>
                <a:cs typeface="Karla"/>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dirty="0"/>
              <a:t>Subject 1</a:t>
            </a:r>
          </a:p>
        </p:txBody>
      </p:sp>
      <p:sp>
        <p:nvSpPr>
          <p:cNvPr id="17" name="Marcador de texto 16"/>
          <p:cNvSpPr>
            <a:spLocks noGrp="1"/>
          </p:cNvSpPr>
          <p:nvPr>
            <p:ph type="body" sz="quarter" idx="13" hasCustomPrompt="1"/>
          </p:nvPr>
        </p:nvSpPr>
        <p:spPr>
          <a:xfrm>
            <a:off x="6744347" y="1448780"/>
            <a:ext cx="2376179" cy="4932549"/>
          </a:xfrm>
          <a:prstGeom prst="rect">
            <a:avLst/>
          </a:prstGeom>
        </p:spPr>
        <p:txBody>
          <a:bodyPr vert="horz" lIns="34267" tIns="17132" rIns="34267" bIns="17132"/>
          <a:lstStyle>
            <a:lvl1pPr marL="0" indent="0" algn="r">
              <a:buNone/>
              <a:defRPr sz="2500" b="0" spc="-74">
                <a:solidFill>
                  <a:schemeClr val="tx2"/>
                </a:solidFill>
                <a:latin typeface="+mn-lt"/>
                <a:cs typeface="Karla"/>
              </a:defRPr>
            </a:lvl1pPr>
            <a:lvl2pPr>
              <a:defRPr>
                <a:latin typeface="+mn-lt"/>
              </a:defRPr>
            </a:lvl2pPr>
          </a:lstStyle>
          <a:p>
            <a:pPr lvl="0"/>
            <a:r>
              <a:rPr lang="en-US" noProof="0" dirty="0"/>
              <a:t>				00</a:t>
            </a:r>
          </a:p>
        </p:txBody>
      </p:sp>
      <p:pic>
        <p:nvPicPr>
          <p:cNvPr id="8" name="Imagen 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7" name="Marcador de texto 6"/>
          <p:cNvSpPr>
            <a:spLocks noGrp="1"/>
          </p:cNvSpPr>
          <p:nvPr>
            <p:ph type="body" sz="quarter" idx="34" hasCustomPrompt="1"/>
          </p:nvPr>
        </p:nvSpPr>
        <p:spPr>
          <a:xfrm>
            <a:off x="336109" y="440668"/>
            <a:ext cx="8783832" cy="756084"/>
          </a:xfrm>
          <a:prstGeom prst="rect">
            <a:avLst/>
          </a:prstGeom>
        </p:spPr>
        <p:txBody>
          <a:bodyPr vert="horz" lIns="34267" tIns="17132" rIns="34267" bIns="17132"/>
          <a:lstStyle>
            <a:lvl1pPr marL="0" marR="0" indent="0" algn="l" defTabSz="457109" rtl="0" eaLnBrk="1" fontAlgn="base" latinLnBrk="0" hangingPunct="1">
              <a:lnSpc>
                <a:spcPct val="100000"/>
              </a:lnSpc>
              <a:spcBef>
                <a:spcPct val="20000"/>
              </a:spcBef>
              <a:spcAft>
                <a:spcPct val="0"/>
              </a:spcAft>
              <a:buClrTx/>
              <a:buSzTx/>
              <a:buFontTx/>
              <a:buNone/>
              <a:tabLst/>
              <a:defRPr sz="3499" b="1" i="0" spc="-74" baseline="0">
                <a:solidFill>
                  <a:schemeClr val="tx2"/>
                </a:solidFill>
                <a:latin typeface="+mj-lt"/>
                <a:cs typeface="Karla"/>
              </a:defRPr>
            </a:lvl1pPr>
          </a:lstStyle>
          <a:p>
            <a:pPr lvl="0"/>
            <a:r>
              <a:rPr lang="en-US" noProof="0" dirty="0"/>
              <a:t>Agenda (Karla 70)</a:t>
            </a:r>
          </a:p>
          <a:p>
            <a:pPr lvl="0"/>
            <a:endParaRPr lang="en-US" noProof="0" dirty="0"/>
          </a:p>
        </p:txBody>
      </p:sp>
      <p:sp>
        <p:nvSpPr>
          <p:cNvPr id="6"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2"/>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9" name="Conector recto 6"/>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883849710"/>
      </p:ext>
    </p:extLst>
  </p:cSld>
  <p:clrMapOvr>
    <a:masterClrMapping/>
  </p:clrMapOvr>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lstStyle/>
          <a:p>
            <a:r>
              <a:rPr lang="en-US" dirty="0"/>
              <a:t>Click to edit Master title style</a:t>
            </a:r>
          </a:p>
        </p:txBody>
      </p:sp>
      <p:sp>
        <p:nvSpPr>
          <p:cNvPr id="4"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5"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6"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1" name="Slide Number Placeholder 10"/>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645EB43A-5775-4200-8846-86C8FD92F8B7}" type="slidenum">
              <a:rPr/>
              <a:pPr/>
              <a:t>‹#›</a:t>
            </a:fld>
            <a:endParaRPr/>
          </a:p>
        </p:txBody>
      </p:sp>
    </p:spTree>
    <p:extLst>
      <p:ext uri="{BB962C8B-B14F-4D97-AF65-F5344CB8AC3E}">
        <p14:creationId xmlns:p14="http://schemas.microsoft.com/office/powerpoint/2010/main" val="290400180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Section Divider 01_Solid">
    <p:bg>
      <p:bgPr>
        <a:solidFill>
          <a:schemeClr val="tx2"/>
        </a:solidFill>
        <a:effectLst/>
      </p:bgPr>
    </p:bg>
    <p:spTree>
      <p:nvGrpSpPr>
        <p:cNvPr id="1" name=""/>
        <p:cNvGrpSpPr/>
        <p:nvPr/>
      </p:nvGrpSpPr>
      <p:grpSpPr>
        <a:xfrm>
          <a:off x="0" y="0"/>
          <a:ext cx="0" cy="0"/>
          <a:chOff x="0" y="0"/>
          <a:chExt cx="0" cy="0"/>
        </a:xfrm>
      </p:grpSpPr>
      <p:pic>
        <p:nvPicPr>
          <p:cNvPr id="12" name="Imagen 11" descr="Agility_logos-02.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1"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sp>
        <p:nvSpPr>
          <p:cNvPr id="10"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5"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cxnSp>
        <p:nvCxnSpPr>
          <p:cNvPr id="7" name="Conector recto 6"/>
          <p:cNvCxnSpPr/>
          <p:nvPr userDrawn="1"/>
        </p:nvCxnSpPr>
        <p:spPr>
          <a:xfrm>
            <a:off x="332463" y="6543102"/>
            <a:ext cx="11051787" cy="0"/>
          </a:xfrm>
          <a:prstGeom prst="line">
            <a:avLst/>
          </a:prstGeom>
          <a:ln w="12700" cmpd="sng">
            <a:solidFill>
              <a:schemeClr val="bg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2730525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Section Divider 02_Solid">
    <p:bg>
      <p:bgPr>
        <a:solidFill>
          <a:schemeClr val="accent4"/>
        </a:solidFill>
        <a:effectLst/>
      </p:bgPr>
    </p:bg>
    <p:spTree>
      <p:nvGrpSpPr>
        <p:cNvPr id="1" name=""/>
        <p:cNvGrpSpPr/>
        <p:nvPr/>
      </p:nvGrpSpPr>
      <p:grpSpPr>
        <a:xfrm>
          <a:off x="0" y="0"/>
          <a:ext cx="0" cy="0"/>
          <a:chOff x="0" y="0"/>
          <a:chExt cx="0" cy="0"/>
        </a:xfrm>
      </p:grpSpPr>
      <p:pic>
        <p:nvPicPr>
          <p:cNvPr id="12" name="Imagen 11" descr="Agility_logos-02.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1"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sp>
        <p:nvSpPr>
          <p:cNvPr id="9"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0"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cxnSp>
        <p:nvCxnSpPr>
          <p:cNvPr id="7" name="Conector recto 6"/>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398586186"/>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Internal Slide Divider">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id="{B449E1F5-22C3-CA4D-9814-365A4119ED99}"/>
              </a:ext>
            </a:extLst>
          </p:cNvPr>
          <p:cNvPicPr>
            <a:picLocks noChangeAspect="1"/>
          </p:cNvPicPr>
          <p:nvPr userDrawn="1"/>
        </p:nvPicPr>
        <p:blipFill rotWithShape="1">
          <a:blip r:embed="rId2"/>
          <a:srcRect l="1" r="26737" b="25247"/>
          <a:stretch/>
        </p:blipFill>
        <p:spPr>
          <a:xfrm>
            <a:off x="4872023" y="1762228"/>
            <a:ext cx="7319977" cy="5095773"/>
          </a:xfrm>
          <a:prstGeom prst="rect">
            <a:avLst/>
          </a:prstGeom>
        </p:spPr>
      </p:pic>
      <p:sp>
        <p:nvSpPr>
          <p:cNvPr id="13"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tx2"/>
                </a:solidFill>
                <a:latin typeface="Karla"/>
                <a:cs typeface="Karla"/>
              </a:defRPr>
            </a:lvl1pPr>
          </a:lstStyle>
          <a:p>
            <a:pPr lvl="0"/>
            <a:r>
              <a:rPr lang="en-US" noProof="0" dirty="0"/>
              <a:t>Headline (Karla 90)</a:t>
            </a:r>
          </a:p>
        </p:txBody>
      </p:sp>
      <p:sp>
        <p:nvSpPr>
          <p:cNvPr id="14"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tx2"/>
                </a:solidFill>
                <a:latin typeface="Karla"/>
                <a:cs typeface="Karla"/>
              </a:defRPr>
            </a:lvl1pPr>
          </a:lstStyle>
          <a:p>
            <a:pPr lvl="0"/>
            <a:r>
              <a:rPr lang="en-US" noProof="0" dirty="0"/>
              <a:t>Subhead (Karla 80)</a:t>
            </a:r>
          </a:p>
        </p:txBody>
      </p:sp>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7A7167"/>
                </a:solidFill>
                <a:latin typeface="Karla"/>
                <a:cs typeface="Karla"/>
              </a:rPr>
              <a:t>  </a:t>
            </a:r>
            <a:fld id="{E77AE0A1-274E-2944-95AF-27E87E012DC6}" type="slidenum">
              <a:rPr lang="en-US" sz="950" spc="-74" smtClean="0">
                <a:solidFill>
                  <a:schemeClr val="tx2"/>
                </a:solidFill>
                <a:latin typeface="Karla"/>
                <a:cs typeface="Karla"/>
              </a:rPr>
              <a:pPr algn="r" eaLnBrk="1" hangingPunct="1">
                <a:lnSpc>
                  <a:spcPct val="120000"/>
                </a:lnSpc>
                <a:defRPr/>
              </a:pPr>
              <a:t>‹#›</a:t>
            </a:fld>
            <a:endParaRPr lang="en-US" sz="950" spc="-74" dirty="0">
              <a:solidFill>
                <a:schemeClr val="tx2"/>
              </a:solidFill>
              <a:latin typeface="Karla"/>
              <a:cs typeface="Karla"/>
            </a:endParaRPr>
          </a:p>
        </p:txBody>
      </p:sp>
      <p:sp>
        <p:nvSpPr>
          <p:cNvPr id="2" name="CuadroTexto 1">
            <a:extLst>
              <a:ext uri="{FF2B5EF4-FFF2-40B4-BE49-F238E27FC236}">
                <a16:creationId xmlns:a16="http://schemas.microsoft.com/office/drawing/2014/main" id="{7DA6D24C-1198-A14F-A424-2FE66501638F}"/>
              </a:ext>
            </a:extLst>
          </p:cNvPr>
          <p:cNvSpPr txBox="1"/>
          <p:nvPr userDrawn="1"/>
        </p:nvSpPr>
        <p:spPr>
          <a:xfrm>
            <a:off x="3069372" y="5669280"/>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Etelka Text Pro"/>
              <a:cs typeface="Etelka Text Pro"/>
            </a:endParaRPr>
          </a:p>
        </p:txBody>
      </p:sp>
      <p:sp>
        <p:nvSpPr>
          <p:cNvPr id="12" name="CuadroTexto 11">
            <a:extLst>
              <a:ext uri="{FF2B5EF4-FFF2-40B4-BE49-F238E27FC236}">
                <a16:creationId xmlns:a16="http://schemas.microsoft.com/office/drawing/2014/main" id="{515A409F-138F-9B49-B919-6AB978045662}"/>
              </a:ext>
            </a:extLst>
          </p:cNvPr>
          <p:cNvSpPr txBox="1"/>
          <p:nvPr userDrawn="1"/>
        </p:nvSpPr>
        <p:spPr>
          <a:xfrm>
            <a:off x="3931408" y="8339328"/>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Etelka Text Pro"/>
              <a:cs typeface="Etelka Text Pro"/>
            </a:endParaRPr>
          </a:p>
        </p:txBody>
      </p:sp>
      <p:sp>
        <p:nvSpPr>
          <p:cNvPr id="22" name="CuadroTexto 21">
            <a:extLst>
              <a:ext uri="{FF2B5EF4-FFF2-40B4-BE49-F238E27FC236}">
                <a16:creationId xmlns:a16="http://schemas.microsoft.com/office/drawing/2014/main" id="{A7C2C12A-7D25-8C4B-A122-1228DB5250CE}"/>
              </a:ext>
            </a:extLst>
          </p:cNvPr>
          <p:cNvSpPr txBox="1"/>
          <p:nvPr userDrawn="1"/>
        </p:nvSpPr>
        <p:spPr>
          <a:xfrm>
            <a:off x="2742843" y="8138160"/>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Etelka Text Pro"/>
              <a:cs typeface="Etelka Text Pro"/>
            </a:endParaRPr>
          </a:p>
        </p:txBody>
      </p:sp>
      <p:pic>
        <p:nvPicPr>
          <p:cNvPr id="16" name="Imagen 15" descr="Agility_logos_ppt-01.png">
            <a:extLst>
              <a:ext uri="{FF2B5EF4-FFF2-40B4-BE49-F238E27FC236}">
                <a16:creationId xmlns:a16="http://schemas.microsoft.com/office/drawing/2014/main" id="{37715B7E-5254-FE4F-99C0-BDF3AD4EFE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Tree>
    <p:extLst>
      <p:ext uri="{BB962C8B-B14F-4D97-AF65-F5344CB8AC3E}">
        <p14:creationId xmlns:p14="http://schemas.microsoft.com/office/powerpoint/2010/main" val="248622933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1">
    <p:bg>
      <p:bgRef idx="1001">
        <a:schemeClr val="bg1"/>
      </p:bgRef>
    </p:bg>
    <p:spTree>
      <p:nvGrpSpPr>
        <p:cNvPr id="1" name=""/>
        <p:cNvGrpSpPr/>
        <p:nvPr/>
      </p:nvGrpSpPr>
      <p:grpSpPr>
        <a:xfrm>
          <a:off x="0" y="0"/>
          <a:ext cx="0" cy="0"/>
          <a:chOff x="0" y="0"/>
          <a:chExt cx="0" cy="0"/>
        </a:xfrm>
      </p:grpSpPr>
      <p:pic>
        <p:nvPicPr>
          <p:cNvPr id="5" name="Imagen 4" descr="Backgrounds12.jpg"/>
          <p:cNvPicPr>
            <a:picLocks noChangeAspect="1"/>
          </p:cNvPicPr>
          <p:nvPr userDrawn="1"/>
        </p:nvPicPr>
        <p:blipFill rotWithShape="1">
          <a:blip r:embed="rId2">
            <a:extLst>
              <a:ext uri="{28A0092B-C50C-407E-A947-70E740481C1C}">
                <a14:useLocalDpi xmlns:a14="http://schemas.microsoft.com/office/drawing/2010/main" val="0"/>
              </a:ext>
            </a:extLst>
          </a:blip>
          <a:srcRect t="25010"/>
          <a:stretch/>
        </p:blipFill>
        <p:spPr>
          <a:xfrm>
            <a:off x="0" y="0"/>
            <a:ext cx="12192000" cy="6858000"/>
          </a:xfrm>
          <a:prstGeom prst="rect">
            <a:avLst/>
          </a:prstGeom>
        </p:spPr>
      </p:pic>
      <p:pic>
        <p:nvPicPr>
          <p:cNvPr id="18" name="Imagen 17"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8" name="Conector recto 7"/>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2"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3"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719625902"/>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2">
    <p:bg>
      <p:bgRef idx="1001">
        <a:schemeClr val="bg1"/>
      </p:bgRef>
    </p:bg>
    <p:spTree>
      <p:nvGrpSpPr>
        <p:cNvPr id="1" name=""/>
        <p:cNvGrpSpPr/>
        <p:nvPr/>
      </p:nvGrpSpPr>
      <p:grpSpPr>
        <a:xfrm>
          <a:off x="0" y="0"/>
          <a:ext cx="0" cy="0"/>
          <a:chOff x="0" y="0"/>
          <a:chExt cx="0" cy="0"/>
        </a:xfrm>
      </p:grpSpPr>
      <p:pic>
        <p:nvPicPr>
          <p:cNvPr id="3" name="Imagen 2" descr="Backgrounds11.jpg"/>
          <p:cNvPicPr>
            <a:picLocks noChangeAspect="1"/>
          </p:cNvPicPr>
          <p:nvPr userDrawn="1"/>
        </p:nvPicPr>
        <p:blipFill rotWithShape="1">
          <a:blip r:embed="rId2">
            <a:extLst>
              <a:ext uri="{28A0092B-C50C-407E-A947-70E740481C1C}">
                <a14:useLocalDpi xmlns:a14="http://schemas.microsoft.com/office/drawing/2010/main" val="0"/>
              </a:ext>
            </a:extLst>
          </a:blip>
          <a:srcRect t="25009"/>
          <a:stretch/>
        </p:blipFill>
        <p:spPr>
          <a:xfrm>
            <a:off x="0" y="0"/>
            <a:ext cx="12192000" cy="6858000"/>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13" name="Conector recto 12"/>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4" name="Imagen 13"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5"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6"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4293781045"/>
      </p:ext>
    </p:extLst>
  </p:cSld>
  <p:clrMapOvr>
    <a:overrideClrMapping bg1="lt1" tx1="dk1" bg2="lt2" tx2="dk2" accent1="accent1" accent2="accent2" accent3="accent3" accent4="accent4" accent5="accent5" accent6="accent6" hlink="hlink" folHlink="folHlink"/>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3">
    <p:bg>
      <p:bgRef idx="1001">
        <a:schemeClr val="bg1"/>
      </p:bgRef>
    </p:bg>
    <p:spTree>
      <p:nvGrpSpPr>
        <p:cNvPr id="1" name=""/>
        <p:cNvGrpSpPr/>
        <p:nvPr/>
      </p:nvGrpSpPr>
      <p:grpSpPr>
        <a:xfrm>
          <a:off x="0" y="0"/>
          <a:ext cx="0" cy="0"/>
          <a:chOff x="0" y="0"/>
          <a:chExt cx="0" cy="0"/>
        </a:xfrm>
      </p:grpSpPr>
      <p:pic>
        <p:nvPicPr>
          <p:cNvPr id="2" name="Imagen 1" descr="Backgrounds10.jpg"/>
          <p:cNvPicPr>
            <a:picLocks noChangeAspect="1"/>
          </p:cNvPicPr>
          <p:nvPr userDrawn="1"/>
        </p:nvPicPr>
        <p:blipFill rotWithShape="1">
          <a:blip r:embed="rId2">
            <a:extLst>
              <a:ext uri="{28A0092B-C50C-407E-A947-70E740481C1C}">
                <a14:useLocalDpi xmlns:a14="http://schemas.microsoft.com/office/drawing/2010/main" val="0"/>
              </a:ext>
            </a:extLst>
          </a:blip>
          <a:srcRect t="25090"/>
          <a:stretch/>
        </p:blipFill>
        <p:spPr>
          <a:xfrm>
            <a:off x="0" y="-8439"/>
            <a:ext cx="12207019" cy="6859072"/>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sp>
        <p:nvSpPr>
          <p:cNvPr id="13"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14" name="Conector recto 13"/>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5" name="Imagen 14"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6"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7"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2264585730"/>
      </p:ext>
    </p:extLst>
  </p:cSld>
  <p:clrMapOvr>
    <a:overrideClrMapping bg1="lt1" tx1="dk1" bg2="lt2" tx2="dk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4">
    <p:bg>
      <p:bgRef idx="1001">
        <a:schemeClr val="bg1"/>
      </p:bgRef>
    </p:bg>
    <p:spTree>
      <p:nvGrpSpPr>
        <p:cNvPr id="1" name=""/>
        <p:cNvGrpSpPr/>
        <p:nvPr/>
      </p:nvGrpSpPr>
      <p:grpSpPr>
        <a:xfrm>
          <a:off x="0" y="0"/>
          <a:ext cx="0" cy="0"/>
          <a:chOff x="0" y="0"/>
          <a:chExt cx="0" cy="0"/>
        </a:xfrm>
      </p:grpSpPr>
      <p:pic>
        <p:nvPicPr>
          <p:cNvPr id="3" name="Imagen 2" descr="Backgrounds9.jpg"/>
          <p:cNvPicPr>
            <a:picLocks noChangeAspect="1"/>
          </p:cNvPicPr>
          <p:nvPr userDrawn="1"/>
        </p:nvPicPr>
        <p:blipFill rotWithShape="1">
          <a:blip r:embed="rId2">
            <a:extLst>
              <a:ext uri="{28A0092B-C50C-407E-A947-70E740481C1C}">
                <a14:useLocalDpi xmlns:a14="http://schemas.microsoft.com/office/drawing/2010/main" val="0"/>
              </a:ext>
            </a:extLst>
          </a:blip>
          <a:srcRect t="12898" b="12112"/>
          <a:stretch/>
        </p:blipFill>
        <p:spPr>
          <a:xfrm>
            <a:off x="0" y="0"/>
            <a:ext cx="12192000" cy="6858000"/>
          </a:xfrm>
          <a:prstGeom prst="rect">
            <a:avLst/>
          </a:prstGeom>
        </p:spPr>
      </p:pic>
      <p:sp>
        <p:nvSpPr>
          <p:cNvPr id="8"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9" name="Conector recto 8"/>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0" name="Imagen 9"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1"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5"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3354175732"/>
      </p:ext>
    </p:extLst>
  </p:cSld>
  <p:clrMapOvr>
    <a:overrideClrMapping bg1="lt1" tx1="dk1" bg2="lt2" tx2="dk2" accent1="accent1" accent2="accent2" accent3="accent3" accent4="accent4" accent5="accent5" accent6="accent6" hlink="hlink" folHlink="folHlink"/>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5">
    <p:bg>
      <p:bgRef idx="1001">
        <a:schemeClr val="bg1"/>
      </p:bgRef>
    </p:bg>
    <p:spTree>
      <p:nvGrpSpPr>
        <p:cNvPr id="1" name=""/>
        <p:cNvGrpSpPr/>
        <p:nvPr/>
      </p:nvGrpSpPr>
      <p:grpSpPr>
        <a:xfrm>
          <a:off x="0" y="0"/>
          <a:ext cx="0" cy="0"/>
          <a:chOff x="0" y="0"/>
          <a:chExt cx="0" cy="0"/>
        </a:xfrm>
      </p:grpSpPr>
      <p:pic>
        <p:nvPicPr>
          <p:cNvPr id="2" name="Imagen 1" descr="Backgrounds8.jpg"/>
          <p:cNvPicPr>
            <a:picLocks noChangeAspect="1"/>
          </p:cNvPicPr>
          <p:nvPr userDrawn="1"/>
        </p:nvPicPr>
        <p:blipFill rotWithShape="1">
          <a:blip r:embed="rId2">
            <a:extLst>
              <a:ext uri="{28A0092B-C50C-407E-A947-70E740481C1C}">
                <a14:useLocalDpi xmlns:a14="http://schemas.microsoft.com/office/drawing/2010/main" val="0"/>
              </a:ext>
            </a:extLst>
          </a:blip>
          <a:srcRect t="25079"/>
          <a:stretch/>
        </p:blipFill>
        <p:spPr>
          <a:xfrm>
            <a:off x="0" y="1"/>
            <a:ext cx="12192000" cy="6851644"/>
          </a:xfrm>
          <a:prstGeom prst="rect">
            <a:avLst/>
          </a:prstGeom>
        </p:spPr>
      </p:pic>
      <p:sp>
        <p:nvSpPr>
          <p:cNvPr id="13"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14" name="Conector recto 13"/>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5" name="Imagen 14"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6"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7"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2848735512"/>
      </p:ext>
    </p:extLst>
  </p:cSld>
  <p:clrMapOvr>
    <a:overrideClrMapping bg1="lt1" tx1="dk1" bg2="lt2" tx2="dk2" accent1="accent1" accent2="accent2" accent3="accent3" accent4="accent4" accent5="accent5" accent6="accent6" hlink="hlink" folHlink="folHlink"/>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6">
    <p:bg>
      <p:bgRef idx="1001">
        <a:schemeClr val="bg1"/>
      </p:bgRef>
    </p:bg>
    <p:spTree>
      <p:nvGrpSpPr>
        <p:cNvPr id="1" name=""/>
        <p:cNvGrpSpPr/>
        <p:nvPr/>
      </p:nvGrpSpPr>
      <p:grpSpPr>
        <a:xfrm>
          <a:off x="0" y="0"/>
          <a:ext cx="0" cy="0"/>
          <a:chOff x="0" y="0"/>
          <a:chExt cx="0" cy="0"/>
        </a:xfrm>
      </p:grpSpPr>
      <p:pic>
        <p:nvPicPr>
          <p:cNvPr id="3" name="Imagen 2" descr="Backgrounds6.jpg"/>
          <p:cNvPicPr>
            <a:picLocks noChangeAspect="1"/>
          </p:cNvPicPr>
          <p:nvPr userDrawn="1"/>
        </p:nvPicPr>
        <p:blipFill rotWithShape="1">
          <a:blip r:embed="rId2">
            <a:extLst>
              <a:ext uri="{28A0092B-C50C-407E-A947-70E740481C1C}">
                <a14:useLocalDpi xmlns:a14="http://schemas.microsoft.com/office/drawing/2010/main" val="0"/>
              </a:ext>
            </a:extLst>
          </a:blip>
          <a:srcRect t="25010"/>
          <a:stretch/>
        </p:blipFill>
        <p:spPr>
          <a:xfrm>
            <a:off x="3696" y="0"/>
            <a:ext cx="12192000" cy="6858000"/>
          </a:xfrm>
          <a:prstGeom prst="rect">
            <a:avLst/>
          </a:prstGeom>
        </p:spPr>
      </p:pic>
      <p:sp>
        <p:nvSpPr>
          <p:cNvPr id="13"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14" name="Conector recto 13"/>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5" name="Imagen 14"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6"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7"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770680652"/>
      </p:ext>
    </p:extLst>
  </p:cSld>
  <p:clrMapOvr>
    <a:overrideClrMapping bg1="lt1" tx1="dk1" bg2="lt2" tx2="dk2" accent1="accent1" accent2="accent2" accent3="accent3" accent4="accent4" accent5="accent5" accent6="accent6" hlink="hlink" folHlink="folHlink"/>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7">
    <p:bg>
      <p:bgRef idx="1001">
        <a:schemeClr val="bg1"/>
      </p:bgRef>
    </p:bg>
    <p:spTree>
      <p:nvGrpSpPr>
        <p:cNvPr id="1" name=""/>
        <p:cNvGrpSpPr/>
        <p:nvPr/>
      </p:nvGrpSpPr>
      <p:grpSpPr>
        <a:xfrm>
          <a:off x="0" y="0"/>
          <a:ext cx="0" cy="0"/>
          <a:chOff x="0" y="0"/>
          <a:chExt cx="0" cy="0"/>
        </a:xfrm>
      </p:grpSpPr>
      <p:pic>
        <p:nvPicPr>
          <p:cNvPr id="2" name="Imagen 1" descr="Backgrounds13.jpg"/>
          <p:cNvPicPr>
            <a:picLocks noChangeAspect="1"/>
          </p:cNvPicPr>
          <p:nvPr userDrawn="1"/>
        </p:nvPicPr>
        <p:blipFill rotWithShape="1">
          <a:blip r:embed="rId2">
            <a:extLst>
              <a:ext uri="{28A0092B-C50C-407E-A947-70E740481C1C}">
                <a14:useLocalDpi xmlns:a14="http://schemas.microsoft.com/office/drawing/2010/main" val="0"/>
              </a:ext>
            </a:extLst>
          </a:blip>
          <a:srcRect t="25010"/>
          <a:stretch/>
        </p:blipFill>
        <p:spPr>
          <a:xfrm>
            <a:off x="0" y="-7556"/>
            <a:ext cx="12205432" cy="6865556"/>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pic>
        <p:nvPicPr>
          <p:cNvPr id="9" name="Imagen 8"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0"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1"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cxnSp>
        <p:nvCxnSpPr>
          <p:cNvPr id="17" name="Conector recto 16"/>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28374653"/>
      </p:ext>
    </p:extLst>
  </p:cSld>
  <p:clrMapOvr>
    <a:overrideClrMapping bg1="lt1" tx1="dk1" bg2="lt2" tx2="dk2" accent1="accent1" accent2="accent2" accent3="accent3" accent4="accent4" accent5="accent5" accent6="accent6" hlink="hlink" folHlink="folHlink"/>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507488" y="2465776"/>
            <a:ext cx="6761019"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507489" y="2960238"/>
            <a:ext cx="6761019"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507488" y="4248374"/>
            <a:ext cx="4416136" cy="458096"/>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p:nvGrpSpPr>
        <p:grpSpPr bwMode="auto">
          <a:xfrm>
            <a:off x="1220321" y="1888191"/>
            <a:ext cx="7262091" cy="1984842"/>
            <a:chOff x="1288" y="1521"/>
            <a:chExt cx="3774"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353"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4" cstate="print"/>
          <a:stretch>
            <a:fillRect/>
          </a:stretch>
        </p:blipFill>
        <p:spPr>
          <a:xfrm>
            <a:off x="1108364" y="829236"/>
            <a:ext cx="2888896" cy="392621"/>
          </a:xfrm>
          <a:prstGeom prst="rect">
            <a:avLst/>
          </a:prstGeom>
        </p:spPr>
      </p:pic>
      <p:sp>
        <p:nvSpPr>
          <p:cNvPr id="10" name="ClientLogo" hidden="1"/>
          <p:cNvSpPr>
            <a:spLocks noChangeArrowheads="1"/>
          </p:cNvSpPr>
          <p:nvPr userDrawn="1">
            <p:custDataLst>
              <p:tags r:id="rId2"/>
            </p:custDataLst>
          </p:nvPr>
        </p:nvSpPr>
        <p:spPr bwMode="auto">
          <a:xfrm>
            <a:off x="8027873" y="892269"/>
            <a:ext cx="3325091" cy="806824"/>
          </a:xfrm>
          <a:prstGeom prst="rect">
            <a:avLst/>
          </a:prstGeom>
          <a:solidFill>
            <a:srgbClr val="FEDF87"/>
          </a:solidFill>
          <a:ln w="12700">
            <a:solidFill>
              <a:srgbClr val="FF0000"/>
            </a:solidFill>
            <a:prstDash val="solid"/>
            <a:miter lim="800000"/>
            <a:headEnd/>
            <a:tailEnd/>
          </a:ln>
          <a:effectLst/>
        </p:spPr>
        <p:txBody>
          <a:bodyPr wrap="square" lIns="0" tIns="49235" rIns="32823" bIns="0" anchor="t"/>
          <a:lstStyle/>
          <a:p>
            <a:pPr algn="ctr" fontAlgn="base">
              <a:spcBef>
                <a:spcPct val="0"/>
              </a:spcBef>
              <a:spcAft>
                <a:spcPct val="0"/>
              </a:spcAft>
            </a:pPr>
            <a:r>
              <a:rPr lang="en-US" sz="1100" b="1" dirty="0">
                <a:solidFill>
                  <a:srgbClr val="FF0000"/>
                </a:solidFill>
                <a:cs typeface="Arial" charset="0"/>
              </a:rPr>
              <a:t>PB Cover Logo Placeholder </a:t>
            </a:r>
            <a:br>
              <a:rPr lang="en-US" sz="1100" dirty="0">
                <a:solidFill>
                  <a:srgbClr val="FF0000"/>
                </a:solidFill>
                <a:cs typeface="Arial" charset="0"/>
              </a:rPr>
            </a:br>
            <a:r>
              <a:rPr lang="en-US" sz="1100" dirty="0">
                <a:solidFill>
                  <a:srgbClr val="FF0000"/>
                </a:solidFill>
                <a:cs typeface="Arial" charset="0"/>
              </a:rPr>
              <a:t>Delete this box if you see it on a slide, but DO NOT REMOVE this box from the slide layout. </a:t>
            </a:r>
          </a:p>
        </p:txBody>
      </p:sp>
    </p:spTree>
    <p:extLst>
      <p:ext uri="{BB962C8B-B14F-4D97-AF65-F5344CB8AC3E}">
        <p14:creationId xmlns:p14="http://schemas.microsoft.com/office/powerpoint/2010/main" val="3304255954"/>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Two Text Boxes_Subtitles">
    <p:spTree>
      <p:nvGrpSpPr>
        <p:cNvPr id="1" name=""/>
        <p:cNvGrpSpPr/>
        <p:nvPr/>
      </p:nvGrpSpPr>
      <p:grpSpPr>
        <a:xfrm>
          <a:off x="0" y="0"/>
          <a:ext cx="0" cy="0"/>
          <a:chOff x="0" y="0"/>
          <a:chExt cx="0" cy="0"/>
        </a:xfrm>
      </p:grpSpPr>
      <p:sp>
        <p:nvSpPr>
          <p:cNvPr id="4" name="Marcador de texto 3"/>
          <p:cNvSpPr>
            <a:spLocks noGrp="1"/>
          </p:cNvSpPr>
          <p:nvPr>
            <p:ph type="body" sz="quarter" idx="31" hasCustomPrompt="1"/>
          </p:nvPr>
        </p:nvSpPr>
        <p:spPr>
          <a:xfrm>
            <a:off x="336110" y="1448780"/>
            <a:ext cx="8784192" cy="288119"/>
          </a:xfrm>
          <a:prstGeom prst="rect">
            <a:avLst/>
          </a:prstGeom>
        </p:spPr>
        <p:txBody>
          <a:bodyPr vert="horz" lIns="34267" tIns="17132" rIns="34267" bIns="17132"/>
          <a:lstStyle>
            <a:lvl1pPr marL="0" indent="0">
              <a:buNone/>
              <a:defRPr sz="1800" baseline="0">
                <a:solidFill>
                  <a:schemeClr val="tx2"/>
                </a:solidFill>
                <a:latin typeface="+mn-lt"/>
                <a:cs typeface="Noto Sans Regular"/>
              </a:defRPr>
            </a:lvl1pPr>
          </a:lstStyle>
          <a:p>
            <a:pPr lvl="0"/>
            <a:r>
              <a:rPr lang="en-US" noProof="0" dirty="0"/>
              <a:t>Subtitle (Noto Sans 36)</a:t>
            </a:r>
          </a:p>
        </p:txBody>
      </p:sp>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noProof="0" dirty="0">
                <a:solidFill>
                  <a:schemeClr val="tx2"/>
                </a:solidFill>
                <a:latin typeface="+mn-lt"/>
                <a:cs typeface="Karla"/>
              </a:rPr>
              <a:t>  </a:t>
            </a:r>
            <a:fld id="{E77AE0A1-274E-2944-95AF-27E87E012DC6}" type="slidenum">
              <a:rPr lang="en-US" sz="950" spc="-74" noProof="0" smtClean="0">
                <a:solidFill>
                  <a:schemeClr val="tx2"/>
                </a:solidFill>
                <a:latin typeface="+mn-lt"/>
                <a:cs typeface="Karla"/>
              </a:rPr>
              <a:pPr algn="r" eaLnBrk="1" hangingPunct="1">
                <a:lnSpc>
                  <a:spcPct val="120000"/>
                </a:lnSpc>
                <a:defRPr/>
              </a:pPr>
              <a:t>‹#›</a:t>
            </a:fld>
            <a:endParaRPr lang="en-US" sz="950" spc="-74" noProof="0" dirty="0">
              <a:solidFill>
                <a:schemeClr val="tx2"/>
              </a:solidFill>
              <a:latin typeface="+mn-lt"/>
              <a:cs typeface="Karla"/>
            </a:endParaRPr>
          </a:p>
        </p:txBody>
      </p:sp>
      <p:sp>
        <p:nvSpPr>
          <p:cNvPr id="12" name="Marcador de texto 6"/>
          <p:cNvSpPr>
            <a:spLocks noGrp="1"/>
          </p:cNvSpPr>
          <p:nvPr>
            <p:ph type="body" sz="quarter" idx="10" hasCustomPrompt="1"/>
          </p:nvPr>
        </p:nvSpPr>
        <p:spPr>
          <a:xfrm>
            <a:off x="336111" y="4509120"/>
            <a:ext cx="11519780" cy="172819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400" b="0" i="0" spc="0" baseline="0">
                <a:solidFill>
                  <a:schemeClr val="tx1"/>
                </a:solidFill>
                <a:latin typeface="+mn-lt"/>
                <a:cs typeface="Noto Sans Regular"/>
              </a:defRPr>
            </a:lvl1pPr>
            <a:lvl2pPr marL="475828" indent="0">
              <a:buNone/>
              <a:defRPr/>
            </a:lvl2pPr>
          </a:lstStyle>
          <a:p>
            <a:pPr lvl="0"/>
            <a:r>
              <a:rPr lang="en-US" noProof="0" dirty="0"/>
              <a:t>Body Text (Noto Sans 28)</a:t>
            </a:r>
          </a:p>
        </p:txBody>
      </p:sp>
      <p:cxnSp>
        <p:nvCxnSpPr>
          <p:cNvPr id="9" name="Conector recto 8"/>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3" name="Marcador de texto 3"/>
          <p:cNvSpPr>
            <a:spLocks noGrp="1"/>
          </p:cNvSpPr>
          <p:nvPr>
            <p:ph type="body" sz="quarter" idx="32" hasCustomPrompt="1"/>
          </p:nvPr>
        </p:nvSpPr>
        <p:spPr>
          <a:xfrm>
            <a:off x="335749" y="4077072"/>
            <a:ext cx="8784192" cy="288119"/>
          </a:xfrm>
          <a:prstGeom prst="rect">
            <a:avLst/>
          </a:prstGeom>
        </p:spPr>
        <p:txBody>
          <a:bodyPr vert="horz" lIns="34267" tIns="17132" rIns="34267" bIns="17132"/>
          <a:lstStyle>
            <a:lvl1pPr marL="0" indent="0">
              <a:buNone/>
              <a:defRPr sz="1800" baseline="0">
                <a:solidFill>
                  <a:schemeClr val="tx2"/>
                </a:solidFill>
                <a:latin typeface="+mn-lt"/>
                <a:cs typeface="Noto Sans Regular"/>
              </a:defRPr>
            </a:lvl1pPr>
          </a:lstStyle>
          <a:p>
            <a:pPr lvl="0"/>
            <a:r>
              <a:rPr lang="en-US" noProof="0" dirty="0"/>
              <a:t>Subtitle (Noto Sans 36)</a:t>
            </a:r>
          </a:p>
        </p:txBody>
      </p:sp>
      <p:sp>
        <p:nvSpPr>
          <p:cNvPr id="16" name="Marcador de texto 6"/>
          <p:cNvSpPr>
            <a:spLocks noGrp="1"/>
          </p:cNvSpPr>
          <p:nvPr>
            <p:ph type="body" sz="quarter" idx="34" hasCustomPrompt="1"/>
          </p:nvPr>
        </p:nvSpPr>
        <p:spPr>
          <a:xfrm>
            <a:off x="336109" y="476672"/>
            <a:ext cx="8783832" cy="360040"/>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11" name="Marcador de texto 2">
            <a:extLst>
              <a:ext uri="{FF2B5EF4-FFF2-40B4-BE49-F238E27FC236}">
                <a16:creationId xmlns:a16="http://schemas.microsoft.com/office/drawing/2014/main" id="{29E0BDB7-1AD8-4E81-BF5A-F92DA11F682A}"/>
              </a:ext>
            </a:extLst>
          </p:cNvPr>
          <p:cNvSpPr>
            <a:spLocks noGrp="1"/>
          </p:cNvSpPr>
          <p:nvPr>
            <p:ph type="body" sz="quarter" idx="35" hasCustomPrompt="1"/>
          </p:nvPr>
        </p:nvSpPr>
        <p:spPr>
          <a:xfrm>
            <a:off x="336111" y="1880828"/>
            <a:ext cx="11519780" cy="2016252"/>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baseline="0">
                <a:solidFill>
                  <a:schemeClr val="tx1"/>
                </a:solidFill>
                <a:latin typeface="+mn-lt"/>
                <a:cs typeface="Noto Sans Regular"/>
              </a:defRPr>
            </a:lvl1pPr>
            <a:lvl2pPr>
              <a:buClr>
                <a:schemeClr val="tx2"/>
              </a:buClr>
              <a:defRPr sz="14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4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133838116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Text Box + Map Image">
    <p:spTree>
      <p:nvGrpSpPr>
        <p:cNvPr id="1" name=""/>
        <p:cNvGrpSpPr/>
        <p:nvPr/>
      </p:nvGrpSpPr>
      <p:grpSpPr>
        <a:xfrm>
          <a:off x="0" y="0"/>
          <a:ext cx="0" cy="0"/>
          <a:chOff x="0" y="0"/>
          <a:chExt cx="0" cy="0"/>
        </a:xfrm>
      </p:grpSpPr>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noProof="0" dirty="0">
                <a:solidFill>
                  <a:schemeClr val="tx2"/>
                </a:solidFill>
                <a:latin typeface="+mn-lt"/>
                <a:cs typeface="Karla"/>
              </a:rPr>
              <a:t>  </a:t>
            </a:r>
            <a:fld id="{E77AE0A1-274E-2944-95AF-27E87E012DC6}" type="slidenum">
              <a:rPr lang="en-US" sz="950" spc="-74" noProof="0" smtClean="0">
                <a:solidFill>
                  <a:schemeClr val="tx2"/>
                </a:solidFill>
                <a:latin typeface="+mn-lt"/>
                <a:cs typeface="Karla"/>
              </a:rPr>
              <a:pPr algn="r" eaLnBrk="1" hangingPunct="1">
                <a:lnSpc>
                  <a:spcPct val="120000"/>
                </a:lnSpc>
                <a:defRPr/>
              </a:pPr>
              <a:t>‹#›</a:t>
            </a:fld>
            <a:endParaRPr lang="en-US" sz="950" spc="-74" noProof="0" dirty="0">
              <a:solidFill>
                <a:schemeClr val="tx2"/>
              </a:solidFill>
              <a:latin typeface="+mn-lt"/>
              <a:cs typeface="Karla"/>
            </a:endParaRPr>
          </a:p>
        </p:txBody>
      </p:sp>
      <p:cxnSp>
        <p:nvCxnSpPr>
          <p:cNvPr id="9" name="Conector recto 8"/>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6" name="Marcador de texto 6"/>
          <p:cNvSpPr>
            <a:spLocks noGrp="1"/>
          </p:cNvSpPr>
          <p:nvPr>
            <p:ph type="body" sz="quarter" idx="34" hasCustomPrompt="1"/>
          </p:nvPr>
        </p:nvSpPr>
        <p:spPr>
          <a:xfrm>
            <a:off x="336109" y="476672"/>
            <a:ext cx="8783832" cy="360040"/>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11" name="Marcador de texto 2">
            <a:extLst>
              <a:ext uri="{FF2B5EF4-FFF2-40B4-BE49-F238E27FC236}">
                <a16:creationId xmlns:a16="http://schemas.microsoft.com/office/drawing/2014/main" id="{29E0BDB7-1AD8-4E81-BF5A-F92DA11F682A}"/>
              </a:ext>
            </a:extLst>
          </p:cNvPr>
          <p:cNvSpPr>
            <a:spLocks noGrp="1"/>
          </p:cNvSpPr>
          <p:nvPr>
            <p:ph type="body" sz="quarter" idx="35" hasCustomPrompt="1"/>
          </p:nvPr>
        </p:nvSpPr>
        <p:spPr>
          <a:xfrm>
            <a:off x="336111" y="1412642"/>
            <a:ext cx="11519780" cy="1656319"/>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baseline="0">
                <a:solidFill>
                  <a:schemeClr val="tx1"/>
                </a:solidFill>
                <a:latin typeface="+mn-lt"/>
                <a:cs typeface="Noto Sans Regular"/>
              </a:defRPr>
            </a:lvl1pPr>
            <a:lvl2pPr>
              <a:buClr>
                <a:schemeClr val="tx2"/>
              </a:buClr>
              <a:defRPr sz="14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4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
        <p:nvSpPr>
          <p:cNvPr id="10" name="Marcador de posición de imagen 2"/>
          <p:cNvSpPr>
            <a:spLocks noGrp="1"/>
          </p:cNvSpPr>
          <p:nvPr>
            <p:ph type="pic" sz="quarter" idx="28" hasCustomPrompt="1"/>
          </p:nvPr>
        </p:nvSpPr>
        <p:spPr>
          <a:xfrm>
            <a:off x="336109" y="3230548"/>
            <a:ext cx="11519694" cy="307877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baseline="0">
                <a:solidFill>
                  <a:schemeClr val="tx1"/>
                </a:solidFill>
                <a:latin typeface="+mn-lt"/>
              </a:defRPr>
            </a:lvl1pPr>
          </a:lstStyle>
          <a:p>
            <a:r>
              <a:rPr lang="en-US" noProof="0" dirty="0"/>
              <a:t>Click here to insert an image</a:t>
            </a:r>
          </a:p>
          <a:p>
            <a:endParaRPr lang="en-US" noProof="0" dirty="0"/>
          </a:p>
        </p:txBody>
      </p:sp>
    </p:spTree>
    <p:extLst>
      <p:ext uri="{BB962C8B-B14F-4D97-AF65-F5344CB8AC3E}">
        <p14:creationId xmlns:p14="http://schemas.microsoft.com/office/powerpoint/2010/main" val="2229307355"/>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pic>
        <p:nvPicPr>
          <p:cNvPr id="15" name="Imagen 14"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6"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2"/>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6" name="Conector recto 5"/>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2" name="Marcador de texto 6"/>
          <p:cNvSpPr>
            <a:spLocks noGrp="1"/>
          </p:cNvSpPr>
          <p:nvPr>
            <p:ph type="body" sz="quarter" idx="34" hasCustomPrompt="1"/>
          </p:nvPr>
        </p:nvSpPr>
        <p:spPr>
          <a:xfrm>
            <a:off x="336109" y="476672"/>
            <a:ext cx="8783832" cy="34290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8" name="Marcador de texto 2">
            <a:extLst>
              <a:ext uri="{FF2B5EF4-FFF2-40B4-BE49-F238E27FC236}">
                <a16:creationId xmlns:a16="http://schemas.microsoft.com/office/drawing/2014/main" id="{29E0BDB7-1AD8-4E81-BF5A-F92DA11F682A}"/>
              </a:ext>
            </a:extLst>
          </p:cNvPr>
          <p:cNvSpPr>
            <a:spLocks noGrp="1"/>
          </p:cNvSpPr>
          <p:nvPr>
            <p:ph type="body" sz="quarter" idx="35" hasCustomPrompt="1"/>
          </p:nvPr>
        </p:nvSpPr>
        <p:spPr>
          <a:xfrm>
            <a:off x="336111" y="1304764"/>
            <a:ext cx="11519780" cy="4914488"/>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4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2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2337131566"/>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Two Text Boxes">
    <p:spTree>
      <p:nvGrpSpPr>
        <p:cNvPr id="1" name=""/>
        <p:cNvGrpSpPr/>
        <p:nvPr/>
      </p:nvGrpSpPr>
      <p:grpSpPr>
        <a:xfrm>
          <a:off x="0" y="0"/>
          <a:ext cx="0" cy="0"/>
          <a:chOff x="0" y="0"/>
          <a:chExt cx="0" cy="0"/>
        </a:xfrm>
      </p:grpSpPr>
      <p:pic>
        <p:nvPicPr>
          <p:cNvPr id="15" name="Imagen 14"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6"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0" name="Marcador de texto 6"/>
          <p:cNvSpPr>
            <a:spLocks noGrp="1"/>
          </p:cNvSpPr>
          <p:nvPr>
            <p:ph type="body" sz="quarter" idx="10" hasCustomPrompt="1"/>
          </p:nvPr>
        </p:nvSpPr>
        <p:spPr>
          <a:xfrm>
            <a:off x="336111" y="1448780"/>
            <a:ext cx="11519780" cy="244827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 typeface="Arial"/>
              <a:buNone/>
              <a:tabLst/>
              <a:defRPr sz="1400" b="0" i="0" spc="0" baseline="0">
                <a:solidFill>
                  <a:schemeClr val="tx1"/>
                </a:solidFill>
                <a:latin typeface="+mn-lt"/>
                <a:cs typeface="Noto Sans Regular"/>
              </a:defRPr>
            </a:lvl1pPr>
            <a:lvl2pPr marL="647244" indent="-171416">
              <a:buFont typeface="Arial"/>
              <a:buChar char="•"/>
              <a:defRPr sz="2000">
                <a:solidFill>
                  <a:schemeClr val="tx1"/>
                </a:solidFill>
              </a:defRPr>
            </a:lvl2pPr>
            <a:lvl3pPr marL="951656" indent="0">
              <a:buNone/>
              <a:defRPr sz="2000">
                <a:solidFill>
                  <a:schemeClr val="tx2"/>
                </a:solidFill>
              </a:defRPr>
            </a:lvl3pPr>
          </a:lstStyle>
          <a:p>
            <a:pPr lvl="0"/>
            <a:r>
              <a:rPr lang="en-US" noProof="0" dirty="0"/>
              <a:t>Body Text (Noto Sans 28)</a:t>
            </a:r>
          </a:p>
          <a:p>
            <a:pPr lvl="0"/>
            <a:endParaRPr lang="en-US" noProof="0" dirty="0"/>
          </a:p>
          <a:p>
            <a:pPr lvl="0"/>
            <a:endParaRPr lang="en-US" noProof="0" dirty="0"/>
          </a:p>
        </p:txBody>
      </p:sp>
      <p:cxnSp>
        <p:nvCxnSpPr>
          <p:cNvPr id="6" name="Conector recto 5"/>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3" name="Marcador de texto 6"/>
          <p:cNvSpPr>
            <a:spLocks noGrp="1"/>
          </p:cNvSpPr>
          <p:nvPr>
            <p:ph type="body" sz="quarter" idx="34" hasCustomPrompt="1"/>
          </p:nvPr>
        </p:nvSpPr>
        <p:spPr>
          <a:xfrm>
            <a:off x="336109" y="476672"/>
            <a:ext cx="8783832" cy="432048"/>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9" name="Marcador de texto 2">
            <a:extLst>
              <a:ext uri="{FF2B5EF4-FFF2-40B4-BE49-F238E27FC236}">
                <a16:creationId xmlns:a16="http://schemas.microsoft.com/office/drawing/2014/main" id="{2F9965DA-6ED4-443D-8485-885D115B5F93}"/>
              </a:ext>
            </a:extLst>
          </p:cNvPr>
          <p:cNvSpPr>
            <a:spLocks noGrp="1"/>
          </p:cNvSpPr>
          <p:nvPr>
            <p:ph type="body" sz="quarter" idx="37" hasCustomPrompt="1"/>
          </p:nvPr>
        </p:nvSpPr>
        <p:spPr>
          <a:xfrm>
            <a:off x="336111" y="4041068"/>
            <a:ext cx="11519780" cy="2194560"/>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baseline="0">
                <a:solidFill>
                  <a:schemeClr val="tx1"/>
                </a:solidFill>
                <a:latin typeface="+mn-lt"/>
                <a:cs typeface="Noto Sans Regular"/>
              </a:defRPr>
            </a:lvl1pPr>
            <a:lvl2pPr>
              <a:buClr>
                <a:schemeClr val="tx2"/>
              </a:buClr>
              <a:defRPr sz="13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3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1546973404"/>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Text Box + Image + Footnote">
    <p:spTree>
      <p:nvGrpSpPr>
        <p:cNvPr id="1" name=""/>
        <p:cNvGrpSpPr/>
        <p:nvPr/>
      </p:nvGrpSpPr>
      <p:grpSpPr>
        <a:xfrm>
          <a:off x="0" y="0"/>
          <a:ext cx="0" cy="0"/>
          <a:chOff x="0" y="0"/>
          <a:chExt cx="0" cy="0"/>
        </a:xfrm>
      </p:grpSpPr>
      <p:pic>
        <p:nvPicPr>
          <p:cNvPr id="15" name="Imagen 14"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23"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 name="CuadroTexto 1">
            <a:extLst>
              <a:ext uri="{FF2B5EF4-FFF2-40B4-BE49-F238E27FC236}">
                <a16:creationId xmlns:a16="http://schemas.microsoft.com/office/drawing/2014/main" id="{945B8DCF-D997-9242-A1DF-6A65472FB8A2}"/>
              </a:ext>
            </a:extLst>
          </p:cNvPr>
          <p:cNvSpPr txBox="1"/>
          <p:nvPr userDrawn="1"/>
        </p:nvSpPr>
        <p:spPr>
          <a:xfrm>
            <a:off x="2099989" y="-1071563"/>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mj-lt"/>
              <a:cs typeface="Etelka Text Pro"/>
            </a:endParaRPr>
          </a:p>
        </p:txBody>
      </p:sp>
      <p:cxnSp>
        <p:nvCxnSpPr>
          <p:cNvPr id="9" name="Conector recto 8"/>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6" name="Marcador de texto 6"/>
          <p:cNvSpPr>
            <a:spLocks noGrp="1"/>
          </p:cNvSpPr>
          <p:nvPr>
            <p:ph type="body" sz="quarter" idx="10" hasCustomPrompt="1"/>
          </p:nvPr>
        </p:nvSpPr>
        <p:spPr>
          <a:xfrm>
            <a:off x="336110" y="1448780"/>
            <a:ext cx="4211920" cy="478853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400" b="0" i="0" spc="0" baseline="0">
                <a:solidFill>
                  <a:schemeClr val="tx1"/>
                </a:solidFill>
                <a:latin typeface="+mn-lt"/>
                <a:cs typeface="Noto Sans Regular"/>
              </a:defRPr>
            </a:lvl1pPr>
            <a:lvl2pPr marL="475828" indent="0">
              <a:buNone/>
              <a:defRPr/>
            </a:lvl2pPr>
          </a:lstStyle>
          <a:p>
            <a:pPr lvl="0"/>
            <a:r>
              <a:rPr lang="en-US" noProof="0" dirty="0"/>
              <a:t>Body Text (Noto Sans 28)</a:t>
            </a:r>
          </a:p>
        </p:txBody>
      </p:sp>
      <p:sp>
        <p:nvSpPr>
          <p:cNvPr id="17" name="Marcador de texto 6"/>
          <p:cNvSpPr>
            <a:spLocks noGrp="1"/>
          </p:cNvSpPr>
          <p:nvPr>
            <p:ph type="body" sz="quarter" idx="30" hasCustomPrompt="1"/>
          </p:nvPr>
        </p:nvSpPr>
        <p:spPr>
          <a:xfrm>
            <a:off x="9623932" y="5877272"/>
            <a:ext cx="2231957" cy="360424"/>
          </a:xfrm>
          <a:prstGeom prst="rect">
            <a:avLst/>
          </a:prstGeom>
        </p:spPr>
        <p:txBody>
          <a:bodyPr vert="horz" lIns="34267" tIns="17132" rIns="34267" bIns="17132"/>
          <a:lstStyle>
            <a:lvl1pPr marL="0" indent="0">
              <a:lnSpc>
                <a:spcPct val="110000"/>
              </a:lnSpc>
              <a:buNone/>
              <a:defRPr sz="950" b="0" i="0" spc="0" baseline="0">
                <a:solidFill>
                  <a:schemeClr val="tx1"/>
                </a:solidFill>
                <a:latin typeface="+mn-lt"/>
                <a:cs typeface="Noto Sans Regular"/>
              </a:defRPr>
            </a:lvl1pPr>
          </a:lstStyle>
          <a:p>
            <a:pPr lvl="0"/>
            <a:r>
              <a:rPr lang="en-US" noProof="0" dirty="0"/>
              <a:t>Click here to insert complementary info (footnotes, captions, legends, </a:t>
            </a:r>
            <a:r>
              <a:rPr lang="en-US" noProof="0" dirty="0" err="1"/>
              <a:t>etc</a:t>
            </a:r>
            <a:r>
              <a:rPr lang="en-US" noProof="0" dirty="0"/>
              <a:t>)</a:t>
            </a:r>
          </a:p>
        </p:txBody>
      </p:sp>
      <p:sp>
        <p:nvSpPr>
          <p:cNvPr id="18" name="Marcador de posición de imagen 18"/>
          <p:cNvSpPr>
            <a:spLocks noGrp="1"/>
          </p:cNvSpPr>
          <p:nvPr>
            <p:ph type="pic" sz="quarter" idx="31" hasCustomPrompt="1"/>
          </p:nvPr>
        </p:nvSpPr>
        <p:spPr>
          <a:xfrm>
            <a:off x="4908023" y="1448780"/>
            <a:ext cx="4211920" cy="4788532"/>
          </a:xfrm>
          <a:prstGeom prst="rect">
            <a:avLst/>
          </a:prstGeom>
        </p:spPr>
        <p:txBody>
          <a:bodyPr vert="horz" lIns="34267" tIns="17132" rIns="34267" bIns="17132"/>
          <a:lstStyle>
            <a:lvl1pPr>
              <a:defRPr sz="1250">
                <a:solidFill>
                  <a:schemeClr val="tx1"/>
                </a:solidFill>
                <a:latin typeface="+mn-lt"/>
              </a:defRPr>
            </a:lvl1pPr>
          </a:lstStyle>
          <a:p>
            <a:r>
              <a:rPr lang="en-US" noProof="0" dirty="0"/>
              <a:t>Click here to insert the image</a:t>
            </a:r>
          </a:p>
        </p:txBody>
      </p:sp>
      <p:sp>
        <p:nvSpPr>
          <p:cNvPr id="20" name="Marcador de texto 6"/>
          <p:cNvSpPr>
            <a:spLocks noGrp="1"/>
          </p:cNvSpPr>
          <p:nvPr>
            <p:ph type="body" sz="quarter" idx="34" hasCustomPrompt="1"/>
          </p:nvPr>
        </p:nvSpPr>
        <p:spPr>
          <a:xfrm>
            <a:off x="336109" y="476672"/>
            <a:ext cx="8783832" cy="432048"/>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547563039"/>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4_Text + 1 Image">
    <p:spTree>
      <p:nvGrpSpPr>
        <p:cNvPr id="1" name=""/>
        <p:cNvGrpSpPr/>
        <p:nvPr/>
      </p:nvGrpSpPr>
      <p:grpSpPr>
        <a:xfrm>
          <a:off x="0" y="0"/>
          <a:ext cx="0" cy="0"/>
          <a:chOff x="0" y="0"/>
          <a:chExt cx="0" cy="0"/>
        </a:xfrm>
      </p:grpSpPr>
      <p:pic>
        <p:nvPicPr>
          <p:cNvPr id="15" name="Imagen 14"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23"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12" name="Conector recto 11"/>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6" name="Marcador de posición de imagen 18"/>
          <p:cNvSpPr>
            <a:spLocks noGrp="1"/>
          </p:cNvSpPr>
          <p:nvPr>
            <p:ph type="pic" sz="quarter" idx="32" hasCustomPrompt="1"/>
          </p:nvPr>
        </p:nvSpPr>
        <p:spPr>
          <a:xfrm>
            <a:off x="6275996" y="1448780"/>
            <a:ext cx="5579893" cy="4788532"/>
          </a:xfrm>
          <a:prstGeom prst="rect">
            <a:avLst/>
          </a:prstGeom>
        </p:spPr>
        <p:txBody>
          <a:bodyPr vert="horz" lIns="34267" tIns="17132" rIns="34267" bIns="17132"/>
          <a:lstStyle>
            <a:lvl1pPr>
              <a:defRPr sz="1250" baseline="0">
                <a:solidFill>
                  <a:schemeClr val="tx1"/>
                </a:solidFill>
                <a:latin typeface="+mn-lt"/>
              </a:defRPr>
            </a:lvl1pPr>
          </a:lstStyle>
          <a:p>
            <a:r>
              <a:rPr lang="en-US" noProof="0" dirty="0"/>
              <a:t>Click here to insert an image</a:t>
            </a:r>
          </a:p>
        </p:txBody>
      </p:sp>
      <p:sp>
        <p:nvSpPr>
          <p:cNvPr id="20" name="Marcador de texto 6"/>
          <p:cNvSpPr>
            <a:spLocks noGrp="1"/>
          </p:cNvSpPr>
          <p:nvPr>
            <p:ph type="body" sz="quarter" idx="34" hasCustomPrompt="1"/>
          </p:nvPr>
        </p:nvSpPr>
        <p:spPr>
          <a:xfrm>
            <a:off x="336109" y="476672"/>
            <a:ext cx="8783832" cy="432048"/>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10" name="Marcador de texto 2">
            <a:extLst>
              <a:ext uri="{FF2B5EF4-FFF2-40B4-BE49-F238E27FC236}">
                <a16:creationId xmlns:a16="http://schemas.microsoft.com/office/drawing/2014/main" id="{CF695713-D994-4AC4-8233-431774390435}"/>
              </a:ext>
            </a:extLst>
          </p:cNvPr>
          <p:cNvSpPr>
            <a:spLocks noGrp="1"/>
          </p:cNvSpPr>
          <p:nvPr>
            <p:ph type="body" sz="quarter" idx="37" hasCustomPrompt="1"/>
          </p:nvPr>
        </p:nvSpPr>
        <p:spPr>
          <a:xfrm>
            <a:off x="336111" y="1448780"/>
            <a:ext cx="5581685" cy="4786884"/>
          </a:xfrm>
          <a:prstGeom prst="rect">
            <a:avLst/>
          </a:prstGeom>
        </p:spPr>
        <p:txBody>
          <a:bodyPr lIns="34267" tIns="17132" rIns="34267" bIns="17132"/>
          <a:lstStyle>
            <a:lvl1pPr marL="171297" indent="-171297">
              <a:buClr>
                <a:schemeClr val="tx1"/>
              </a:buClr>
              <a:buFont typeface="Arial" panose="020B0604020202020204" pitchFamily="34" charset="0"/>
              <a:buChar char="•"/>
              <a:defRPr sz="1800" baseline="0">
                <a:solidFill>
                  <a:schemeClr val="tx1"/>
                </a:solidFill>
                <a:latin typeface="+mn-lt"/>
                <a:cs typeface="Noto Sans Regular"/>
              </a:defRPr>
            </a:lvl1pPr>
            <a:lvl2pPr>
              <a:buClr>
                <a:schemeClr val="tx2"/>
              </a:buClr>
              <a:defRPr sz="18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8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36)</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179589712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2 Text + 2 Images + Footnote">
    <p:spTree>
      <p:nvGrpSpPr>
        <p:cNvPr id="1" name=""/>
        <p:cNvGrpSpPr/>
        <p:nvPr/>
      </p:nvGrpSpPr>
      <p:grpSpPr>
        <a:xfrm>
          <a:off x="0" y="0"/>
          <a:ext cx="0" cy="0"/>
          <a:chOff x="0" y="0"/>
          <a:chExt cx="0" cy="0"/>
        </a:xfrm>
      </p:grpSpPr>
      <p:pic>
        <p:nvPicPr>
          <p:cNvPr id="22" name="Imagen 21"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4" name="CuadroTexto 3"/>
          <p:cNvSpPr txBox="1"/>
          <p:nvPr userDrawn="1"/>
        </p:nvSpPr>
        <p:spPr>
          <a:xfrm>
            <a:off x="12099406" y="6960884"/>
            <a:ext cx="457140" cy="457200"/>
          </a:xfrm>
          <a:prstGeom prst="rect">
            <a:avLst/>
          </a:prstGeom>
          <a:noFill/>
          <a:ln>
            <a:noFill/>
          </a:ln>
        </p:spPr>
        <p:txBody>
          <a:bodyPr wrap="none" lIns="45684" tIns="0" rIns="45684" bIns="0" rtlCol="0" anchor="t" anchorCtr="0">
            <a:noAutofit/>
          </a:bodyPr>
          <a:lstStyle/>
          <a:p>
            <a:pPr marL="0">
              <a:lnSpc>
                <a:spcPts val="1749"/>
              </a:lnSpc>
            </a:pPr>
            <a:endParaRPr lang="es-ES" sz="2000" b="1" dirty="0" err="1">
              <a:latin typeface="+mj-lt"/>
              <a:cs typeface="Etelka Text Pro"/>
            </a:endParaRPr>
          </a:p>
        </p:txBody>
      </p:sp>
      <p:sp>
        <p:nvSpPr>
          <p:cNvPr id="27"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14" name="Conector recto 13"/>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2" name="Marcador de texto 6"/>
          <p:cNvSpPr>
            <a:spLocks noGrp="1"/>
          </p:cNvSpPr>
          <p:nvPr>
            <p:ph type="body" sz="quarter" idx="27" hasCustomPrompt="1"/>
          </p:nvPr>
        </p:nvSpPr>
        <p:spPr>
          <a:xfrm>
            <a:off x="4908023" y="1448780"/>
            <a:ext cx="4211920" cy="1224137"/>
          </a:xfrm>
          <a:prstGeom prst="rect">
            <a:avLst/>
          </a:prstGeom>
        </p:spPr>
        <p:txBody>
          <a:bodyPr vert="horz" lIns="0" tIns="0" rIns="0" bIns="17132" anchor="t" anchorCtr="0"/>
          <a:lstStyle>
            <a:lvl1pPr marL="0" marR="0" indent="0" algn="l" defTabSz="456796" rtl="0" eaLnBrk="0" fontAlgn="base" latinLnBrk="0" hangingPunct="0">
              <a:lnSpc>
                <a:spcPct val="100000"/>
              </a:lnSpc>
              <a:spcBef>
                <a:spcPts val="984"/>
              </a:spcBef>
              <a:spcAft>
                <a:spcPts val="600"/>
              </a:spcAft>
              <a:buClrTx/>
              <a:buSzTx/>
              <a:buFont typeface="Arial"/>
              <a:buNone/>
              <a:tabLst/>
              <a:defRPr sz="1800" b="0" i="0" spc="0" baseline="0">
                <a:solidFill>
                  <a:schemeClr val="tx1"/>
                </a:solidFill>
                <a:latin typeface="+mn-lt"/>
                <a:cs typeface="Noto Sans Regular"/>
              </a:defRPr>
            </a:lvl1pPr>
            <a:lvl2pPr marL="475828" indent="0">
              <a:buNone/>
              <a:defRPr/>
            </a:lvl2pPr>
          </a:lstStyle>
          <a:p>
            <a:pPr lvl="0"/>
            <a:r>
              <a:rPr lang="en-US" noProof="0" dirty="0"/>
              <a:t>Body Text (Noto Sans 36)</a:t>
            </a:r>
          </a:p>
        </p:txBody>
      </p:sp>
      <p:sp>
        <p:nvSpPr>
          <p:cNvPr id="13" name="Marcador de posición de imagen 2"/>
          <p:cNvSpPr>
            <a:spLocks noGrp="1"/>
          </p:cNvSpPr>
          <p:nvPr>
            <p:ph type="pic" sz="quarter" idx="28" hasCustomPrompt="1"/>
          </p:nvPr>
        </p:nvSpPr>
        <p:spPr>
          <a:xfrm>
            <a:off x="336111" y="2816932"/>
            <a:ext cx="4211919" cy="3420380"/>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an image</a:t>
            </a:r>
          </a:p>
          <a:p>
            <a:endParaRPr lang="en-US" noProof="0" dirty="0"/>
          </a:p>
        </p:txBody>
      </p:sp>
      <p:sp>
        <p:nvSpPr>
          <p:cNvPr id="15" name="Marcador de posición de imagen 2"/>
          <p:cNvSpPr>
            <a:spLocks noGrp="1"/>
          </p:cNvSpPr>
          <p:nvPr>
            <p:ph type="pic" sz="quarter" idx="29" hasCustomPrompt="1"/>
          </p:nvPr>
        </p:nvSpPr>
        <p:spPr>
          <a:xfrm>
            <a:off x="4908019" y="2816932"/>
            <a:ext cx="4211712" cy="3420380"/>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an image</a:t>
            </a:r>
          </a:p>
          <a:p>
            <a:endParaRPr lang="en-US" noProof="0" dirty="0"/>
          </a:p>
        </p:txBody>
      </p:sp>
      <p:sp>
        <p:nvSpPr>
          <p:cNvPr id="16" name="Marcador de texto 6"/>
          <p:cNvSpPr>
            <a:spLocks noGrp="1"/>
          </p:cNvSpPr>
          <p:nvPr>
            <p:ph type="body" sz="quarter" idx="31" hasCustomPrompt="1"/>
          </p:nvPr>
        </p:nvSpPr>
        <p:spPr>
          <a:xfrm>
            <a:off x="336111" y="1448780"/>
            <a:ext cx="4211919" cy="1224137"/>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800" b="0" i="0" spc="0" baseline="0">
                <a:solidFill>
                  <a:schemeClr val="tx1"/>
                </a:solidFill>
                <a:latin typeface="+mn-lt"/>
                <a:cs typeface="Noto Sans Regular"/>
              </a:defRPr>
            </a:lvl1pPr>
            <a:lvl2pPr marL="475828" indent="0">
              <a:buNone/>
              <a:defRPr/>
            </a:lvl2pPr>
          </a:lstStyle>
          <a:p>
            <a:pPr lvl="0"/>
            <a:r>
              <a:rPr lang="en-US" noProof="0" dirty="0"/>
              <a:t>Body Text (Noto Sans 36)</a:t>
            </a:r>
          </a:p>
        </p:txBody>
      </p:sp>
      <p:sp>
        <p:nvSpPr>
          <p:cNvPr id="19" name="Marcador de texto 6"/>
          <p:cNvSpPr>
            <a:spLocks noGrp="1"/>
          </p:cNvSpPr>
          <p:nvPr>
            <p:ph type="body" sz="quarter" idx="30" hasCustomPrompt="1"/>
          </p:nvPr>
        </p:nvSpPr>
        <p:spPr>
          <a:xfrm>
            <a:off x="9623932" y="5877272"/>
            <a:ext cx="2231957" cy="360424"/>
          </a:xfrm>
          <a:prstGeom prst="rect">
            <a:avLst/>
          </a:prstGeom>
        </p:spPr>
        <p:txBody>
          <a:bodyPr vert="horz" lIns="34267" tIns="17132" rIns="34267" bIns="17132"/>
          <a:lstStyle>
            <a:lvl1pPr marL="0" indent="0">
              <a:lnSpc>
                <a:spcPct val="110000"/>
              </a:lnSpc>
              <a:buNone/>
              <a:defRPr sz="950" b="0" i="0" spc="0" baseline="0">
                <a:solidFill>
                  <a:schemeClr val="tx1"/>
                </a:solidFill>
                <a:latin typeface="+mn-lt"/>
                <a:cs typeface="Noto Sans Regular"/>
              </a:defRPr>
            </a:lvl1pPr>
          </a:lstStyle>
          <a:p>
            <a:pPr lvl="0"/>
            <a:r>
              <a:rPr lang="en-US" noProof="0" dirty="0"/>
              <a:t>Click here to insert complementary info (footnotes, captions, legends, </a:t>
            </a:r>
            <a:r>
              <a:rPr lang="en-US" noProof="0" dirty="0" err="1"/>
              <a:t>etc</a:t>
            </a:r>
            <a:r>
              <a:rPr lang="en-US" noProof="0" dirty="0"/>
              <a:t>)</a:t>
            </a:r>
          </a:p>
        </p:txBody>
      </p:sp>
      <p:sp>
        <p:nvSpPr>
          <p:cNvPr id="20"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169505693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 Text + 2 Images">
    <p:spTree>
      <p:nvGrpSpPr>
        <p:cNvPr id="1" name=""/>
        <p:cNvGrpSpPr/>
        <p:nvPr/>
      </p:nvGrpSpPr>
      <p:grpSpPr>
        <a:xfrm>
          <a:off x="0" y="0"/>
          <a:ext cx="0" cy="0"/>
          <a:chOff x="0" y="0"/>
          <a:chExt cx="0" cy="0"/>
        </a:xfrm>
      </p:grpSpPr>
      <p:pic>
        <p:nvPicPr>
          <p:cNvPr id="22" name="Imagen 21"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4" name="CuadroTexto 3"/>
          <p:cNvSpPr txBox="1"/>
          <p:nvPr userDrawn="1"/>
        </p:nvSpPr>
        <p:spPr>
          <a:xfrm>
            <a:off x="12099406" y="6960884"/>
            <a:ext cx="457140" cy="457200"/>
          </a:xfrm>
          <a:prstGeom prst="rect">
            <a:avLst/>
          </a:prstGeom>
          <a:noFill/>
          <a:ln>
            <a:noFill/>
          </a:ln>
        </p:spPr>
        <p:txBody>
          <a:bodyPr wrap="none" lIns="45684" tIns="0" rIns="45684" bIns="0" rtlCol="0" anchor="t" anchorCtr="0">
            <a:noAutofit/>
          </a:bodyPr>
          <a:lstStyle/>
          <a:p>
            <a:pPr marL="0">
              <a:lnSpc>
                <a:spcPts val="1749"/>
              </a:lnSpc>
            </a:pPr>
            <a:endParaRPr lang="es-ES" sz="2000" b="1" dirty="0" err="1">
              <a:latin typeface="+mj-lt"/>
              <a:cs typeface="Etelka Text Pro"/>
            </a:endParaRPr>
          </a:p>
        </p:txBody>
      </p:sp>
      <p:sp>
        <p:nvSpPr>
          <p:cNvPr id="27"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15" name="Marcador de texto 6"/>
          <p:cNvSpPr>
            <a:spLocks noGrp="1"/>
          </p:cNvSpPr>
          <p:nvPr>
            <p:ph type="body" sz="quarter" idx="27" hasCustomPrompt="1"/>
          </p:nvPr>
        </p:nvSpPr>
        <p:spPr>
          <a:xfrm>
            <a:off x="6275934" y="1448780"/>
            <a:ext cx="5579957" cy="648072"/>
          </a:xfrm>
          <a:prstGeom prst="rect">
            <a:avLst/>
          </a:prstGeom>
        </p:spPr>
        <p:txBody>
          <a:bodyPr vert="horz" lIns="0" tIns="0" rIns="0" bIns="17132" anchor="t" anchorCtr="0"/>
          <a:lstStyle>
            <a:lvl1pPr marL="0" marR="0" indent="0" algn="l" defTabSz="456796" rtl="0" eaLnBrk="0" fontAlgn="base" latinLnBrk="0" hangingPunct="0">
              <a:lnSpc>
                <a:spcPct val="100000"/>
              </a:lnSpc>
              <a:spcBef>
                <a:spcPts val="984"/>
              </a:spcBef>
              <a:spcAft>
                <a:spcPts val="600"/>
              </a:spcAft>
              <a:buClrTx/>
              <a:buSzTx/>
              <a:buFont typeface="Arial"/>
              <a:buNone/>
              <a:tabLst/>
              <a:defRPr sz="1800" b="0" i="0" spc="0" baseline="0">
                <a:solidFill>
                  <a:schemeClr val="accent1"/>
                </a:solidFill>
                <a:latin typeface="+mn-lt"/>
                <a:cs typeface="Noto Sans Regular"/>
              </a:defRPr>
            </a:lvl1pPr>
            <a:lvl2pPr marL="475828" indent="0">
              <a:buNone/>
              <a:defRPr/>
            </a:lvl2pPr>
          </a:lstStyle>
          <a:p>
            <a:pPr lvl="0"/>
            <a:r>
              <a:rPr lang="en-US" noProof="0" dirty="0"/>
              <a:t>Subhead (Noto Sans 36)</a:t>
            </a:r>
          </a:p>
        </p:txBody>
      </p:sp>
      <p:sp>
        <p:nvSpPr>
          <p:cNvPr id="16" name="Marcador de posición de imagen 2"/>
          <p:cNvSpPr>
            <a:spLocks noGrp="1"/>
          </p:cNvSpPr>
          <p:nvPr>
            <p:ph type="pic" sz="quarter" idx="28" hasCustomPrompt="1"/>
          </p:nvPr>
        </p:nvSpPr>
        <p:spPr>
          <a:xfrm>
            <a:off x="336109" y="2240868"/>
            <a:ext cx="5579893" cy="3996445"/>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baseline="0">
                <a:solidFill>
                  <a:schemeClr val="tx1"/>
                </a:solidFill>
                <a:latin typeface="+mn-lt"/>
              </a:defRPr>
            </a:lvl1pPr>
          </a:lstStyle>
          <a:p>
            <a:r>
              <a:rPr lang="en-US" noProof="0" dirty="0"/>
              <a:t>Click here to insert an image</a:t>
            </a:r>
          </a:p>
          <a:p>
            <a:endParaRPr lang="en-US" noProof="0" dirty="0"/>
          </a:p>
        </p:txBody>
      </p:sp>
      <p:sp>
        <p:nvSpPr>
          <p:cNvPr id="17" name="Marcador de posición de imagen 2"/>
          <p:cNvSpPr>
            <a:spLocks noGrp="1"/>
          </p:cNvSpPr>
          <p:nvPr>
            <p:ph type="pic" sz="quarter" idx="29" hasCustomPrompt="1"/>
          </p:nvPr>
        </p:nvSpPr>
        <p:spPr>
          <a:xfrm>
            <a:off x="6275998" y="2240868"/>
            <a:ext cx="5579682" cy="3996445"/>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an image</a:t>
            </a:r>
          </a:p>
          <a:p>
            <a:endParaRPr lang="en-US" noProof="0" dirty="0"/>
          </a:p>
        </p:txBody>
      </p:sp>
      <p:sp>
        <p:nvSpPr>
          <p:cNvPr id="19" name="Marcador de texto 6"/>
          <p:cNvSpPr>
            <a:spLocks noGrp="1"/>
          </p:cNvSpPr>
          <p:nvPr>
            <p:ph type="body" sz="quarter" idx="31" hasCustomPrompt="1"/>
          </p:nvPr>
        </p:nvSpPr>
        <p:spPr>
          <a:xfrm>
            <a:off x="336109" y="1448780"/>
            <a:ext cx="5579893" cy="64807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800" b="0" i="0" spc="0" baseline="0">
                <a:solidFill>
                  <a:schemeClr val="accent1"/>
                </a:solidFill>
                <a:latin typeface="+mn-lt"/>
                <a:cs typeface="Noto Sans Regular"/>
              </a:defRPr>
            </a:lvl1pPr>
            <a:lvl2pPr marL="475828" indent="0">
              <a:buNone/>
              <a:defRPr/>
            </a:lvl2pPr>
          </a:lstStyle>
          <a:p>
            <a:pPr lvl="0"/>
            <a:r>
              <a:rPr lang="en-US" noProof="0" dirty="0"/>
              <a:t>Subhead (Noto Sans 36)</a:t>
            </a:r>
          </a:p>
        </p:txBody>
      </p:sp>
      <p:cxnSp>
        <p:nvCxnSpPr>
          <p:cNvPr id="20" name="Conector recto 19"/>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1"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endParaRPr lang="es-ES_tradnl" dirty="0"/>
          </a:p>
        </p:txBody>
      </p:sp>
    </p:spTree>
    <p:extLst>
      <p:ext uri="{BB962C8B-B14F-4D97-AF65-F5344CB8AC3E}">
        <p14:creationId xmlns:p14="http://schemas.microsoft.com/office/powerpoint/2010/main" val="2929498671"/>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2 Text Boxes + Subheads">
    <p:spTree>
      <p:nvGrpSpPr>
        <p:cNvPr id="1" name=""/>
        <p:cNvGrpSpPr/>
        <p:nvPr/>
      </p:nvGrpSpPr>
      <p:grpSpPr>
        <a:xfrm>
          <a:off x="0" y="0"/>
          <a:ext cx="0" cy="0"/>
          <a:chOff x="0" y="0"/>
          <a:chExt cx="0" cy="0"/>
        </a:xfrm>
      </p:grpSpPr>
      <p:pic>
        <p:nvPicPr>
          <p:cNvPr id="22" name="Imagen 21"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4" name="CuadroTexto 3"/>
          <p:cNvSpPr txBox="1"/>
          <p:nvPr userDrawn="1"/>
        </p:nvSpPr>
        <p:spPr>
          <a:xfrm>
            <a:off x="12099406" y="6960884"/>
            <a:ext cx="457140" cy="457200"/>
          </a:xfrm>
          <a:prstGeom prst="rect">
            <a:avLst/>
          </a:prstGeom>
          <a:noFill/>
          <a:ln>
            <a:noFill/>
          </a:ln>
        </p:spPr>
        <p:txBody>
          <a:bodyPr wrap="none" lIns="45684" tIns="0" rIns="45684" bIns="0" rtlCol="0" anchor="t" anchorCtr="0">
            <a:noAutofit/>
          </a:bodyPr>
          <a:lstStyle/>
          <a:p>
            <a:pPr marL="0">
              <a:lnSpc>
                <a:spcPts val="1749"/>
              </a:lnSpc>
            </a:pPr>
            <a:endParaRPr lang="es-ES" sz="2000" b="1" dirty="0" err="1">
              <a:latin typeface="+mn-lt"/>
              <a:cs typeface="Etelka Text Pro"/>
            </a:endParaRPr>
          </a:p>
        </p:txBody>
      </p:sp>
      <p:sp>
        <p:nvSpPr>
          <p:cNvPr id="27"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14" name="Conector recto 13"/>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1" name="Marcador de texto 6"/>
          <p:cNvSpPr>
            <a:spLocks noGrp="1"/>
          </p:cNvSpPr>
          <p:nvPr>
            <p:ph type="body" sz="quarter" idx="27" hasCustomPrompt="1"/>
          </p:nvPr>
        </p:nvSpPr>
        <p:spPr>
          <a:xfrm>
            <a:off x="6275934" y="1448780"/>
            <a:ext cx="5579957" cy="648072"/>
          </a:xfrm>
          <a:prstGeom prst="rect">
            <a:avLst/>
          </a:prstGeom>
        </p:spPr>
        <p:txBody>
          <a:bodyPr vert="horz" lIns="0" tIns="0" rIns="0" bIns="17132" anchor="t" anchorCtr="0"/>
          <a:lstStyle>
            <a:lvl1pPr marL="0" marR="0" indent="0" algn="l" defTabSz="456796" rtl="0" eaLnBrk="0" fontAlgn="base" latinLnBrk="0" hangingPunct="0">
              <a:lnSpc>
                <a:spcPct val="100000"/>
              </a:lnSpc>
              <a:spcBef>
                <a:spcPts val="984"/>
              </a:spcBef>
              <a:spcAft>
                <a:spcPts val="600"/>
              </a:spcAft>
              <a:buClrTx/>
              <a:buSzTx/>
              <a:buFont typeface="Arial"/>
              <a:buNone/>
              <a:tabLst/>
              <a:defRPr sz="1800" b="0" i="0" spc="0" baseline="0">
                <a:solidFill>
                  <a:schemeClr val="accent1"/>
                </a:solidFill>
                <a:latin typeface="+mn-lt"/>
                <a:cs typeface="Noto Sans Regular"/>
              </a:defRPr>
            </a:lvl1pPr>
            <a:lvl2pPr marL="475828" indent="0">
              <a:buNone/>
              <a:defRPr/>
            </a:lvl2pPr>
          </a:lstStyle>
          <a:p>
            <a:pPr lvl="0"/>
            <a:r>
              <a:rPr lang="en-US" noProof="0" dirty="0"/>
              <a:t>Subhead (Noto Sans 36)</a:t>
            </a:r>
          </a:p>
        </p:txBody>
      </p:sp>
      <p:sp>
        <p:nvSpPr>
          <p:cNvPr id="15" name="Marcador de texto 6"/>
          <p:cNvSpPr>
            <a:spLocks noGrp="1"/>
          </p:cNvSpPr>
          <p:nvPr>
            <p:ph type="body" sz="quarter" idx="31" hasCustomPrompt="1"/>
          </p:nvPr>
        </p:nvSpPr>
        <p:spPr>
          <a:xfrm>
            <a:off x="336109" y="1448780"/>
            <a:ext cx="5579893" cy="64807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800" b="0" i="0" spc="0" baseline="0">
                <a:solidFill>
                  <a:schemeClr val="accent1"/>
                </a:solidFill>
                <a:latin typeface="+mn-lt"/>
                <a:cs typeface="Noto Sans Regular"/>
              </a:defRPr>
            </a:lvl1pPr>
            <a:lvl2pPr marL="475828" indent="0">
              <a:buNone/>
              <a:defRPr/>
            </a:lvl2pPr>
          </a:lstStyle>
          <a:p>
            <a:pPr lvl="0"/>
            <a:r>
              <a:rPr lang="en-US" noProof="0" dirty="0"/>
              <a:t>Subhead (Noto Sans 36)</a:t>
            </a:r>
          </a:p>
        </p:txBody>
      </p:sp>
      <p:sp>
        <p:nvSpPr>
          <p:cNvPr id="17"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13" name="Marcador de texto 2">
            <a:extLst>
              <a:ext uri="{FF2B5EF4-FFF2-40B4-BE49-F238E27FC236}">
                <a16:creationId xmlns:a16="http://schemas.microsoft.com/office/drawing/2014/main" id="{D6EBA06A-29F2-4ED0-8DE8-64F709E72A11}"/>
              </a:ext>
            </a:extLst>
          </p:cNvPr>
          <p:cNvSpPr>
            <a:spLocks noGrp="1"/>
          </p:cNvSpPr>
          <p:nvPr>
            <p:ph type="body" sz="quarter" idx="37" hasCustomPrompt="1"/>
          </p:nvPr>
        </p:nvSpPr>
        <p:spPr>
          <a:xfrm>
            <a:off x="336111" y="2241385"/>
            <a:ext cx="5581685" cy="3995928"/>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baseline="0">
                <a:solidFill>
                  <a:schemeClr val="tx1"/>
                </a:solidFill>
                <a:latin typeface="+mn-lt"/>
                <a:cs typeface="Noto Sans Regular"/>
              </a:defRPr>
            </a:lvl1pPr>
            <a:lvl2pPr>
              <a:buClr>
                <a:schemeClr val="tx2"/>
              </a:buClr>
              <a:defRPr sz="14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4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32)</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
        <p:nvSpPr>
          <p:cNvPr id="19" name="Marcador de texto 2">
            <a:extLst>
              <a:ext uri="{FF2B5EF4-FFF2-40B4-BE49-F238E27FC236}">
                <a16:creationId xmlns:a16="http://schemas.microsoft.com/office/drawing/2014/main" id="{9E8D547C-F99F-420F-B52D-05207053B0AE}"/>
              </a:ext>
            </a:extLst>
          </p:cNvPr>
          <p:cNvSpPr>
            <a:spLocks noGrp="1"/>
          </p:cNvSpPr>
          <p:nvPr>
            <p:ph type="body" sz="quarter" idx="38" hasCustomPrompt="1"/>
          </p:nvPr>
        </p:nvSpPr>
        <p:spPr>
          <a:xfrm>
            <a:off x="6274206" y="2241385"/>
            <a:ext cx="5581685" cy="3995928"/>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4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4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32) </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13048027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1 Text Box + Image">
    <p:spTree>
      <p:nvGrpSpPr>
        <p:cNvPr id="1" name=""/>
        <p:cNvGrpSpPr/>
        <p:nvPr/>
      </p:nvGrpSpPr>
      <p:grpSpPr>
        <a:xfrm>
          <a:off x="0" y="0"/>
          <a:ext cx="0" cy="0"/>
          <a:chOff x="0" y="0"/>
          <a:chExt cx="0" cy="0"/>
        </a:xfrm>
      </p:grpSpPr>
      <p:pic>
        <p:nvPicPr>
          <p:cNvPr id="11" name="Imagen 10"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6"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17" name="Conector recto 16"/>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9" name="Marcador de posición de imagen 2"/>
          <p:cNvSpPr>
            <a:spLocks noGrp="1"/>
          </p:cNvSpPr>
          <p:nvPr>
            <p:ph type="pic" sz="quarter" idx="29" hasCustomPrompt="1"/>
          </p:nvPr>
        </p:nvSpPr>
        <p:spPr>
          <a:xfrm>
            <a:off x="6275998" y="1448780"/>
            <a:ext cx="5579682" cy="4788533"/>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14"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8" name="Marcador de texto 2">
            <a:extLst>
              <a:ext uri="{FF2B5EF4-FFF2-40B4-BE49-F238E27FC236}">
                <a16:creationId xmlns:a16="http://schemas.microsoft.com/office/drawing/2014/main" id="{ADE1A4CD-24CD-4A54-91D9-E9F89494DA3E}"/>
              </a:ext>
            </a:extLst>
          </p:cNvPr>
          <p:cNvSpPr>
            <a:spLocks noGrp="1"/>
          </p:cNvSpPr>
          <p:nvPr>
            <p:ph type="body" sz="quarter" idx="37" hasCustomPrompt="1"/>
          </p:nvPr>
        </p:nvSpPr>
        <p:spPr>
          <a:xfrm>
            <a:off x="336111" y="1448780"/>
            <a:ext cx="5581685" cy="4786884"/>
          </a:xfrm>
          <a:prstGeom prst="rect">
            <a:avLst/>
          </a:prstGeom>
        </p:spPr>
        <p:txBody>
          <a:bodyPr lIns="34267" tIns="17132" rIns="34267" bIns="17132"/>
          <a:lstStyle>
            <a:lvl1pPr marL="171297" indent="-171297">
              <a:buClr>
                <a:schemeClr val="tx1"/>
              </a:buClr>
              <a:buFont typeface="Arial" panose="020B0604020202020204" pitchFamily="34" charset="0"/>
              <a:buChar char="•"/>
              <a:defRPr sz="1800" baseline="0">
                <a:solidFill>
                  <a:schemeClr val="tx1"/>
                </a:solidFill>
                <a:latin typeface="+mn-lt"/>
                <a:cs typeface="Noto Sans Regular"/>
              </a:defRPr>
            </a:lvl1pPr>
            <a:lvl2pPr>
              <a:buClr>
                <a:schemeClr val="tx2"/>
              </a:buClr>
              <a:defRPr sz="18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8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36)</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23925083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2835" y="1989526"/>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2835" y="2483988"/>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a:t>Click to edit Master subtitle style</a:t>
            </a:r>
            <a:endParaRPr lang="en-US" dirty="0"/>
          </a:p>
        </p:txBody>
      </p:sp>
      <p:sp>
        <p:nvSpPr>
          <p:cNvPr id="12" name="Text Placeholder 11"/>
          <p:cNvSpPr>
            <a:spLocks noGrp="1"/>
          </p:cNvSpPr>
          <p:nvPr>
            <p:ph type="body" sz="quarter" idx="10" hasCustomPrompt="1"/>
          </p:nvPr>
        </p:nvSpPr>
        <p:spPr>
          <a:xfrm>
            <a:off x="1252833" y="3772125"/>
            <a:ext cx="4416136" cy="463699"/>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userDrawn="1"/>
        </p:nvGrpSpPr>
        <p:grpSpPr bwMode="auto">
          <a:xfrm>
            <a:off x="1029194" y="1411941"/>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3"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372228503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4 Images + 4 Text ">
    <p:spTree>
      <p:nvGrpSpPr>
        <p:cNvPr id="1" name=""/>
        <p:cNvGrpSpPr/>
        <p:nvPr/>
      </p:nvGrpSpPr>
      <p:grpSpPr>
        <a:xfrm>
          <a:off x="0" y="0"/>
          <a:ext cx="0" cy="0"/>
          <a:chOff x="0" y="0"/>
          <a:chExt cx="0" cy="0"/>
        </a:xfrm>
      </p:grpSpPr>
      <p:pic>
        <p:nvPicPr>
          <p:cNvPr id="23" name="Imagen 22"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25"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2"/>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24" name="Conector recto 23"/>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7" name="Marcador de texto 6"/>
          <p:cNvSpPr>
            <a:spLocks noGrp="1"/>
          </p:cNvSpPr>
          <p:nvPr>
            <p:ph type="body" sz="quarter" idx="25" hasCustomPrompt="1"/>
          </p:nvPr>
        </p:nvSpPr>
        <p:spPr>
          <a:xfrm>
            <a:off x="336111" y="3861048"/>
            <a:ext cx="2735948" cy="288032"/>
          </a:xfrm>
          <a:prstGeom prst="rect">
            <a:avLst/>
          </a:prstGeom>
        </p:spPr>
        <p:txBody>
          <a:bodyPr vert="horz" lIns="34267" tIns="17132" rIns="34267" bIns="17132"/>
          <a:lstStyle>
            <a:lvl1pPr marL="0" indent="0">
              <a:lnSpc>
                <a:spcPct val="110000"/>
              </a:lnSpc>
              <a:buNone/>
              <a:defRPr sz="1600" b="0" i="0" spc="0" baseline="0">
                <a:solidFill>
                  <a:schemeClr val="tx2"/>
                </a:solidFill>
                <a:latin typeface="+mn-lt"/>
                <a:cs typeface="Noto Sans Regular"/>
              </a:defRPr>
            </a:lvl1pPr>
          </a:lstStyle>
          <a:p>
            <a:pPr lvl="0"/>
            <a:r>
              <a:rPr lang="en-US" noProof="0" dirty="0"/>
              <a:t>Title (Noto Sans 32)</a:t>
            </a:r>
          </a:p>
        </p:txBody>
      </p:sp>
      <p:sp>
        <p:nvSpPr>
          <p:cNvPr id="29" name="Marcador de posición de imagen 2"/>
          <p:cNvSpPr>
            <a:spLocks noGrp="1"/>
          </p:cNvSpPr>
          <p:nvPr>
            <p:ph type="pic" sz="quarter" idx="39" hasCustomPrompt="1"/>
          </p:nvPr>
        </p:nvSpPr>
        <p:spPr>
          <a:xfrm>
            <a:off x="336509" y="1448780"/>
            <a:ext cx="2735700" cy="226825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30" name="Marcador de texto 6"/>
          <p:cNvSpPr>
            <a:spLocks noGrp="1"/>
          </p:cNvSpPr>
          <p:nvPr>
            <p:ph type="body" sz="quarter" idx="40" hasCustomPrompt="1"/>
          </p:nvPr>
        </p:nvSpPr>
        <p:spPr>
          <a:xfrm>
            <a:off x="3263791" y="3861048"/>
            <a:ext cx="2735948" cy="288032"/>
          </a:xfrm>
          <a:prstGeom prst="rect">
            <a:avLst/>
          </a:prstGeom>
        </p:spPr>
        <p:txBody>
          <a:bodyPr vert="horz" lIns="34267" tIns="17132" rIns="34267" bIns="17132"/>
          <a:lstStyle>
            <a:lvl1pPr marL="0" indent="0">
              <a:lnSpc>
                <a:spcPct val="110000"/>
              </a:lnSpc>
              <a:buNone/>
              <a:defRPr sz="1600" b="0" i="0" spc="0" baseline="0">
                <a:solidFill>
                  <a:schemeClr val="tx2"/>
                </a:solidFill>
                <a:latin typeface="+mn-lt"/>
                <a:cs typeface="Noto Sans Regular"/>
              </a:defRPr>
            </a:lvl1pPr>
          </a:lstStyle>
          <a:p>
            <a:pPr lvl="0"/>
            <a:r>
              <a:rPr lang="en-US" noProof="0" dirty="0"/>
              <a:t>Title (Noto Sans 32)</a:t>
            </a:r>
          </a:p>
        </p:txBody>
      </p:sp>
      <p:sp>
        <p:nvSpPr>
          <p:cNvPr id="32" name="Marcador de posición de imagen 2"/>
          <p:cNvSpPr>
            <a:spLocks noGrp="1"/>
          </p:cNvSpPr>
          <p:nvPr>
            <p:ph type="pic" sz="quarter" idx="42" hasCustomPrompt="1"/>
          </p:nvPr>
        </p:nvSpPr>
        <p:spPr>
          <a:xfrm>
            <a:off x="3264188" y="1448780"/>
            <a:ext cx="2735700" cy="226825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33" name="Marcador de texto 6"/>
          <p:cNvSpPr>
            <a:spLocks noGrp="1"/>
          </p:cNvSpPr>
          <p:nvPr>
            <p:ph type="body" sz="quarter" idx="43" hasCustomPrompt="1"/>
          </p:nvPr>
        </p:nvSpPr>
        <p:spPr>
          <a:xfrm>
            <a:off x="6191471" y="3861048"/>
            <a:ext cx="2735948" cy="288032"/>
          </a:xfrm>
          <a:prstGeom prst="rect">
            <a:avLst/>
          </a:prstGeom>
        </p:spPr>
        <p:txBody>
          <a:bodyPr vert="horz" lIns="34267" tIns="17132" rIns="34267" bIns="17132"/>
          <a:lstStyle>
            <a:lvl1pPr marL="0" indent="0">
              <a:lnSpc>
                <a:spcPct val="110000"/>
              </a:lnSpc>
              <a:buNone/>
              <a:defRPr sz="1600" b="0" i="0" spc="0" baseline="0">
                <a:solidFill>
                  <a:schemeClr val="tx2"/>
                </a:solidFill>
                <a:latin typeface="+mn-lt"/>
                <a:cs typeface="Noto Sans Regular"/>
              </a:defRPr>
            </a:lvl1pPr>
          </a:lstStyle>
          <a:p>
            <a:pPr lvl="0"/>
            <a:r>
              <a:rPr lang="en-US" noProof="0" dirty="0"/>
              <a:t>Title (Noto Sans 32)</a:t>
            </a:r>
          </a:p>
        </p:txBody>
      </p:sp>
      <p:sp>
        <p:nvSpPr>
          <p:cNvPr id="35" name="Marcador de posición de imagen 2"/>
          <p:cNvSpPr>
            <a:spLocks noGrp="1"/>
          </p:cNvSpPr>
          <p:nvPr>
            <p:ph type="pic" sz="quarter" idx="45" hasCustomPrompt="1"/>
          </p:nvPr>
        </p:nvSpPr>
        <p:spPr>
          <a:xfrm>
            <a:off x="6191867" y="1448780"/>
            <a:ext cx="2735700" cy="226825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36" name="Marcador de texto 6"/>
          <p:cNvSpPr>
            <a:spLocks noGrp="1"/>
          </p:cNvSpPr>
          <p:nvPr>
            <p:ph type="body" sz="quarter" idx="46" hasCustomPrompt="1"/>
          </p:nvPr>
        </p:nvSpPr>
        <p:spPr>
          <a:xfrm>
            <a:off x="9119150" y="3861048"/>
            <a:ext cx="2735948" cy="288032"/>
          </a:xfrm>
          <a:prstGeom prst="rect">
            <a:avLst/>
          </a:prstGeom>
        </p:spPr>
        <p:txBody>
          <a:bodyPr vert="horz" lIns="34267" tIns="17132" rIns="34267" bIns="17132"/>
          <a:lstStyle>
            <a:lvl1pPr marL="0" indent="0">
              <a:lnSpc>
                <a:spcPct val="110000"/>
              </a:lnSpc>
              <a:buNone/>
              <a:defRPr sz="1600" b="0" i="0" spc="0" baseline="0">
                <a:solidFill>
                  <a:schemeClr val="tx2"/>
                </a:solidFill>
                <a:latin typeface="+mn-lt"/>
                <a:cs typeface="Noto Sans Regular"/>
              </a:defRPr>
            </a:lvl1pPr>
          </a:lstStyle>
          <a:p>
            <a:pPr lvl="0"/>
            <a:r>
              <a:rPr lang="en-US" noProof="0" dirty="0"/>
              <a:t>Title (Noto Sans 32)</a:t>
            </a:r>
          </a:p>
        </p:txBody>
      </p:sp>
      <p:sp>
        <p:nvSpPr>
          <p:cNvPr id="38" name="Marcador de posición de imagen 2"/>
          <p:cNvSpPr>
            <a:spLocks noGrp="1"/>
          </p:cNvSpPr>
          <p:nvPr>
            <p:ph type="pic" sz="quarter" idx="48" hasCustomPrompt="1"/>
          </p:nvPr>
        </p:nvSpPr>
        <p:spPr>
          <a:xfrm>
            <a:off x="9119546" y="1448780"/>
            <a:ext cx="2735700" cy="226825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21"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20" name="Marcador de texto 2">
            <a:extLst>
              <a:ext uri="{FF2B5EF4-FFF2-40B4-BE49-F238E27FC236}">
                <a16:creationId xmlns:a16="http://schemas.microsoft.com/office/drawing/2014/main" id="{86728F71-A3C2-4698-A04D-C8D99CF97817}"/>
              </a:ext>
            </a:extLst>
          </p:cNvPr>
          <p:cNvSpPr>
            <a:spLocks noGrp="1"/>
          </p:cNvSpPr>
          <p:nvPr>
            <p:ph type="body" sz="quarter" idx="37" hasCustomPrompt="1"/>
          </p:nvPr>
        </p:nvSpPr>
        <p:spPr>
          <a:xfrm>
            <a:off x="336111" y="4257092"/>
            <a:ext cx="2738271" cy="1979676"/>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2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200">
                <a:solidFill>
                  <a:schemeClr val="tx1"/>
                </a:solidFill>
                <a:latin typeface="+mn-lt"/>
                <a:cs typeface="Noto Sans"/>
              </a:defRPr>
            </a:lvl3pPr>
            <a:lvl4pPr>
              <a:defRPr sz="1000">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
        <p:nvSpPr>
          <p:cNvPr id="22" name="Marcador de texto 2">
            <a:extLst>
              <a:ext uri="{FF2B5EF4-FFF2-40B4-BE49-F238E27FC236}">
                <a16:creationId xmlns:a16="http://schemas.microsoft.com/office/drawing/2014/main" id="{39778D50-61C0-442A-B6B1-311C80D40B68}"/>
              </a:ext>
            </a:extLst>
          </p:cNvPr>
          <p:cNvSpPr>
            <a:spLocks noGrp="1"/>
          </p:cNvSpPr>
          <p:nvPr>
            <p:ph type="body" sz="quarter" idx="49" hasCustomPrompt="1"/>
          </p:nvPr>
        </p:nvSpPr>
        <p:spPr>
          <a:xfrm>
            <a:off x="3264188" y="4257092"/>
            <a:ext cx="2738271" cy="1979676"/>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2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200">
                <a:solidFill>
                  <a:schemeClr val="tx1"/>
                </a:solidFill>
                <a:latin typeface="+mn-lt"/>
                <a:cs typeface="Noto Sans"/>
              </a:defRPr>
            </a:lvl3pPr>
            <a:lvl4pPr>
              <a:defRPr sz="1000">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
        <p:nvSpPr>
          <p:cNvPr id="34" name="Marcador de texto 2">
            <a:extLst>
              <a:ext uri="{FF2B5EF4-FFF2-40B4-BE49-F238E27FC236}">
                <a16:creationId xmlns:a16="http://schemas.microsoft.com/office/drawing/2014/main" id="{C777293C-6598-44C5-9A2B-27D0278877AA}"/>
              </a:ext>
            </a:extLst>
          </p:cNvPr>
          <p:cNvSpPr>
            <a:spLocks noGrp="1"/>
          </p:cNvSpPr>
          <p:nvPr>
            <p:ph type="body" sz="quarter" idx="50" hasCustomPrompt="1"/>
          </p:nvPr>
        </p:nvSpPr>
        <p:spPr>
          <a:xfrm>
            <a:off x="6189296" y="4257092"/>
            <a:ext cx="2738271" cy="1979676"/>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2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200">
                <a:solidFill>
                  <a:schemeClr val="tx1"/>
                </a:solidFill>
                <a:latin typeface="+mn-lt"/>
                <a:cs typeface="Noto Sans"/>
              </a:defRPr>
            </a:lvl3pPr>
            <a:lvl4pPr marL="1665396" marR="0" indent="-237913" algn="l" defTabSz="457109" rtl="0" eaLnBrk="1" fontAlgn="base" latinLnBrk="0" hangingPunct="1">
              <a:lnSpc>
                <a:spcPct val="100000"/>
              </a:lnSpc>
              <a:spcBef>
                <a:spcPct val="20000"/>
              </a:spcBef>
              <a:spcAft>
                <a:spcPct val="0"/>
              </a:spcAft>
              <a:buClrTx/>
              <a:buSzTx/>
              <a:buFontTx/>
              <a:buChar char="•"/>
              <a:tabLst/>
              <a:defRPr sz="1000">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
        <p:nvSpPr>
          <p:cNvPr id="37" name="Marcador de texto 2">
            <a:extLst>
              <a:ext uri="{FF2B5EF4-FFF2-40B4-BE49-F238E27FC236}">
                <a16:creationId xmlns:a16="http://schemas.microsoft.com/office/drawing/2014/main" id="{84BB3B42-79A6-4DDF-94C8-03F015DFEC99}"/>
              </a:ext>
            </a:extLst>
          </p:cNvPr>
          <p:cNvSpPr>
            <a:spLocks noGrp="1"/>
          </p:cNvSpPr>
          <p:nvPr>
            <p:ph type="body" sz="quarter" idx="51" hasCustomPrompt="1"/>
          </p:nvPr>
        </p:nvSpPr>
        <p:spPr>
          <a:xfrm>
            <a:off x="9119546" y="4257092"/>
            <a:ext cx="2738271" cy="1979676"/>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2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200">
                <a:solidFill>
                  <a:schemeClr val="tx1"/>
                </a:solidFill>
                <a:latin typeface="+mn-lt"/>
                <a:cs typeface="Noto Sans"/>
              </a:defRPr>
            </a:lvl3pPr>
            <a:lvl4pPr>
              <a:defRPr sz="1000">
                <a:latin typeface="+mn-lt"/>
              </a:defRPr>
            </a:lvl4pPr>
            <a:lvl5pPr>
              <a:defRPr>
                <a:latin typeface="+mn-lt"/>
              </a:defRPr>
            </a:lvl5pPr>
          </a:lstStyle>
          <a:p>
            <a:pPr lvl="0"/>
            <a:r>
              <a:rPr lang="en-US" noProof="0" dirty="0"/>
              <a:t>Body Text (Noto Sans 28) </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3140083001"/>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1 Image + Footnote">
    <p:spTree>
      <p:nvGrpSpPr>
        <p:cNvPr id="1" name=""/>
        <p:cNvGrpSpPr/>
        <p:nvPr/>
      </p:nvGrpSpPr>
      <p:grpSpPr>
        <a:xfrm>
          <a:off x="0" y="0"/>
          <a:ext cx="0" cy="0"/>
          <a:chOff x="0" y="0"/>
          <a:chExt cx="0" cy="0"/>
        </a:xfrm>
      </p:grpSpPr>
      <p:pic>
        <p:nvPicPr>
          <p:cNvPr id="11" name="Imagen 10"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2"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16" name="Marcador de posición de imagen 2"/>
          <p:cNvSpPr>
            <a:spLocks noGrp="1"/>
          </p:cNvSpPr>
          <p:nvPr>
            <p:ph type="pic" sz="quarter" idx="23" hasCustomPrompt="1"/>
          </p:nvPr>
        </p:nvSpPr>
        <p:spPr>
          <a:xfrm>
            <a:off x="336510" y="1448780"/>
            <a:ext cx="8783436" cy="478853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cxnSp>
        <p:nvCxnSpPr>
          <p:cNvPr id="14" name="Conector recto 13"/>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 name="Marcador de texto 6"/>
          <p:cNvSpPr>
            <a:spLocks noGrp="1"/>
          </p:cNvSpPr>
          <p:nvPr>
            <p:ph type="body" sz="quarter" idx="30" hasCustomPrompt="1"/>
          </p:nvPr>
        </p:nvSpPr>
        <p:spPr>
          <a:xfrm>
            <a:off x="9623932" y="5877272"/>
            <a:ext cx="2231957" cy="360424"/>
          </a:xfrm>
          <a:prstGeom prst="rect">
            <a:avLst/>
          </a:prstGeom>
        </p:spPr>
        <p:txBody>
          <a:bodyPr vert="horz" lIns="34267" tIns="17132" rIns="34267" bIns="17132"/>
          <a:lstStyle>
            <a:lvl1pPr marL="0" indent="0">
              <a:lnSpc>
                <a:spcPct val="110000"/>
              </a:lnSpc>
              <a:buNone/>
              <a:defRPr sz="950" b="0" i="0" spc="0" baseline="0">
                <a:solidFill>
                  <a:schemeClr val="tx1"/>
                </a:solidFill>
                <a:latin typeface="+mn-lt"/>
                <a:cs typeface="Noto Sans Regular"/>
              </a:defRPr>
            </a:lvl1pPr>
          </a:lstStyle>
          <a:p>
            <a:pPr lvl="0"/>
            <a:r>
              <a:rPr lang="en-US" noProof="0" dirty="0"/>
              <a:t>Click here to insert complementary info (footnotes, captions, legends, </a:t>
            </a:r>
            <a:r>
              <a:rPr lang="en-US" noProof="0" dirty="0" err="1"/>
              <a:t>etc</a:t>
            </a:r>
            <a:r>
              <a:rPr lang="en-US" noProof="0" dirty="0"/>
              <a:t>)</a:t>
            </a:r>
          </a:p>
        </p:txBody>
      </p:sp>
      <p:sp>
        <p:nvSpPr>
          <p:cNvPr id="18"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1194898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1 Image Full">
    <p:spTree>
      <p:nvGrpSpPr>
        <p:cNvPr id="1" name=""/>
        <p:cNvGrpSpPr/>
        <p:nvPr/>
      </p:nvGrpSpPr>
      <p:grpSpPr>
        <a:xfrm>
          <a:off x="0" y="0"/>
          <a:ext cx="0" cy="0"/>
          <a:chOff x="0" y="0"/>
          <a:chExt cx="0" cy="0"/>
        </a:xfrm>
      </p:grpSpPr>
      <p:pic>
        <p:nvPicPr>
          <p:cNvPr id="10" name="Imagen 9"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1"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15" name="Marcador de posición de imagen 2"/>
          <p:cNvSpPr>
            <a:spLocks noGrp="1"/>
          </p:cNvSpPr>
          <p:nvPr>
            <p:ph type="pic" sz="quarter" idx="23" hasCustomPrompt="1"/>
          </p:nvPr>
        </p:nvSpPr>
        <p:spPr>
          <a:xfrm>
            <a:off x="336507" y="1448780"/>
            <a:ext cx="11518988" cy="4788794"/>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cxnSp>
        <p:nvCxnSpPr>
          <p:cNvPr id="9" name="Conector recto 8"/>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2"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2238184652"/>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Text + Table + Footnote">
    <p:spTree>
      <p:nvGrpSpPr>
        <p:cNvPr id="1" name=""/>
        <p:cNvGrpSpPr/>
        <p:nvPr/>
      </p:nvGrpSpPr>
      <p:grpSpPr>
        <a:xfrm>
          <a:off x="0" y="0"/>
          <a:ext cx="0" cy="0"/>
          <a:chOff x="0" y="0"/>
          <a:chExt cx="0" cy="0"/>
        </a:xfrm>
      </p:grpSpPr>
      <p:sp>
        <p:nvSpPr>
          <p:cNvPr id="11" name="Marcador de texto 6"/>
          <p:cNvSpPr>
            <a:spLocks noGrp="1"/>
          </p:cNvSpPr>
          <p:nvPr>
            <p:ph type="body" sz="quarter" idx="10" hasCustomPrompt="1"/>
          </p:nvPr>
        </p:nvSpPr>
        <p:spPr>
          <a:xfrm>
            <a:off x="336110" y="1448780"/>
            <a:ext cx="4211920" cy="478853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400" b="0" i="0" spc="0" baseline="0">
                <a:solidFill>
                  <a:schemeClr val="tx1"/>
                </a:solidFill>
                <a:latin typeface="+mn-lt"/>
                <a:cs typeface="Noto Sans Regular"/>
              </a:defRPr>
            </a:lvl1pPr>
          </a:lstStyle>
          <a:p>
            <a:pPr lvl="0"/>
            <a:r>
              <a:rPr lang="en-US" noProof="0" dirty="0"/>
              <a:t>Body Text (Noto Sans 28)</a:t>
            </a:r>
          </a:p>
        </p:txBody>
      </p:sp>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9"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33"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6" name="Marcador de tabla 3"/>
          <p:cNvSpPr>
            <a:spLocks noGrp="1"/>
          </p:cNvSpPr>
          <p:nvPr>
            <p:ph type="tbl" sz="quarter" idx="26" hasCustomPrompt="1"/>
          </p:nvPr>
        </p:nvSpPr>
        <p:spPr>
          <a:xfrm>
            <a:off x="4908023" y="1448779"/>
            <a:ext cx="4211920" cy="4788533"/>
          </a:xfrm>
          <a:prstGeom prst="rect">
            <a:avLst/>
          </a:prstGeom>
        </p:spPr>
        <p:txBody>
          <a:bodyPr vert="horz" lIns="34267" tIns="17132" rIns="34267" bIns="17132"/>
          <a:lstStyle>
            <a:lvl1pPr marL="171297" indent="-171297">
              <a:buFont typeface="Arial" panose="020B0604020202020204" pitchFamily="34" charset="0"/>
              <a:buChar char="•"/>
              <a:defRPr sz="1250">
                <a:solidFill>
                  <a:schemeClr val="tx1"/>
                </a:solidFill>
                <a:latin typeface="+mn-lt"/>
              </a:defRPr>
            </a:lvl1pPr>
          </a:lstStyle>
          <a:p>
            <a:pPr lvl="0"/>
            <a:r>
              <a:rPr lang="en-US" noProof="0" dirty="0"/>
              <a:t>Click here to insert table</a:t>
            </a:r>
          </a:p>
        </p:txBody>
      </p:sp>
      <p:cxnSp>
        <p:nvCxnSpPr>
          <p:cNvPr id="16" name="Conector recto 15"/>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 name="Marcador de texto 6"/>
          <p:cNvSpPr>
            <a:spLocks noGrp="1"/>
          </p:cNvSpPr>
          <p:nvPr>
            <p:ph type="body" sz="quarter" idx="30" hasCustomPrompt="1"/>
          </p:nvPr>
        </p:nvSpPr>
        <p:spPr>
          <a:xfrm>
            <a:off x="9623932" y="5877272"/>
            <a:ext cx="2231957" cy="360424"/>
          </a:xfrm>
          <a:prstGeom prst="rect">
            <a:avLst/>
          </a:prstGeom>
        </p:spPr>
        <p:txBody>
          <a:bodyPr vert="horz" lIns="34267" tIns="17132" rIns="34267" bIns="17132"/>
          <a:lstStyle>
            <a:lvl1pPr marL="0" indent="0">
              <a:lnSpc>
                <a:spcPct val="110000"/>
              </a:lnSpc>
              <a:buNone/>
              <a:defRPr sz="950" b="0" i="0" spc="0" baseline="0">
                <a:solidFill>
                  <a:schemeClr val="tx1"/>
                </a:solidFill>
                <a:latin typeface="+mn-lt"/>
                <a:cs typeface="Noto Sans Regular"/>
              </a:defRPr>
            </a:lvl1pPr>
          </a:lstStyle>
          <a:p>
            <a:pPr lvl="0"/>
            <a:r>
              <a:rPr lang="en-US" noProof="0" dirty="0"/>
              <a:t>Click here to insert complementary info (footnotes, captions, legends, </a:t>
            </a:r>
            <a:r>
              <a:rPr lang="en-US" noProof="0" dirty="0" err="1"/>
              <a:t>etc</a:t>
            </a:r>
            <a:r>
              <a:rPr lang="en-US" noProof="0" dirty="0"/>
              <a:t>)</a:t>
            </a:r>
          </a:p>
        </p:txBody>
      </p:sp>
      <p:sp>
        <p:nvSpPr>
          <p:cNvPr id="17"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403697775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Text + 1 Table Full">
    <p:spTree>
      <p:nvGrpSpPr>
        <p:cNvPr id="1" name=""/>
        <p:cNvGrpSpPr/>
        <p:nvPr/>
      </p:nvGrpSpPr>
      <p:grpSpPr>
        <a:xfrm>
          <a:off x="0" y="0"/>
          <a:ext cx="0" cy="0"/>
          <a:chOff x="0" y="0"/>
          <a:chExt cx="0" cy="0"/>
        </a:xfrm>
      </p:grpSpPr>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9"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33"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6" name="Marcador de tabla 3"/>
          <p:cNvSpPr>
            <a:spLocks noGrp="1"/>
          </p:cNvSpPr>
          <p:nvPr>
            <p:ph type="tbl" sz="quarter" idx="26" hasCustomPrompt="1"/>
          </p:nvPr>
        </p:nvSpPr>
        <p:spPr>
          <a:xfrm>
            <a:off x="6275996" y="1448780"/>
            <a:ext cx="5579893" cy="4788532"/>
          </a:xfrm>
          <a:prstGeom prst="rect">
            <a:avLst/>
          </a:prstGeom>
        </p:spPr>
        <p:txBody>
          <a:bodyPr vert="horz" lIns="34267" tIns="17132" rIns="34267" bIns="17132"/>
          <a:lstStyle>
            <a:lvl1pPr marL="171297" indent="-171297">
              <a:buFont typeface="Arial" panose="020B0604020202020204" pitchFamily="34" charset="0"/>
              <a:buChar char="•"/>
              <a:defRPr sz="1250">
                <a:solidFill>
                  <a:schemeClr val="tx1"/>
                </a:solidFill>
                <a:latin typeface="+mn-lt"/>
              </a:defRPr>
            </a:lvl1pPr>
          </a:lstStyle>
          <a:p>
            <a:pPr lvl="0"/>
            <a:r>
              <a:rPr lang="en-US" noProof="0" dirty="0"/>
              <a:t>Click here to insert table</a:t>
            </a:r>
          </a:p>
        </p:txBody>
      </p:sp>
      <p:sp>
        <p:nvSpPr>
          <p:cNvPr id="14" name="Marcador de texto 6"/>
          <p:cNvSpPr>
            <a:spLocks noGrp="1"/>
          </p:cNvSpPr>
          <p:nvPr>
            <p:ph type="body" sz="quarter" idx="10" hasCustomPrompt="1"/>
          </p:nvPr>
        </p:nvSpPr>
        <p:spPr>
          <a:xfrm>
            <a:off x="336113" y="1448780"/>
            <a:ext cx="5543895" cy="478853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400" b="0" i="0" spc="0" baseline="0">
                <a:solidFill>
                  <a:schemeClr val="tx1"/>
                </a:solidFill>
                <a:latin typeface="+mn-lt"/>
                <a:cs typeface="Noto Sans Regular"/>
              </a:defRPr>
            </a:lvl1pPr>
            <a:lvl2pPr marL="475828" indent="0">
              <a:buNone/>
              <a:defRPr/>
            </a:lvl2pPr>
          </a:lstStyle>
          <a:p>
            <a:pPr lvl="0"/>
            <a:r>
              <a:rPr lang="en-US" noProof="0" dirty="0"/>
              <a:t>Body Text (Noto Sans 28)</a:t>
            </a:r>
          </a:p>
        </p:txBody>
      </p:sp>
      <p:cxnSp>
        <p:nvCxnSpPr>
          <p:cNvPr id="15" name="Conector recto 14"/>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2138193188"/>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preserve="1" userDrawn="1">
  <p:cSld name="Full Table Slide">
    <p:spTree>
      <p:nvGrpSpPr>
        <p:cNvPr id="1" name=""/>
        <p:cNvGrpSpPr/>
        <p:nvPr/>
      </p:nvGrpSpPr>
      <p:grpSpPr>
        <a:xfrm>
          <a:off x="0" y="0"/>
          <a:ext cx="0" cy="0"/>
          <a:chOff x="0" y="0"/>
          <a:chExt cx="0" cy="0"/>
        </a:xfrm>
      </p:grpSpPr>
      <p:sp>
        <p:nvSpPr>
          <p:cNvPr id="14" name="Marcador de tabla 3"/>
          <p:cNvSpPr>
            <a:spLocks noGrp="1"/>
          </p:cNvSpPr>
          <p:nvPr>
            <p:ph type="tbl" sz="quarter" idx="26" hasCustomPrompt="1"/>
          </p:nvPr>
        </p:nvSpPr>
        <p:spPr>
          <a:xfrm>
            <a:off x="336109" y="1448780"/>
            <a:ext cx="11530496" cy="4788215"/>
          </a:xfrm>
          <a:prstGeom prst="rect">
            <a:avLst/>
          </a:prstGeom>
        </p:spPr>
        <p:txBody>
          <a:bodyPr vert="horz" lIns="34267" tIns="17132" rIns="34267" bIns="17132"/>
          <a:lstStyle>
            <a:lvl1pPr marL="171297" indent="-171297">
              <a:buFont typeface="Arial" panose="020B0604020202020204" pitchFamily="34" charset="0"/>
              <a:buChar char="•"/>
              <a:defRPr sz="1250">
                <a:solidFill>
                  <a:schemeClr val="accent2"/>
                </a:solidFill>
                <a:latin typeface="+mn-lt"/>
              </a:defRPr>
            </a:lvl1pPr>
          </a:lstStyle>
          <a:p>
            <a:pPr lvl="0"/>
            <a:r>
              <a:rPr lang="en-US" noProof="0" dirty="0"/>
              <a:t>Click here to insert table</a:t>
            </a:r>
          </a:p>
        </p:txBody>
      </p:sp>
      <p:pic>
        <p:nvPicPr>
          <p:cNvPr id="13" name="Imagen 12"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5"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33" spc="-74" dirty="0">
                <a:solidFill>
                  <a:schemeClr val="tx2"/>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17" name="Conector recto 16"/>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6"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2236920318"/>
      </p:ext>
    </p:extLst>
  </p:cSld>
  <p:clrMapOvr>
    <a:masterClrMapping/>
  </p:clrMapOvr>
  <p:extLst>
    <p:ext uri="{DCECCB84-F9BA-43D5-87BE-67443E8EF086}">
      <p15:sldGuideLst xmlns:p15="http://schemas.microsoft.com/office/powerpoint/2012/main">
        <p15:guide id="1" orient="horz" pos="4320">
          <p15:clr>
            <a:srgbClr val="FBAE40"/>
          </p15:clr>
        </p15:guide>
        <p15:guide id="2" pos="7681">
          <p15:clr>
            <a:srgbClr val="FBAE40"/>
          </p15:clr>
        </p15:guide>
        <p15:guide id="3" pos="420">
          <p15:clr>
            <a:srgbClr val="FBAE40"/>
          </p15:clr>
        </p15:guide>
        <p15:guide id="4" pos="14952">
          <p15:clr>
            <a:srgbClr val="FBAE40"/>
          </p15:clr>
        </p15:guide>
      </p15:sldGuideLst>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2 Images + Footnote">
    <p:spTree>
      <p:nvGrpSpPr>
        <p:cNvPr id="1" name=""/>
        <p:cNvGrpSpPr/>
        <p:nvPr/>
      </p:nvGrpSpPr>
      <p:grpSpPr>
        <a:xfrm>
          <a:off x="0" y="0"/>
          <a:ext cx="0" cy="0"/>
          <a:chOff x="0" y="0"/>
          <a:chExt cx="0" cy="0"/>
        </a:xfrm>
      </p:grpSpPr>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9"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33"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4" name="Marcador de posición de imagen 2"/>
          <p:cNvSpPr>
            <a:spLocks noGrp="1"/>
          </p:cNvSpPr>
          <p:nvPr>
            <p:ph type="pic" sz="quarter" idx="28" hasCustomPrompt="1"/>
          </p:nvPr>
        </p:nvSpPr>
        <p:spPr>
          <a:xfrm>
            <a:off x="336111" y="1448780"/>
            <a:ext cx="4211919" cy="4788533"/>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an image</a:t>
            </a:r>
          </a:p>
          <a:p>
            <a:endParaRPr lang="en-US" noProof="0" dirty="0"/>
          </a:p>
        </p:txBody>
      </p:sp>
      <p:sp>
        <p:nvSpPr>
          <p:cNvPr id="25" name="Marcador de posición de imagen 2"/>
          <p:cNvSpPr>
            <a:spLocks noGrp="1"/>
          </p:cNvSpPr>
          <p:nvPr>
            <p:ph type="pic" sz="quarter" idx="29" hasCustomPrompt="1"/>
          </p:nvPr>
        </p:nvSpPr>
        <p:spPr>
          <a:xfrm>
            <a:off x="4908019" y="1448780"/>
            <a:ext cx="4211712" cy="4788533"/>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an image</a:t>
            </a:r>
          </a:p>
          <a:p>
            <a:endParaRPr lang="en-US" noProof="0" dirty="0"/>
          </a:p>
        </p:txBody>
      </p:sp>
      <p:cxnSp>
        <p:nvCxnSpPr>
          <p:cNvPr id="13" name="Conector recto 12"/>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 name="Marcador de texto 6"/>
          <p:cNvSpPr>
            <a:spLocks noGrp="1"/>
          </p:cNvSpPr>
          <p:nvPr>
            <p:ph type="body" sz="quarter" idx="30" hasCustomPrompt="1"/>
          </p:nvPr>
        </p:nvSpPr>
        <p:spPr>
          <a:xfrm>
            <a:off x="9623932" y="5697252"/>
            <a:ext cx="2231957" cy="540444"/>
          </a:xfrm>
          <a:prstGeom prst="rect">
            <a:avLst/>
          </a:prstGeom>
        </p:spPr>
        <p:txBody>
          <a:bodyPr vert="horz" lIns="34267" tIns="17132" rIns="34267" bIns="17132"/>
          <a:lstStyle>
            <a:lvl1pPr marL="0" indent="0">
              <a:lnSpc>
                <a:spcPct val="110000"/>
              </a:lnSpc>
              <a:buNone/>
              <a:defRPr sz="950" b="0" i="0" spc="0" baseline="0">
                <a:solidFill>
                  <a:schemeClr val="tx1"/>
                </a:solidFill>
                <a:latin typeface="+mn-lt"/>
                <a:cs typeface="Noto Sans Regular"/>
              </a:defRPr>
            </a:lvl1pPr>
          </a:lstStyle>
          <a:p>
            <a:pPr lvl="0"/>
            <a:r>
              <a:rPr lang="en-US" noProof="0" dirty="0"/>
              <a:t>Click here to insert complementary info (footnotes, captions, legends, etc.)</a:t>
            </a:r>
          </a:p>
        </p:txBody>
      </p:sp>
      <p:sp>
        <p:nvSpPr>
          <p:cNvPr id="15"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3827958443"/>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preserve="1" userDrawn="1">
  <p:cSld name="2 Images">
    <p:spTree>
      <p:nvGrpSpPr>
        <p:cNvPr id="1" name=""/>
        <p:cNvGrpSpPr/>
        <p:nvPr/>
      </p:nvGrpSpPr>
      <p:grpSpPr>
        <a:xfrm>
          <a:off x="0" y="0"/>
          <a:ext cx="0" cy="0"/>
          <a:chOff x="0" y="0"/>
          <a:chExt cx="0" cy="0"/>
        </a:xfrm>
      </p:grpSpPr>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9"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4" name="Marcador de posición de imagen 2"/>
          <p:cNvSpPr>
            <a:spLocks noGrp="1"/>
          </p:cNvSpPr>
          <p:nvPr>
            <p:ph type="pic" sz="quarter" idx="28" hasCustomPrompt="1"/>
          </p:nvPr>
        </p:nvSpPr>
        <p:spPr>
          <a:xfrm>
            <a:off x="336109" y="1448780"/>
            <a:ext cx="5579893" cy="478853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25" name="Marcador de posición de imagen 2"/>
          <p:cNvSpPr>
            <a:spLocks noGrp="1"/>
          </p:cNvSpPr>
          <p:nvPr>
            <p:ph type="pic" sz="quarter" idx="29" hasCustomPrompt="1"/>
          </p:nvPr>
        </p:nvSpPr>
        <p:spPr>
          <a:xfrm>
            <a:off x="6275996" y="1448780"/>
            <a:ext cx="5579893" cy="478853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cxnSp>
        <p:nvCxnSpPr>
          <p:cNvPr id="13" name="Conector recto 12"/>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2"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315718334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4"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j-lt"/>
                <a:cs typeface="Karla"/>
              </a:rPr>
              <a:t>  </a:t>
            </a:r>
            <a:fld id="{E77AE0A1-274E-2944-95AF-27E87E012DC6}" type="slidenum">
              <a:rPr lang="en-US" sz="950" spc="-74" smtClean="0">
                <a:solidFill>
                  <a:schemeClr val="tx2"/>
                </a:solidFill>
                <a:latin typeface="+mj-lt"/>
                <a:cs typeface="Karla"/>
              </a:rPr>
              <a:pPr algn="r" eaLnBrk="1" hangingPunct="1">
                <a:lnSpc>
                  <a:spcPct val="120000"/>
                </a:lnSpc>
                <a:defRPr/>
              </a:pPr>
              <a:t>‹#›</a:t>
            </a:fld>
            <a:endParaRPr lang="en-US" sz="950" spc="-74" dirty="0">
              <a:solidFill>
                <a:schemeClr val="tx2"/>
              </a:solidFill>
              <a:latin typeface="+mj-lt"/>
              <a:cs typeface="Karla"/>
            </a:endParaRPr>
          </a:p>
        </p:txBody>
      </p:sp>
      <p:sp>
        <p:nvSpPr>
          <p:cNvPr id="8"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3221890288"/>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13" name="Marcador de texto 6"/>
          <p:cNvSpPr>
            <a:spLocks noGrp="1"/>
          </p:cNvSpPr>
          <p:nvPr>
            <p:ph type="body" sz="quarter" idx="22" hasCustomPrompt="1"/>
          </p:nvPr>
        </p:nvSpPr>
        <p:spPr>
          <a:xfrm>
            <a:off x="336109" y="296652"/>
            <a:ext cx="8783832" cy="1512552"/>
          </a:xfrm>
          <a:prstGeom prst="rect">
            <a:avLst/>
          </a:prstGeom>
        </p:spPr>
        <p:txBody>
          <a:bodyPr vert="horz" lIns="34267" tIns="17132" rIns="34267" bIns="17132"/>
          <a:lstStyle>
            <a:lvl1pPr marL="0" indent="0">
              <a:buNone/>
              <a:defRPr sz="4499" b="1" i="0" spc="-149" baseline="0">
                <a:solidFill>
                  <a:schemeClr val="tx2"/>
                </a:solidFill>
                <a:latin typeface="+mj-lt"/>
                <a:cs typeface="Karla"/>
              </a:defRPr>
            </a:lvl1pPr>
          </a:lstStyle>
          <a:p>
            <a:pPr lvl="0"/>
            <a:r>
              <a:rPr lang="en-US" noProof="0" dirty="0"/>
              <a:t>Quote (Karla 90)</a:t>
            </a:r>
          </a:p>
        </p:txBody>
      </p:sp>
      <p:sp>
        <p:nvSpPr>
          <p:cNvPr id="14" name="Marcador de texto 6"/>
          <p:cNvSpPr>
            <a:spLocks noGrp="1"/>
          </p:cNvSpPr>
          <p:nvPr>
            <p:ph type="body" sz="quarter" idx="10" hasCustomPrompt="1"/>
          </p:nvPr>
        </p:nvSpPr>
        <p:spPr>
          <a:xfrm>
            <a:off x="336113" y="2025229"/>
            <a:ext cx="4139921" cy="324036"/>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400" b="0" i="0" spc="0" baseline="0">
                <a:solidFill>
                  <a:schemeClr val="tx1"/>
                </a:solidFill>
                <a:latin typeface="+mj-lt"/>
                <a:cs typeface="Noto Sans Regular"/>
              </a:defRPr>
            </a:lvl1pPr>
          </a:lstStyle>
          <a:p>
            <a:pPr lvl="0"/>
            <a:r>
              <a:rPr lang="en-US" noProof="0" dirty="0"/>
              <a:t>Click here to insert author or caption (Karla 28)</a:t>
            </a:r>
          </a:p>
        </p:txBody>
      </p:sp>
      <p:pic>
        <p:nvPicPr>
          <p:cNvPr id="10" name="Imagen 9"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1"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7A7167"/>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7" name="Conector recto 6"/>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87653076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2" name="plhTOCTitle"/>
          <p:cNvSpPr>
            <a:spLocks noGrp="1"/>
          </p:cNvSpPr>
          <p:nvPr>
            <p:ph type="title"/>
          </p:nvPr>
        </p:nvSpPr>
        <p:spPr/>
        <p:txBody>
          <a:bodyPr/>
          <a:lstStyle/>
          <a:p>
            <a:r>
              <a:rPr lang="en-US"/>
              <a:t>Click to edit Master title style</a:t>
            </a:r>
            <a:endParaRPr lang="en-US" dirty="0"/>
          </a:p>
        </p:txBody>
      </p:sp>
      <p:sp>
        <p:nvSpPr>
          <p:cNvPr id="5" name="plhTOCBody"/>
          <p:cNvSpPr>
            <a:spLocks noGrp="1"/>
          </p:cNvSpPr>
          <p:nvPr>
            <p:ph type="body" sz="quarter" idx="10" hasCustomPrompt="1"/>
          </p:nvPr>
        </p:nvSpPr>
        <p:spPr/>
        <p:txBody>
          <a:bodyPr/>
          <a:lstStyle>
            <a:lvl1pPr marL="615437" indent="-615437">
              <a:lnSpc>
                <a:spcPct val="155000"/>
              </a:lnSpc>
              <a:spcBef>
                <a:spcPts val="0"/>
              </a:spcBef>
              <a:buFont typeface="+mj-lt"/>
              <a:buAutoNum type="arabicPeriod"/>
              <a:tabLst>
                <a:tab pos="7739974" algn="r"/>
              </a:tabLst>
              <a:defRPr/>
            </a:lvl1pPr>
            <a:lvl2pPr marL="1230874" indent="-615437">
              <a:lnSpc>
                <a:spcPct val="155000"/>
              </a:lnSpc>
              <a:spcBef>
                <a:spcPts val="0"/>
              </a:spcBef>
              <a:buSzPct val="100000"/>
              <a:buFont typeface="+mj-lt"/>
              <a:buAutoNum type="alphaUcPeriod"/>
              <a:tabLst>
                <a:tab pos="7739974" algn="r"/>
              </a:tabLst>
              <a:defRPr/>
            </a:lvl2pPr>
            <a:lvl3pPr marL="1846311" indent="-615437">
              <a:lnSpc>
                <a:spcPct val="155000"/>
              </a:lnSpc>
              <a:spcBef>
                <a:spcPts val="0"/>
              </a:spcBef>
              <a:buFont typeface="+mj-lt"/>
              <a:buAutoNum type="romanLcPeriod"/>
              <a:tabLst>
                <a:tab pos="7739974" algn="r"/>
              </a:tabLst>
              <a:defRPr baseline="0"/>
            </a:lvl3pPr>
            <a:lvl4pPr marL="1230874" indent="-615437">
              <a:lnSpc>
                <a:spcPct val="155000"/>
              </a:lnSpc>
              <a:spcBef>
                <a:spcPts val="0"/>
              </a:spcBef>
              <a:buNone/>
              <a:tabLst>
                <a:tab pos="7739974" algn="r"/>
              </a:tabLst>
              <a:defRPr/>
            </a:lvl4pPr>
            <a:lvl5pPr marL="1230874" indent="-615437">
              <a:lnSpc>
                <a:spcPct val="155000"/>
              </a:lnSpc>
              <a:spcBef>
                <a:spcPts val="0"/>
              </a:spcBef>
              <a:buFont typeface="+mj-lt"/>
              <a:buAutoNum type="alphaUcPeriod"/>
              <a:tabLst>
                <a:tab pos="7739974" algn="r"/>
              </a:tabLst>
              <a:defRPr/>
            </a:lvl5pPr>
            <a:lvl6pPr marL="1846311" indent="-615437">
              <a:lnSpc>
                <a:spcPct val="155000"/>
              </a:lnSpc>
              <a:spcBef>
                <a:spcPts val="0"/>
              </a:spcBef>
              <a:buSzPct val="100000"/>
              <a:buFont typeface="+mj-lt"/>
              <a:buAutoNum type="romanLcPeriod"/>
              <a:tabLst>
                <a:tab pos="7739974" algn="r"/>
              </a:tabLst>
              <a:defRPr baseline="0"/>
            </a:lvl6pPr>
            <a:lvl7pPr marL="0" indent="0">
              <a:buNone/>
              <a:defRPr/>
            </a:lvl7pPr>
          </a:lstStyle>
          <a:p>
            <a:pPr lvl="0"/>
            <a:r>
              <a:rPr lang="en-US" dirty="0"/>
              <a:t>Primary Sections</a:t>
            </a:r>
          </a:p>
          <a:p>
            <a:pPr lvl="1"/>
            <a:r>
              <a:rPr lang="en-US" dirty="0"/>
              <a:t>Sub-Sections</a:t>
            </a:r>
          </a:p>
          <a:p>
            <a:pPr lvl="2"/>
            <a:r>
              <a:rPr lang="en-US" dirty="0"/>
              <a:t>Tertiary Sections</a:t>
            </a:r>
          </a:p>
          <a:p>
            <a:pPr lvl="6"/>
            <a:r>
              <a:rPr lang="en-US" dirty="0"/>
              <a:t>________________________________________________________________________________________</a:t>
            </a:r>
          </a:p>
          <a:p>
            <a:pPr lvl="3"/>
            <a:r>
              <a:rPr lang="en-US" dirty="0"/>
              <a:t>Appendices</a:t>
            </a:r>
          </a:p>
          <a:p>
            <a:pPr lvl="4"/>
            <a:r>
              <a:rPr lang="en-US" dirty="0"/>
              <a:t>Appendices Sections</a:t>
            </a:r>
          </a:p>
          <a:p>
            <a:pPr lvl="5"/>
            <a:r>
              <a:rPr lang="en-US" dirty="0"/>
              <a:t>Appendices Sub-Sections</a:t>
            </a:r>
          </a:p>
          <a:p>
            <a:pPr lvl="5"/>
            <a:endParaRPr lang="en-US" dirty="0"/>
          </a:p>
        </p:txBody>
      </p:sp>
    </p:spTree>
    <p:extLst>
      <p:ext uri="{BB962C8B-B14F-4D97-AF65-F5344CB8AC3E}">
        <p14:creationId xmlns:p14="http://schemas.microsoft.com/office/powerpoint/2010/main" val="3233781179"/>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6034E32C-7533-6D41-B26B-E6788F4B982B}"/>
              </a:ext>
            </a:extLst>
          </p:cNvPr>
          <p:cNvPicPr>
            <a:picLocks noChangeAspect="1"/>
          </p:cNvPicPr>
          <p:nvPr userDrawn="1"/>
        </p:nvPicPr>
        <p:blipFill>
          <a:blip r:embed="rId2"/>
          <a:stretch>
            <a:fillRect/>
          </a:stretch>
        </p:blipFill>
        <p:spPr>
          <a:xfrm>
            <a:off x="-2034" y="2"/>
            <a:ext cx="10699263" cy="6866731"/>
          </a:xfrm>
          <a:prstGeom prst="rect">
            <a:avLst/>
          </a:prstGeom>
        </p:spPr>
      </p:pic>
      <p:sp>
        <p:nvSpPr>
          <p:cNvPr id="12" name="Marcador de texto 6"/>
          <p:cNvSpPr>
            <a:spLocks noGrp="1"/>
          </p:cNvSpPr>
          <p:nvPr>
            <p:ph type="body" sz="quarter" idx="22" hasCustomPrompt="1"/>
          </p:nvPr>
        </p:nvSpPr>
        <p:spPr>
          <a:xfrm>
            <a:off x="6203998" y="980344"/>
            <a:ext cx="2951944" cy="432432"/>
          </a:xfrm>
          <a:prstGeom prst="rect">
            <a:avLst/>
          </a:prstGeom>
        </p:spPr>
        <p:txBody>
          <a:bodyPr vert="horz" lIns="34267" tIns="17132" rIns="34267" bIns="17132"/>
          <a:lstStyle>
            <a:lvl1pPr marL="0" indent="0">
              <a:buNone/>
              <a:defRPr sz="3599" b="1" i="0" spc="-74" baseline="0">
                <a:solidFill>
                  <a:schemeClr val="tx2"/>
                </a:solidFill>
                <a:latin typeface="+mj-lt"/>
                <a:cs typeface="Karla"/>
              </a:defRPr>
            </a:lvl1pPr>
          </a:lstStyle>
          <a:p>
            <a:pPr lvl="0"/>
            <a:r>
              <a:rPr lang="es-ES_tradnl" dirty="0" err="1"/>
              <a:t>Closing</a:t>
            </a:r>
            <a:r>
              <a:rPr lang="es-ES_tradnl" dirty="0"/>
              <a:t> </a:t>
            </a:r>
            <a:r>
              <a:rPr lang="es-ES_tradnl" dirty="0" err="1"/>
              <a:t>Slide</a:t>
            </a:r>
            <a:endParaRPr lang="es-ES_tradnl" dirty="0"/>
          </a:p>
        </p:txBody>
      </p:sp>
      <p:sp>
        <p:nvSpPr>
          <p:cNvPr id="13" name="Marcador de texto 6"/>
          <p:cNvSpPr>
            <a:spLocks noGrp="1"/>
          </p:cNvSpPr>
          <p:nvPr>
            <p:ph type="body" sz="quarter" idx="23" hasCustomPrompt="1"/>
          </p:nvPr>
        </p:nvSpPr>
        <p:spPr>
          <a:xfrm>
            <a:off x="6203998" y="1615603"/>
            <a:ext cx="2951944" cy="1404156"/>
          </a:xfrm>
          <a:prstGeom prst="rect">
            <a:avLst/>
          </a:prstGeom>
        </p:spPr>
        <p:txBody>
          <a:bodyPr vert="horz" lIns="34267" tIns="17132" rIns="34267" bIns="17132"/>
          <a:lstStyle>
            <a:lvl1pPr marL="0" indent="0">
              <a:buNone/>
              <a:defRPr sz="1400" b="0" i="0" spc="0" baseline="0">
                <a:solidFill>
                  <a:schemeClr val="tx1"/>
                </a:solidFill>
                <a:latin typeface="+mj-lt"/>
                <a:cs typeface="Noto Sans Regular"/>
              </a:defRPr>
            </a:lvl1pPr>
          </a:lstStyle>
          <a:p>
            <a:pPr lvl="0"/>
            <a:r>
              <a:rPr lang="en-US" noProof="0" dirty="0"/>
              <a:t>Click here to insert contact information</a:t>
            </a:r>
          </a:p>
        </p:txBody>
      </p:sp>
      <p:pic>
        <p:nvPicPr>
          <p:cNvPr id="9" name="Imagen 8" descr="Agility_logos_ppt-01.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cxnSp>
        <p:nvCxnSpPr>
          <p:cNvPr id="10" name="Conector recto 9"/>
          <p:cNvCxnSpPr/>
          <p:nvPr userDrawn="1"/>
        </p:nvCxnSpPr>
        <p:spPr>
          <a:xfrm flipV="1">
            <a:off x="6217490" y="620712"/>
            <a:ext cx="2952366"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46014447"/>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preserve="1" userDrawn="1">
  <p:cSld name="Internal - Back Cover">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7D43B2CF-D92D-AF44-837C-B5B449BB1AC8}"/>
              </a:ext>
            </a:extLst>
          </p:cNvPr>
          <p:cNvPicPr>
            <a:picLocks noChangeAspect="1"/>
          </p:cNvPicPr>
          <p:nvPr userDrawn="1"/>
        </p:nvPicPr>
        <p:blipFill rotWithShape="1">
          <a:blip r:embed="rId2"/>
          <a:srcRect l="11831" t="17206" b="2388"/>
          <a:stretch/>
        </p:blipFill>
        <p:spPr>
          <a:xfrm>
            <a:off x="0" y="0"/>
            <a:ext cx="7958725" cy="6858000"/>
          </a:xfrm>
          <a:prstGeom prst="rect">
            <a:avLst/>
          </a:prstGeom>
        </p:spPr>
      </p:pic>
      <p:sp>
        <p:nvSpPr>
          <p:cNvPr id="6" name="Marcador de texto 6">
            <a:extLst>
              <a:ext uri="{FF2B5EF4-FFF2-40B4-BE49-F238E27FC236}">
                <a16:creationId xmlns:a16="http://schemas.microsoft.com/office/drawing/2014/main" id="{27C538F3-464C-A248-8CDD-0FB5A93F832F}"/>
              </a:ext>
            </a:extLst>
          </p:cNvPr>
          <p:cNvSpPr>
            <a:spLocks noGrp="1"/>
          </p:cNvSpPr>
          <p:nvPr>
            <p:ph type="body" sz="quarter" idx="22" hasCustomPrompt="1"/>
          </p:nvPr>
        </p:nvSpPr>
        <p:spPr>
          <a:xfrm>
            <a:off x="6203998" y="980344"/>
            <a:ext cx="2951944" cy="684460"/>
          </a:xfrm>
          <a:prstGeom prst="rect">
            <a:avLst/>
          </a:prstGeom>
        </p:spPr>
        <p:txBody>
          <a:bodyPr vert="horz" lIns="34267" tIns="17132" rIns="34267" bIns="17132"/>
          <a:lstStyle>
            <a:lvl1pPr marL="0" indent="0">
              <a:buNone/>
              <a:defRPr sz="3999" b="1" i="0" spc="-74" baseline="0">
                <a:solidFill>
                  <a:schemeClr val="tx2"/>
                </a:solidFill>
                <a:latin typeface="Karla"/>
                <a:cs typeface="Karla"/>
              </a:defRPr>
            </a:lvl1pPr>
          </a:lstStyle>
          <a:p>
            <a:pPr lvl="0"/>
            <a:r>
              <a:rPr lang="en-US" noProof="0" dirty="0"/>
              <a:t>Thank you</a:t>
            </a:r>
          </a:p>
        </p:txBody>
      </p:sp>
      <p:sp>
        <p:nvSpPr>
          <p:cNvPr id="7" name="Marcador de texto 6">
            <a:extLst>
              <a:ext uri="{FF2B5EF4-FFF2-40B4-BE49-F238E27FC236}">
                <a16:creationId xmlns:a16="http://schemas.microsoft.com/office/drawing/2014/main" id="{85DA5F3B-ED46-FC43-80F1-EB8BCC7B1CE6}"/>
              </a:ext>
            </a:extLst>
          </p:cNvPr>
          <p:cNvSpPr>
            <a:spLocks noGrp="1"/>
          </p:cNvSpPr>
          <p:nvPr>
            <p:ph type="body" sz="quarter" idx="25" hasCustomPrompt="1"/>
          </p:nvPr>
        </p:nvSpPr>
        <p:spPr>
          <a:xfrm>
            <a:off x="6203998" y="1786956"/>
            <a:ext cx="2951944" cy="1404156"/>
          </a:xfrm>
          <a:prstGeom prst="rect">
            <a:avLst/>
          </a:prstGeom>
        </p:spPr>
        <p:txBody>
          <a:bodyPr vert="horz" lIns="34267" tIns="17132" rIns="34267" bIns="17132"/>
          <a:lstStyle>
            <a:lvl1pPr marL="0" indent="0">
              <a:buNone/>
              <a:defRPr sz="1400" b="0" i="0" spc="0" baseline="0">
                <a:solidFill>
                  <a:schemeClr val="tx1"/>
                </a:solidFill>
                <a:latin typeface="+mj-lt"/>
                <a:ea typeface="Noto Sans" panose="020B0502040504020204" pitchFamily="34" charset="0"/>
                <a:cs typeface="Noto Sans" panose="020B0502040504020204" pitchFamily="34" charset="0"/>
              </a:defRPr>
            </a:lvl1pPr>
          </a:lstStyle>
          <a:p>
            <a:pPr lvl="0"/>
            <a:r>
              <a:rPr lang="en-US" noProof="0" dirty="0"/>
              <a:t>Click here to insert contact information</a:t>
            </a:r>
          </a:p>
        </p:txBody>
      </p:sp>
      <p:cxnSp>
        <p:nvCxnSpPr>
          <p:cNvPr id="12" name="Conector recto 11">
            <a:extLst>
              <a:ext uri="{FF2B5EF4-FFF2-40B4-BE49-F238E27FC236}">
                <a16:creationId xmlns:a16="http://schemas.microsoft.com/office/drawing/2014/main" id="{6227A4D8-DC6B-834F-9D41-B854002DE7E0}"/>
              </a:ext>
            </a:extLst>
          </p:cNvPr>
          <p:cNvCxnSpPr/>
          <p:nvPr userDrawn="1"/>
        </p:nvCxnSpPr>
        <p:spPr>
          <a:xfrm flipV="1">
            <a:off x="6217490" y="620712"/>
            <a:ext cx="2952366"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1" name="CuadroTexto 10">
            <a:extLst>
              <a:ext uri="{FF2B5EF4-FFF2-40B4-BE49-F238E27FC236}">
                <a16:creationId xmlns:a16="http://schemas.microsoft.com/office/drawing/2014/main" id="{7534B54F-E473-9C4C-B74E-0C879E46F685}"/>
              </a:ext>
            </a:extLst>
          </p:cNvPr>
          <p:cNvSpPr txBox="1"/>
          <p:nvPr userDrawn="1"/>
        </p:nvSpPr>
        <p:spPr>
          <a:xfrm>
            <a:off x="4022836" y="8467344"/>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Etelka Text Pro"/>
              <a:cs typeface="Etelka Text Pro"/>
            </a:endParaRPr>
          </a:p>
        </p:txBody>
      </p:sp>
      <p:sp>
        <p:nvSpPr>
          <p:cNvPr id="14" name="CuadroTexto 13">
            <a:extLst>
              <a:ext uri="{FF2B5EF4-FFF2-40B4-BE49-F238E27FC236}">
                <a16:creationId xmlns:a16="http://schemas.microsoft.com/office/drawing/2014/main" id="{D374A664-FDB5-4D41-B74A-D1E27250F1FA}"/>
              </a:ext>
            </a:extLst>
          </p:cNvPr>
          <p:cNvSpPr txBox="1"/>
          <p:nvPr userDrawn="1"/>
        </p:nvSpPr>
        <p:spPr>
          <a:xfrm>
            <a:off x="10751944" y="-1975104"/>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Etelka Text Pro"/>
              <a:cs typeface="Etelka Text Pro"/>
            </a:endParaRPr>
          </a:p>
        </p:txBody>
      </p:sp>
      <p:pic>
        <p:nvPicPr>
          <p:cNvPr id="10" name="Imagen 9" descr="Agility_logos_ppt-01.png">
            <a:extLst>
              <a:ext uri="{FF2B5EF4-FFF2-40B4-BE49-F238E27FC236}">
                <a16:creationId xmlns:a16="http://schemas.microsoft.com/office/drawing/2014/main" id="{D79C35D3-6F9B-974B-A874-EC96E7339D6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Tree>
    <p:extLst>
      <p:ext uri="{BB962C8B-B14F-4D97-AF65-F5344CB8AC3E}">
        <p14:creationId xmlns:p14="http://schemas.microsoft.com/office/powerpoint/2010/main" val="2436272119"/>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5" name="Imagen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12195175" cy="68659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8" name="Conector recto 7"/>
          <p:cNvCxnSpPr/>
          <p:nvPr userDrawn="1"/>
        </p:nvCxnSpPr>
        <p:spPr>
          <a:xfrm flipV="1">
            <a:off x="443752" y="620712"/>
            <a:ext cx="4932513"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7" name="Marcador de texto 6"/>
          <p:cNvSpPr>
            <a:spLocks noGrp="1"/>
          </p:cNvSpPr>
          <p:nvPr>
            <p:ph type="body" sz="quarter" idx="10" hasCustomPrompt="1"/>
          </p:nvPr>
        </p:nvSpPr>
        <p:spPr>
          <a:xfrm>
            <a:off x="444108" y="1016732"/>
            <a:ext cx="5435896" cy="1548556"/>
          </a:xfrm>
          <a:prstGeom prst="rect">
            <a:avLst/>
          </a:prstGeom>
        </p:spPr>
        <p:txBody>
          <a:bodyPr vert="horz" lIns="34267" tIns="17132" rIns="34267" bIns="17132"/>
          <a:lstStyle>
            <a:lvl1pPr marL="0" indent="0">
              <a:buNone/>
              <a:defRPr sz="4499" b="1" i="0" spc="-149" baseline="0">
                <a:solidFill>
                  <a:schemeClr val="bg2"/>
                </a:solidFill>
                <a:latin typeface="Karla" pitchFamily="2" charset="0"/>
                <a:ea typeface="Karla" pitchFamily="2" charset="0"/>
                <a:cs typeface="Karla" pitchFamily="2" charset="0"/>
              </a:defRPr>
            </a:lvl1pPr>
          </a:lstStyle>
          <a:p>
            <a:pPr lvl="0"/>
            <a:r>
              <a:rPr lang="en-US" noProof="0" dirty="0"/>
              <a:t>Click here to insert presentation title</a:t>
            </a:r>
          </a:p>
        </p:txBody>
      </p:sp>
      <p:sp>
        <p:nvSpPr>
          <p:cNvPr id="14" name="Marcador de texto 13"/>
          <p:cNvSpPr>
            <a:spLocks noGrp="1"/>
          </p:cNvSpPr>
          <p:nvPr>
            <p:ph type="body" sz="quarter" idx="12" hasCustomPrompt="1"/>
          </p:nvPr>
        </p:nvSpPr>
        <p:spPr>
          <a:xfrm>
            <a:off x="443748" y="2673303"/>
            <a:ext cx="5400256" cy="1044575"/>
          </a:xfrm>
          <a:prstGeom prst="rect">
            <a:avLst/>
          </a:prstGeom>
        </p:spPr>
        <p:txBody>
          <a:bodyPr vert="horz" lIns="34267" tIns="17132" rIns="34267" bIns="17132"/>
          <a:lstStyle>
            <a:lvl1pPr marL="0" indent="0">
              <a:buNone/>
              <a:defRPr sz="2500" spc="-74" baseline="0">
                <a:solidFill>
                  <a:schemeClr val="bg2"/>
                </a:solidFill>
                <a:latin typeface="+mn-lt"/>
                <a:ea typeface="Karla" pitchFamily="2" charset="0"/>
                <a:cs typeface="Karla" pitchFamily="2" charset="0"/>
              </a:defRPr>
            </a:lvl1pPr>
          </a:lstStyle>
          <a:p>
            <a:pPr lvl="0"/>
            <a:r>
              <a:rPr lang="en-US" noProof="0" dirty="0"/>
              <a:t>Click here to insert subtitle</a:t>
            </a:r>
          </a:p>
        </p:txBody>
      </p:sp>
      <p:sp>
        <p:nvSpPr>
          <p:cNvPr id="19" name="Marcador de texto 11"/>
          <p:cNvSpPr>
            <a:spLocks noGrp="1"/>
          </p:cNvSpPr>
          <p:nvPr>
            <p:ph type="body" sz="quarter" idx="11" hasCustomPrompt="1"/>
          </p:nvPr>
        </p:nvSpPr>
        <p:spPr>
          <a:xfrm>
            <a:off x="443748" y="314382"/>
            <a:ext cx="3492293" cy="216384"/>
          </a:xfrm>
          <a:prstGeom prst="rect">
            <a:avLst/>
          </a:prstGeom>
        </p:spPr>
        <p:txBody>
          <a:bodyPr vert="horz" lIns="34267" tIns="17132" rIns="34267" bIns="17132"/>
          <a:lstStyle>
            <a:lvl1pPr marL="0" indent="0">
              <a:buNone/>
              <a:defRPr sz="900" baseline="0">
                <a:solidFill>
                  <a:schemeClr val="bg2"/>
                </a:solidFill>
                <a:latin typeface="+mn-lt"/>
                <a:cs typeface="Karla"/>
              </a:defRPr>
            </a:lvl1pPr>
          </a:lstStyle>
          <a:p>
            <a:pPr lvl="0"/>
            <a:r>
              <a:rPr lang="en-GB" noProof="0" dirty="0"/>
              <a:t>MONTH / DAY / YEAR</a:t>
            </a:r>
          </a:p>
        </p:txBody>
      </p:sp>
      <p:pic>
        <p:nvPicPr>
          <p:cNvPr id="10" name="Imagen 9" descr="Agility_logos_pp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59966" y="5337212"/>
            <a:ext cx="3855219" cy="1066800"/>
          </a:xfrm>
          <a:prstGeom prst="rect">
            <a:avLst/>
          </a:prstGeom>
        </p:spPr>
      </p:pic>
    </p:spTree>
    <p:extLst>
      <p:ext uri="{BB962C8B-B14F-4D97-AF65-F5344CB8AC3E}">
        <p14:creationId xmlns:p14="http://schemas.microsoft.com/office/powerpoint/2010/main" val="2041631700"/>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Internal Cover">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65C2EEC-F2DD-264D-8279-13327B685EA8}"/>
              </a:ext>
            </a:extLst>
          </p:cNvPr>
          <p:cNvPicPr>
            <a:picLocks noChangeAspect="1"/>
          </p:cNvPicPr>
          <p:nvPr userDrawn="1"/>
        </p:nvPicPr>
        <p:blipFill rotWithShape="1">
          <a:blip r:embed="rId2"/>
          <a:srcRect t="906" r="672" b="1039"/>
          <a:stretch/>
        </p:blipFill>
        <p:spPr>
          <a:xfrm>
            <a:off x="3346283" y="1"/>
            <a:ext cx="8845717" cy="6858000"/>
          </a:xfrm>
          <a:prstGeom prst="rect">
            <a:avLst/>
          </a:prstGeom>
        </p:spPr>
      </p:pic>
      <p:sp>
        <p:nvSpPr>
          <p:cNvPr id="13" name="Marcador de texto 6"/>
          <p:cNvSpPr>
            <a:spLocks noGrp="1"/>
          </p:cNvSpPr>
          <p:nvPr>
            <p:ph type="body" sz="quarter" idx="10" hasCustomPrompt="1"/>
          </p:nvPr>
        </p:nvSpPr>
        <p:spPr>
          <a:xfrm>
            <a:off x="444108" y="1016349"/>
            <a:ext cx="5435896" cy="1548556"/>
          </a:xfrm>
          <a:prstGeom prst="rect">
            <a:avLst/>
          </a:prstGeom>
        </p:spPr>
        <p:txBody>
          <a:bodyPr vert="horz" lIns="34267" tIns="17132" rIns="34267" bIns="17132"/>
          <a:lstStyle>
            <a:lvl1pPr marL="0" indent="0">
              <a:buNone/>
              <a:defRPr sz="4499" b="1" i="0" spc="-149" baseline="0">
                <a:solidFill>
                  <a:schemeClr val="tx2"/>
                </a:solidFill>
                <a:latin typeface="Karla"/>
                <a:cs typeface="Karla"/>
              </a:defRPr>
            </a:lvl1pPr>
          </a:lstStyle>
          <a:p>
            <a:pPr lvl="0"/>
            <a:r>
              <a:rPr lang="en-US" noProof="0" dirty="0"/>
              <a:t>Click here to insert presentation title</a:t>
            </a:r>
          </a:p>
        </p:txBody>
      </p:sp>
      <p:sp>
        <p:nvSpPr>
          <p:cNvPr id="14" name="Marcador de texto 13"/>
          <p:cNvSpPr>
            <a:spLocks noGrp="1"/>
          </p:cNvSpPr>
          <p:nvPr>
            <p:ph type="body" sz="quarter" idx="12" hasCustomPrompt="1"/>
          </p:nvPr>
        </p:nvSpPr>
        <p:spPr>
          <a:xfrm>
            <a:off x="443748" y="2672920"/>
            <a:ext cx="5400256" cy="1044575"/>
          </a:xfrm>
          <a:prstGeom prst="rect">
            <a:avLst/>
          </a:prstGeom>
        </p:spPr>
        <p:txBody>
          <a:bodyPr vert="horz" lIns="34267" tIns="17132" rIns="34267" bIns="17132"/>
          <a:lstStyle>
            <a:lvl1pPr marL="0" indent="0">
              <a:buNone/>
              <a:defRPr sz="2500" spc="-74" baseline="0">
                <a:solidFill>
                  <a:schemeClr val="tx1"/>
                </a:solidFill>
                <a:latin typeface="Karla"/>
                <a:cs typeface="Karla"/>
              </a:defRPr>
            </a:lvl1pPr>
          </a:lstStyle>
          <a:p>
            <a:pPr lvl="0"/>
            <a:r>
              <a:rPr lang="en-US" noProof="0" dirty="0"/>
              <a:t>Click here to insert subtitle</a:t>
            </a:r>
          </a:p>
        </p:txBody>
      </p:sp>
      <p:sp>
        <p:nvSpPr>
          <p:cNvPr id="15" name="Marcador de texto 11"/>
          <p:cNvSpPr>
            <a:spLocks noGrp="1"/>
          </p:cNvSpPr>
          <p:nvPr>
            <p:ph type="body" sz="quarter" idx="11" hasCustomPrompt="1"/>
          </p:nvPr>
        </p:nvSpPr>
        <p:spPr>
          <a:xfrm>
            <a:off x="443748" y="314382"/>
            <a:ext cx="3492293" cy="216384"/>
          </a:xfrm>
          <a:prstGeom prst="rect">
            <a:avLst/>
          </a:prstGeom>
        </p:spPr>
        <p:txBody>
          <a:bodyPr vert="horz" lIns="34267" tIns="17132" rIns="34267" bIns="17132"/>
          <a:lstStyle>
            <a:lvl1pPr marL="0" indent="0">
              <a:buNone/>
              <a:defRPr sz="900" baseline="0">
                <a:solidFill>
                  <a:schemeClr val="tx2"/>
                </a:solidFill>
                <a:latin typeface="Karla"/>
                <a:cs typeface="Karla"/>
              </a:defRPr>
            </a:lvl1pPr>
          </a:lstStyle>
          <a:p>
            <a:pPr lvl="0"/>
            <a:r>
              <a:rPr lang="en-GB" noProof="0" dirty="0"/>
              <a:t>MONTH / DAY / YEAR</a:t>
            </a:r>
          </a:p>
        </p:txBody>
      </p:sp>
      <p:cxnSp>
        <p:nvCxnSpPr>
          <p:cNvPr id="8" name="Conector recto 7">
            <a:extLst>
              <a:ext uri="{FF2B5EF4-FFF2-40B4-BE49-F238E27FC236}">
                <a16:creationId xmlns:a16="http://schemas.microsoft.com/office/drawing/2014/main" id="{3A294987-36C5-1440-8687-EFE01C38D955}"/>
              </a:ext>
            </a:extLst>
          </p:cNvPr>
          <p:cNvCxnSpPr/>
          <p:nvPr userDrawn="1"/>
        </p:nvCxnSpPr>
        <p:spPr>
          <a:xfrm flipV="1">
            <a:off x="443752" y="620712"/>
            <a:ext cx="4932513"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9" name="Imagen 8" descr="Agility_logos_ppt-03.png">
            <a:extLst>
              <a:ext uri="{FF2B5EF4-FFF2-40B4-BE49-F238E27FC236}">
                <a16:creationId xmlns:a16="http://schemas.microsoft.com/office/drawing/2014/main" id="{1F32402F-CA39-374D-9E7E-6F578ACA4C8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59966" y="5337212"/>
            <a:ext cx="3855219" cy="1066800"/>
          </a:xfrm>
          <a:prstGeom prst="rect">
            <a:avLst/>
          </a:prstGeom>
        </p:spPr>
      </p:pic>
    </p:spTree>
    <p:extLst>
      <p:ext uri="{BB962C8B-B14F-4D97-AF65-F5344CB8AC3E}">
        <p14:creationId xmlns:p14="http://schemas.microsoft.com/office/powerpoint/2010/main" val="195588305"/>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14" name="Marcador de texto 13"/>
          <p:cNvSpPr>
            <a:spLocks noGrp="1"/>
          </p:cNvSpPr>
          <p:nvPr>
            <p:ph type="body" sz="quarter" idx="12" hasCustomPrompt="1"/>
          </p:nvPr>
        </p:nvSpPr>
        <p:spPr>
          <a:xfrm>
            <a:off x="336113" y="1448780"/>
            <a:ext cx="6192241" cy="4932549"/>
          </a:xfrm>
          <a:prstGeom prst="rect">
            <a:avLst/>
          </a:prstGeom>
        </p:spPr>
        <p:txBody>
          <a:bodyPr vert="horz" lIns="34267" tIns="17132" rIns="34267" bIns="17132"/>
          <a:lstStyle>
            <a:lvl1pPr marL="456796" marR="0" indent="-456796" algn="l" defTabSz="456796" rtl="0" eaLnBrk="1" fontAlgn="base" latinLnBrk="0" hangingPunct="1">
              <a:lnSpc>
                <a:spcPct val="100000"/>
              </a:lnSpc>
              <a:spcBef>
                <a:spcPct val="20000"/>
              </a:spcBef>
              <a:spcAft>
                <a:spcPct val="0"/>
              </a:spcAft>
              <a:buClrTx/>
              <a:buSzTx/>
              <a:buFont typeface="+mj-lt"/>
              <a:buAutoNum type="arabicPeriod"/>
              <a:tabLst/>
              <a:defRPr sz="2500" b="0" spc="-74" baseline="0">
                <a:solidFill>
                  <a:schemeClr val="tx2"/>
                </a:solidFill>
                <a:latin typeface="+mn-lt"/>
                <a:cs typeface="Karla"/>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dirty="0"/>
              <a:t>Subject 1</a:t>
            </a:r>
          </a:p>
        </p:txBody>
      </p:sp>
      <p:sp>
        <p:nvSpPr>
          <p:cNvPr id="17" name="Marcador de texto 16"/>
          <p:cNvSpPr>
            <a:spLocks noGrp="1"/>
          </p:cNvSpPr>
          <p:nvPr>
            <p:ph type="body" sz="quarter" idx="13" hasCustomPrompt="1"/>
          </p:nvPr>
        </p:nvSpPr>
        <p:spPr>
          <a:xfrm>
            <a:off x="6744347" y="1448780"/>
            <a:ext cx="2376179" cy="4932549"/>
          </a:xfrm>
          <a:prstGeom prst="rect">
            <a:avLst/>
          </a:prstGeom>
        </p:spPr>
        <p:txBody>
          <a:bodyPr vert="horz" lIns="34267" tIns="17132" rIns="34267" bIns="17132"/>
          <a:lstStyle>
            <a:lvl1pPr marL="0" indent="0" algn="r">
              <a:buNone/>
              <a:defRPr sz="2500" b="0" spc="-74">
                <a:solidFill>
                  <a:schemeClr val="tx2"/>
                </a:solidFill>
                <a:latin typeface="+mn-lt"/>
                <a:cs typeface="Karla"/>
              </a:defRPr>
            </a:lvl1pPr>
            <a:lvl2pPr>
              <a:defRPr>
                <a:latin typeface="+mn-lt"/>
              </a:defRPr>
            </a:lvl2pPr>
          </a:lstStyle>
          <a:p>
            <a:pPr lvl="0"/>
            <a:r>
              <a:rPr lang="en-US" noProof="0" dirty="0"/>
              <a:t>				00</a:t>
            </a:r>
          </a:p>
        </p:txBody>
      </p:sp>
      <p:pic>
        <p:nvPicPr>
          <p:cNvPr id="8" name="Imagen 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7" name="Marcador de texto 6"/>
          <p:cNvSpPr>
            <a:spLocks noGrp="1"/>
          </p:cNvSpPr>
          <p:nvPr>
            <p:ph type="body" sz="quarter" idx="34" hasCustomPrompt="1"/>
          </p:nvPr>
        </p:nvSpPr>
        <p:spPr>
          <a:xfrm>
            <a:off x="336109" y="440668"/>
            <a:ext cx="8783832" cy="756084"/>
          </a:xfrm>
          <a:prstGeom prst="rect">
            <a:avLst/>
          </a:prstGeom>
        </p:spPr>
        <p:txBody>
          <a:bodyPr vert="horz" lIns="34267" tIns="17132" rIns="34267" bIns="17132"/>
          <a:lstStyle>
            <a:lvl1pPr marL="0" marR="0" indent="0" algn="l" defTabSz="457109" rtl="0" eaLnBrk="1" fontAlgn="base" latinLnBrk="0" hangingPunct="1">
              <a:lnSpc>
                <a:spcPct val="100000"/>
              </a:lnSpc>
              <a:spcBef>
                <a:spcPct val="20000"/>
              </a:spcBef>
              <a:spcAft>
                <a:spcPct val="0"/>
              </a:spcAft>
              <a:buClrTx/>
              <a:buSzTx/>
              <a:buFontTx/>
              <a:buNone/>
              <a:tabLst/>
              <a:defRPr sz="3499" b="1" i="0" spc="-74" baseline="0">
                <a:solidFill>
                  <a:schemeClr val="tx2"/>
                </a:solidFill>
                <a:latin typeface="+mj-lt"/>
                <a:cs typeface="Karla"/>
              </a:defRPr>
            </a:lvl1pPr>
          </a:lstStyle>
          <a:p>
            <a:pPr lvl="0"/>
            <a:r>
              <a:rPr lang="en-US" noProof="0" dirty="0"/>
              <a:t>Agenda (Karla 70)</a:t>
            </a:r>
          </a:p>
          <a:p>
            <a:pPr lvl="0"/>
            <a:endParaRPr lang="en-US" noProof="0" dirty="0"/>
          </a:p>
        </p:txBody>
      </p:sp>
      <p:sp>
        <p:nvSpPr>
          <p:cNvPr id="6"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2"/>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9" name="Conector recto 6"/>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13098569"/>
      </p:ext>
    </p:extLst>
  </p:cSld>
  <p:clrMapOvr>
    <a:masterClrMapping/>
  </p:clrMapOvr>
  <p:hf hdr="0" ftr="0" dt="0"/>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Section Divider 01_Solid">
    <p:bg>
      <p:bgPr>
        <a:solidFill>
          <a:schemeClr val="tx2"/>
        </a:solidFill>
        <a:effectLst/>
      </p:bgPr>
    </p:bg>
    <p:spTree>
      <p:nvGrpSpPr>
        <p:cNvPr id="1" name=""/>
        <p:cNvGrpSpPr/>
        <p:nvPr/>
      </p:nvGrpSpPr>
      <p:grpSpPr>
        <a:xfrm>
          <a:off x="0" y="0"/>
          <a:ext cx="0" cy="0"/>
          <a:chOff x="0" y="0"/>
          <a:chExt cx="0" cy="0"/>
        </a:xfrm>
      </p:grpSpPr>
      <p:pic>
        <p:nvPicPr>
          <p:cNvPr id="12" name="Imagen 11" descr="Agility_logos-02.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1"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sp>
        <p:nvSpPr>
          <p:cNvPr id="10"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5"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cxnSp>
        <p:nvCxnSpPr>
          <p:cNvPr id="7" name="Conector recto 6"/>
          <p:cNvCxnSpPr/>
          <p:nvPr userDrawn="1"/>
        </p:nvCxnSpPr>
        <p:spPr>
          <a:xfrm>
            <a:off x="332463" y="6543102"/>
            <a:ext cx="11051787" cy="0"/>
          </a:xfrm>
          <a:prstGeom prst="line">
            <a:avLst/>
          </a:prstGeom>
          <a:ln w="12700" cmpd="sng">
            <a:solidFill>
              <a:schemeClr val="bg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3262239369"/>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ection Divider 02_Solid">
    <p:bg>
      <p:bgPr>
        <a:solidFill>
          <a:schemeClr val="accent4"/>
        </a:solidFill>
        <a:effectLst/>
      </p:bgPr>
    </p:bg>
    <p:spTree>
      <p:nvGrpSpPr>
        <p:cNvPr id="1" name=""/>
        <p:cNvGrpSpPr/>
        <p:nvPr/>
      </p:nvGrpSpPr>
      <p:grpSpPr>
        <a:xfrm>
          <a:off x="0" y="0"/>
          <a:ext cx="0" cy="0"/>
          <a:chOff x="0" y="0"/>
          <a:chExt cx="0" cy="0"/>
        </a:xfrm>
      </p:grpSpPr>
      <p:pic>
        <p:nvPicPr>
          <p:cNvPr id="12" name="Imagen 11" descr="Agility_logos-02.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1"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sp>
        <p:nvSpPr>
          <p:cNvPr id="9"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0"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cxnSp>
        <p:nvCxnSpPr>
          <p:cNvPr id="7" name="Conector recto 6"/>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61708309"/>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preserve="1" userDrawn="1">
  <p:cSld name="Internal Slide Divider">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id="{B449E1F5-22C3-CA4D-9814-365A4119ED99}"/>
              </a:ext>
            </a:extLst>
          </p:cNvPr>
          <p:cNvPicPr>
            <a:picLocks noChangeAspect="1"/>
          </p:cNvPicPr>
          <p:nvPr userDrawn="1"/>
        </p:nvPicPr>
        <p:blipFill rotWithShape="1">
          <a:blip r:embed="rId2"/>
          <a:srcRect l="1" r="26737" b="25247"/>
          <a:stretch/>
        </p:blipFill>
        <p:spPr>
          <a:xfrm>
            <a:off x="4872023" y="1762228"/>
            <a:ext cx="7319977" cy="5095773"/>
          </a:xfrm>
          <a:prstGeom prst="rect">
            <a:avLst/>
          </a:prstGeom>
        </p:spPr>
      </p:pic>
      <p:sp>
        <p:nvSpPr>
          <p:cNvPr id="13"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tx2"/>
                </a:solidFill>
                <a:latin typeface="Karla"/>
                <a:cs typeface="Karla"/>
              </a:defRPr>
            </a:lvl1pPr>
          </a:lstStyle>
          <a:p>
            <a:pPr lvl="0"/>
            <a:r>
              <a:rPr lang="en-US" noProof="0" dirty="0"/>
              <a:t>Headline (Karla 90)</a:t>
            </a:r>
          </a:p>
        </p:txBody>
      </p:sp>
      <p:sp>
        <p:nvSpPr>
          <p:cNvPr id="14"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tx2"/>
                </a:solidFill>
                <a:latin typeface="Karla"/>
                <a:cs typeface="Karla"/>
              </a:defRPr>
            </a:lvl1pPr>
          </a:lstStyle>
          <a:p>
            <a:pPr lvl="0"/>
            <a:r>
              <a:rPr lang="en-US" noProof="0" dirty="0"/>
              <a:t>Subhead (Karla 80)</a:t>
            </a:r>
          </a:p>
        </p:txBody>
      </p:sp>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7A7167"/>
                </a:solidFill>
                <a:latin typeface="Karla"/>
                <a:cs typeface="Karla"/>
              </a:rPr>
              <a:t>  </a:t>
            </a:r>
            <a:fld id="{E77AE0A1-274E-2944-95AF-27E87E012DC6}" type="slidenum">
              <a:rPr lang="en-US" sz="950" spc="-74" smtClean="0">
                <a:solidFill>
                  <a:schemeClr val="tx2"/>
                </a:solidFill>
                <a:latin typeface="Karla"/>
                <a:cs typeface="Karla"/>
              </a:rPr>
              <a:pPr algn="r" eaLnBrk="1" hangingPunct="1">
                <a:lnSpc>
                  <a:spcPct val="120000"/>
                </a:lnSpc>
                <a:defRPr/>
              </a:pPr>
              <a:t>‹#›</a:t>
            </a:fld>
            <a:endParaRPr lang="en-US" sz="950" spc="-74" dirty="0">
              <a:solidFill>
                <a:schemeClr val="tx2"/>
              </a:solidFill>
              <a:latin typeface="Karla"/>
              <a:cs typeface="Karla"/>
            </a:endParaRPr>
          </a:p>
        </p:txBody>
      </p:sp>
      <p:sp>
        <p:nvSpPr>
          <p:cNvPr id="2" name="CuadroTexto 1">
            <a:extLst>
              <a:ext uri="{FF2B5EF4-FFF2-40B4-BE49-F238E27FC236}">
                <a16:creationId xmlns:a16="http://schemas.microsoft.com/office/drawing/2014/main" id="{7DA6D24C-1198-A14F-A424-2FE66501638F}"/>
              </a:ext>
            </a:extLst>
          </p:cNvPr>
          <p:cNvSpPr txBox="1"/>
          <p:nvPr userDrawn="1"/>
        </p:nvSpPr>
        <p:spPr>
          <a:xfrm>
            <a:off x="3069372" y="5669280"/>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Etelka Text Pro"/>
              <a:cs typeface="Etelka Text Pro"/>
            </a:endParaRPr>
          </a:p>
        </p:txBody>
      </p:sp>
      <p:sp>
        <p:nvSpPr>
          <p:cNvPr id="12" name="CuadroTexto 11">
            <a:extLst>
              <a:ext uri="{FF2B5EF4-FFF2-40B4-BE49-F238E27FC236}">
                <a16:creationId xmlns:a16="http://schemas.microsoft.com/office/drawing/2014/main" id="{515A409F-138F-9B49-B919-6AB978045662}"/>
              </a:ext>
            </a:extLst>
          </p:cNvPr>
          <p:cNvSpPr txBox="1"/>
          <p:nvPr userDrawn="1"/>
        </p:nvSpPr>
        <p:spPr>
          <a:xfrm>
            <a:off x="3931408" y="8339328"/>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Etelka Text Pro"/>
              <a:cs typeface="Etelka Text Pro"/>
            </a:endParaRPr>
          </a:p>
        </p:txBody>
      </p:sp>
      <p:sp>
        <p:nvSpPr>
          <p:cNvPr id="22" name="CuadroTexto 21">
            <a:extLst>
              <a:ext uri="{FF2B5EF4-FFF2-40B4-BE49-F238E27FC236}">
                <a16:creationId xmlns:a16="http://schemas.microsoft.com/office/drawing/2014/main" id="{A7C2C12A-7D25-8C4B-A122-1228DB5250CE}"/>
              </a:ext>
            </a:extLst>
          </p:cNvPr>
          <p:cNvSpPr txBox="1"/>
          <p:nvPr userDrawn="1"/>
        </p:nvSpPr>
        <p:spPr>
          <a:xfrm>
            <a:off x="2742843" y="8138160"/>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Etelka Text Pro"/>
              <a:cs typeface="Etelka Text Pro"/>
            </a:endParaRPr>
          </a:p>
        </p:txBody>
      </p:sp>
      <p:pic>
        <p:nvPicPr>
          <p:cNvPr id="16" name="Imagen 15" descr="Agility_logos_ppt-01.png">
            <a:extLst>
              <a:ext uri="{FF2B5EF4-FFF2-40B4-BE49-F238E27FC236}">
                <a16:creationId xmlns:a16="http://schemas.microsoft.com/office/drawing/2014/main" id="{37715B7E-5254-FE4F-99C0-BDF3AD4EFE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Tree>
    <p:extLst>
      <p:ext uri="{BB962C8B-B14F-4D97-AF65-F5344CB8AC3E}">
        <p14:creationId xmlns:p14="http://schemas.microsoft.com/office/powerpoint/2010/main" val="802610759"/>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1">
    <p:bg>
      <p:bgRef idx="1001">
        <a:schemeClr val="bg1"/>
      </p:bgRef>
    </p:bg>
    <p:spTree>
      <p:nvGrpSpPr>
        <p:cNvPr id="1" name=""/>
        <p:cNvGrpSpPr/>
        <p:nvPr/>
      </p:nvGrpSpPr>
      <p:grpSpPr>
        <a:xfrm>
          <a:off x="0" y="0"/>
          <a:ext cx="0" cy="0"/>
          <a:chOff x="0" y="0"/>
          <a:chExt cx="0" cy="0"/>
        </a:xfrm>
      </p:grpSpPr>
      <p:pic>
        <p:nvPicPr>
          <p:cNvPr id="5" name="Imagen 4" descr="Backgrounds12.jpg"/>
          <p:cNvPicPr>
            <a:picLocks noChangeAspect="1"/>
          </p:cNvPicPr>
          <p:nvPr userDrawn="1"/>
        </p:nvPicPr>
        <p:blipFill rotWithShape="1">
          <a:blip r:embed="rId2">
            <a:extLst>
              <a:ext uri="{28A0092B-C50C-407E-A947-70E740481C1C}">
                <a14:useLocalDpi xmlns:a14="http://schemas.microsoft.com/office/drawing/2010/main" val="0"/>
              </a:ext>
            </a:extLst>
          </a:blip>
          <a:srcRect t="25010"/>
          <a:stretch/>
        </p:blipFill>
        <p:spPr>
          <a:xfrm>
            <a:off x="0" y="0"/>
            <a:ext cx="12192000" cy="6858000"/>
          </a:xfrm>
          <a:prstGeom prst="rect">
            <a:avLst/>
          </a:prstGeom>
        </p:spPr>
      </p:pic>
      <p:pic>
        <p:nvPicPr>
          <p:cNvPr id="18" name="Imagen 17"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8" name="Conector recto 7"/>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2"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3"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1827674901"/>
      </p:ext>
    </p:extLst>
  </p:cSld>
  <p:clrMapOvr>
    <a:overrideClrMapping bg1="lt1" tx1="dk1" bg2="lt2" tx2="dk2" accent1="accent1" accent2="accent2" accent3="accent3" accent4="accent4" accent5="accent5" accent6="accent6" hlink="hlink" folHlink="folHlink"/>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2">
    <p:bg>
      <p:bgRef idx="1001">
        <a:schemeClr val="bg1"/>
      </p:bgRef>
    </p:bg>
    <p:spTree>
      <p:nvGrpSpPr>
        <p:cNvPr id="1" name=""/>
        <p:cNvGrpSpPr/>
        <p:nvPr/>
      </p:nvGrpSpPr>
      <p:grpSpPr>
        <a:xfrm>
          <a:off x="0" y="0"/>
          <a:ext cx="0" cy="0"/>
          <a:chOff x="0" y="0"/>
          <a:chExt cx="0" cy="0"/>
        </a:xfrm>
      </p:grpSpPr>
      <p:pic>
        <p:nvPicPr>
          <p:cNvPr id="3" name="Imagen 2" descr="Backgrounds11.jpg"/>
          <p:cNvPicPr>
            <a:picLocks noChangeAspect="1"/>
          </p:cNvPicPr>
          <p:nvPr userDrawn="1"/>
        </p:nvPicPr>
        <p:blipFill rotWithShape="1">
          <a:blip r:embed="rId2">
            <a:extLst>
              <a:ext uri="{28A0092B-C50C-407E-A947-70E740481C1C}">
                <a14:useLocalDpi xmlns:a14="http://schemas.microsoft.com/office/drawing/2010/main" val="0"/>
              </a:ext>
            </a:extLst>
          </a:blip>
          <a:srcRect t="25009"/>
          <a:stretch/>
        </p:blipFill>
        <p:spPr>
          <a:xfrm>
            <a:off x="0" y="0"/>
            <a:ext cx="12192000" cy="6858000"/>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13" name="Conector recto 12"/>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4" name="Imagen 13"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5"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6"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18729052"/>
      </p:ext>
    </p:extLst>
  </p:cSld>
  <p:clrMapOvr>
    <a:overrideClrMapping bg1="lt1" tx1="dk1" bg2="lt2" tx2="dk2" accent1="accent1" accent2="accent2" accent3="accent3" accent4="accent4" accent5="accent5" accent6="accent6" hlink="hlink" folHlink="folHlink"/>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5475" y="3766495"/>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5475" y="4260957"/>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255473" y="4631191"/>
            <a:ext cx="4416136" cy="411457"/>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pic>
        <p:nvPicPr>
          <p:cNvPr id="10" name="Picture 9"/>
          <p:cNvPicPr>
            <a:picLocks noChangeAspect="1" noChangeArrowheads="1"/>
          </p:cNvPicPr>
          <p:nvPr userDrawn="1"/>
        </p:nvPicPr>
        <p:blipFill>
          <a:blip r:embed="rId3" cstate="print"/>
          <a:srcRect/>
          <a:stretch>
            <a:fillRect/>
          </a:stretch>
        </p:blipFill>
        <p:spPr bwMode="auto">
          <a:xfrm>
            <a:off x="1016001" y="1562527"/>
            <a:ext cx="7571847" cy="1679831"/>
          </a:xfrm>
          <a:prstGeom prst="rect">
            <a:avLst/>
          </a:prstGeom>
          <a:noFill/>
          <a:ln w="9525">
            <a:noFill/>
            <a:miter lim="800000"/>
            <a:headEnd/>
            <a:tailEnd/>
          </a:ln>
          <a:effectLst/>
        </p:spPr>
      </p:pic>
      <p:grpSp>
        <p:nvGrpSpPr>
          <p:cNvPr id="2" name="Group 201"/>
          <p:cNvGrpSpPr>
            <a:grpSpLocks/>
          </p:cNvGrpSpPr>
          <p:nvPr userDrawn="1"/>
        </p:nvGrpSpPr>
        <p:grpSpPr bwMode="auto">
          <a:xfrm>
            <a:off x="1031834" y="1410020"/>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11"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4" name="BarclaysLogo" descr="Standard_Cover.bmp"/>
          <p:cNvPicPr>
            <a:picLocks noChangeAspect="1"/>
          </p:cNvPicPr>
          <p:nvPr userDrawn="1"/>
        </p:nvPicPr>
        <p:blipFill>
          <a:blip r:embed="rId4"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4083752195"/>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3">
    <p:bg>
      <p:bgRef idx="1001">
        <a:schemeClr val="bg1"/>
      </p:bgRef>
    </p:bg>
    <p:spTree>
      <p:nvGrpSpPr>
        <p:cNvPr id="1" name=""/>
        <p:cNvGrpSpPr/>
        <p:nvPr/>
      </p:nvGrpSpPr>
      <p:grpSpPr>
        <a:xfrm>
          <a:off x="0" y="0"/>
          <a:ext cx="0" cy="0"/>
          <a:chOff x="0" y="0"/>
          <a:chExt cx="0" cy="0"/>
        </a:xfrm>
      </p:grpSpPr>
      <p:pic>
        <p:nvPicPr>
          <p:cNvPr id="2" name="Imagen 1" descr="Backgrounds10.jpg"/>
          <p:cNvPicPr>
            <a:picLocks noChangeAspect="1"/>
          </p:cNvPicPr>
          <p:nvPr userDrawn="1"/>
        </p:nvPicPr>
        <p:blipFill rotWithShape="1">
          <a:blip r:embed="rId2">
            <a:extLst>
              <a:ext uri="{28A0092B-C50C-407E-A947-70E740481C1C}">
                <a14:useLocalDpi xmlns:a14="http://schemas.microsoft.com/office/drawing/2010/main" val="0"/>
              </a:ext>
            </a:extLst>
          </a:blip>
          <a:srcRect t="25090"/>
          <a:stretch/>
        </p:blipFill>
        <p:spPr>
          <a:xfrm>
            <a:off x="0" y="-8439"/>
            <a:ext cx="12207019" cy="6859072"/>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sp>
        <p:nvSpPr>
          <p:cNvPr id="13"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14" name="Conector recto 13"/>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5" name="Imagen 14"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6"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7"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334536497"/>
      </p:ext>
    </p:extLst>
  </p:cSld>
  <p:clrMapOvr>
    <a:overrideClrMapping bg1="lt1" tx1="dk1" bg2="lt2" tx2="dk2" accent1="accent1" accent2="accent2" accent3="accent3" accent4="accent4" accent5="accent5" accent6="accent6" hlink="hlink" folHlink="folHlink"/>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4">
    <p:bg>
      <p:bgRef idx="1001">
        <a:schemeClr val="bg1"/>
      </p:bgRef>
    </p:bg>
    <p:spTree>
      <p:nvGrpSpPr>
        <p:cNvPr id="1" name=""/>
        <p:cNvGrpSpPr/>
        <p:nvPr/>
      </p:nvGrpSpPr>
      <p:grpSpPr>
        <a:xfrm>
          <a:off x="0" y="0"/>
          <a:ext cx="0" cy="0"/>
          <a:chOff x="0" y="0"/>
          <a:chExt cx="0" cy="0"/>
        </a:xfrm>
      </p:grpSpPr>
      <p:pic>
        <p:nvPicPr>
          <p:cNvPr id="3" name="Imagen 2" descr="Backgrounds9.jpg"/>
          <p:cNvPicPr>
            <a:picLocks noChangeAspect="1"/>
          </p:cNvPicPr>
          <p:nvPr userDrawn="1"/>
        </p:nvPicPr>
        <p:blipFill rotWithShape="1">
          <a:blip r:embed="rId2">
            <a:extLst>
              <a:ext uri="{28A0092B-C50C-407E-A947-70E740481C1C}">
                <a14:useLocalDpi xmlns:a14="http://schemas.microsoft.com/office/drawing/2010/main" val="0"/>
              </a:ext>
            </a:extLst>
          </a:blip>
          <a:srcRect t="12898" b="12112"/>
          <a:stretch/>
        </p:blipFill>
        <p:spPr>
          <a:xfrm>
            <a:off x="0" y="0"/>
            <a:ext cx="12192000" cy="6858000"/>
          </a:xfrm>
          <a:prstGeom prst="rect">
            <a:avLst/>
          </a:prstGeom>
        </p:spPr>
      </p:pic>
      <p:sp>
        <p:nvSpPr>
          <p:cNvPr id="8"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9" name="Conector recto 8"/>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0" name="Imagen 9"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1"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5"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276323445"/>
      </p:ext>
    </p:extLst>
  </p:cSld>
  <p:clrMapOvr>
    <a:overrideClrMapping bg1="lt1" tx1="dk1" bg2="lt2" tx2="dk2" accent1="accent1" accent2="accent2" accent3="accent3" accent4="accent4" accent5="accent5" accent6="accent6" hlink="hlink" folHlink="folHlink"/>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5">
    <p:bg>
      <p:bgRef idx="1001">
        <a:schemeClr val="bg1"/>
      </p:bgRef>
    </p:bg>
    <p:spTree>
      <p:nvGrpSpPr>
        <p:cNvPr id="1" name=""/>
        <p:cNvGrpSpPr/>
        <p:nvPr/>
      </p:nvGrpSpPr>
      <p:grpSpPr>
        <a:xfrm>
          <a:off x="0" y="0"/>
          <a:ext cx="0" cy="0"/>
          <a:chOff x="0" y="0"/>
          <a:chExt cx="0" cy="0"/>
        </a:xfrm>
      </p:grpSpPr>
      <p:pic>
        <p:nvPicPr>
          <p:cNvPr id="2" name="Imagen 1" descr="Backgrounds8.jpg"/>
          <p:cNvPicPr>
            <a:picLocks noChangeAspect="1"/>
          </p:cNvPicPr>
          <p:nvPr userDrawn="1"/>
        </p:nvPicPr>
        <p:blipFill rotWithShape="1">
          <a:blip r:embed="rId2">
            <a:extLst>
              <a:ext uri="{28A0092B-C50C-407E-A947-70E740481C1C}">
                <a14:useLocalDpi xmlns:a14="http://schemas.microsoft.com/office/drawing/2010/main" val="0"/>
              </a:ext>
            </a:extLst>
          </a:blip>
          <a:srcRect t="25079"/>
          <a:stretch/>
        </p:blipFill>
        <p:spPr>
          <a:xfrm>
            <a:off x="0" y="1"/>
            <a:ext cx="12192000" cy="6851644"/>
          </a:xfrm>
          <a:prstGeom prst="rect">
            <a:avLst/>
          </a:prstGeom>
        </p:spPr>
      </p:pic>
      <p:sp>
        <p:nvSpPr>
          <p:cNvPr id="13"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14" name="Conector recto 13"/>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5" name="Imagen 14"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6"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7"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3817164231"/>
      </p:ext>
    </p:extLst>
  </p:cSld>
  <p:clrMapOvr>
    <a:overrideClrMapping bg1="lt1" tx1="dk1" bg2="lt2" tx2="dk2" accent1="accent1" accent2="accent2" accent3="accent3" accent4="accent4" accent5="accent5" accent6="accent6" hlink="hlink" folHlink="folHlink"/>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6">
    <p:bg>
      <p:bgRef idx="1001">
        <a:schemeClr val="bg1"/>
      </p:bgRef>
    </p:bg>
    <p:spTree>
      <p:nvGrpSpPr>
        <p:cNvPr id="1" name=""/>
        <p:cNvGrpSpPr/>
        <p:nvPr/>
      </p:nvGrpSpPr>
      <p:grpSpPr>
        <a:xfrm>
          <a:off x="0" y="0"/>
          <a:ext cx="0" cy="0"/>
          <a:chOff x="0" y="0"/>
          <a:chExt cx="0" cy="0"/>
        </a:xfrm>
      </p:grpSpPr>
      <p:pic>
        <p:nvPicPr>
          <p:cNvPr id="3" name="Imagen 2" descr="Backgrounds6.jpg"/>
          <p:cNvPicPr>
            <a:picLocks noChangeAspect="1"/>
          </p:cNvPicPr>
          <p:nvPr userDrawn="1"/>
        </p:nvPicPr>
        <p:blipFill rotWithShape="1">
          <a:blip r:embed="rId2">
            <a:extLst>
              <a:ext uri="{28A0092B-C50C-407E-A947-70E740481C1C}">
                <a14:useLocalDpi xmlns:a14="http://schemas.microsoft.com/office/drawing/2010/main" val="0"/>
              </a:ext>
            </a:extLst>
          </a:blip>
          <a:srcRect t="25010"/>
          <a:stretch/>
        </p:blipFill>
        <p:spPr>
          <a:xfrm>
            <a:off x="3696" y="0"/>
            <a:ext cx="12192000" cy="6858000"/>
          </a:xfrm>
          <a:prstGeom prst="rect">
            <a:avLst/>
          </a:prstGeom>
        </p:spPr>
      </p:pic>
      <p:sp>
        <p:nvSpPr>
          <p:cNvPr id="13"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14" name="Conector recto 13"/>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5" name="Imagen 14"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6"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7"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2638520652"/>
      </p:ext>
    </p:extLst>
  </p:cSld>
  <p:clrMapOvr>
    <a:overrideClrMapping bg1="lt1" tx1="dk1" bg2="lt2" tx2="dk2" accent1="accent1" accent2="accent2" accent3="accent3" accent4="accent4" accent5="accent5" accent6="accent6" hlink="hlink" folHlink="folHlink"/>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7">
    <p:bg>
      <p:bgRef idx="1001">
        <a:schemeClr val="bg1"/>
      </p:bgRef>
    </p:bg>
    <p:spTree>
      <p:nvGrpSpPr>
        <p:cNvPr id="1" name=""/>
        <p:cNvGrpSpPr/>
        <p:nvPr/>
      </p:nvGrpSpPr>
      <p:grpSpPr>
        <a:xfrm>
          <a:off x="0" y="0"/>
          <a:ext cx="0" cy="0"/>
          <a:chOff x="0" y="0"/>
          <a:chExt cx="0" cy="0"/>
        </a:xfrm>
      </p:grpSpPr>
      <p:pic>
        <p:nvPicPr>
          <p:cNvPr id="2" name="Imagen 1" descr="Backgrounds13.jpg"/>
          <p:cNvPicPr>
            <a:picLocks noChangeAspect="1"/>
          </p:cNvPicPr>
          <p:nvPr userDrawn="1"/>
        </p:nvPicPr>
        <p:blipFill rotWithShape="1">
          <a:blip r:embed="rId2">
            <a:extLst>
              <a:ext uri="{28A0092B-C50C-407E-A947-70E740481C1C}">
                <a14:useLocalDpi xmlns:a14="http://schemas.microsoft.com/office/drawing/2010/main" val="0"/>
              </a:ext>
            </a:extLst>
          </a:blip>
          <a:srcRect t="25010"/>
          <a:stretch/>
        </p:blipFill>
        <p:spPr>
          <a:xfrm>
            <a:off x="0" y="-7556"/>
            <a:ext cx="12205432" cy="6865556"/>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pic>
        <p:nvPicPr>
          <p:cNvPr id="9" name="Imagen 8"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0"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1"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cxnSp>
        <p:nvCxnSpPr>
          <p:cNvPr id="17" name="Conector recto 16"/>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654409038"/>
      </p:ext>
    </p:extLst>
  </p:cSld>
  <p:clrMapOvr>
    <a:overrideClrMapping bg1="lt1" tx1="dk1" bg2="lt2" tx2="dk2" accent1="accent1" accent2="accent2" accent3="accent3" accent4="accent4" accent5="accent5" accent6="accent6" hlink="hlink" folHlink="folHlink"/>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Two Text Boxes_Subtitles">
    <p:spTree>
      <p:nvGrpSpPr>
        <p:cNvPr id="1" name=""/>
        <p:cNvGrpSpPr/>
        <p:nvPr/>
      </p:nvGrpSpPr>
      <p:grpSpPr>
        <a:xfrm>
          <a:off x="0" y="0"/>
          <a:ext cx="0" cy="0"/>
          <a:chOff x="0" y="0"/>
          <a:chExt cx="0" cy="0"/>
        </a:xfrm>
      </p:grpSpPr>
      <p:sp>
        <p:nvSpPr>
          <p:cNvPr id="4" name="Marcador de texto 3"/>
          <p:cNvSpPr>
            <a:spLocks noGrp="1"/>
          </p:cNvSpPr>
          <p:nvPr>
            <p:ph type="body" sz="quarter" idx="31" hasCustomPrompt="1"/>
          </p:nvPr>
        </p:nvSpPr>
        <p:spPr>
          <a:xfrm>
            <a:off x="336110" y="1448780"/>
            <a:ext cx="8784192" cy="288119"/>
          </a:xfrm>
          <a:prstGeom prst="rect">
            <a:avLst/>
          </a:prstGeom>
        </p:spPr>
        <p:txBody>
          <a:bodyPr vert="horz" lIns="34267" tIns="17132" rIns="34267" bIns="17132"/>
          <a:lstStyle>
            <a:lvl1pPr marL="0" indent="0">
              <a:buNone/>
              <a:defRPr sz="1800" baseline="0">
                <a:solidFill>
                  <a:schemeClr val="tx2"/>
                </a:solidFill>
                <a:latin typeface="+mn-lt"/>
                <a:cs typeface="Noto Sans Regular"/>
              </a:defRPr>
            </a:lvl1pPr>
          </a:lstStyle>
          <a:p>
            <a:pPr lvl="0"/>
            <a:r>
              <a:rPr lang="en-US" noProof="0" dirty="0"/>
              <a:t>Subtitle (Noto Sans 36)</a:t>
            </a:r>
          </a:p>
        </p:txBody>
      </p:sp>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noProof="0" dirty="0">
                <a:solidFill>
                  <a:schemeClr val="tx2"/>
                </a:solidFill>
                <a:latin typeface="+mn-lt"/>
                <a:cs typeface="Karla"/>
              </a:rPr>
              <a:t>  </a:t>
            </a:r>
            <a:fld id="{E77AE0A1-274E-2944-95AF-27E87E012DC6}" type="slidenum">
              <a:rPr lang="en-US" sz="950" spc="-74" noProof="0" smtClean="0">
                <a:solidFill>
                  <a:schemeClr val="tx2"/>
                </a:solidFill>
                <a:latin typeface="+mn-lt"/>
                <a:cs typeface="Karla"/>
              </a:rPr>
              <a:pPr algn="r" eaLnBrk="1" hangingPunct="1">
                <a:lnSpc>
                  <a:spcPct val="120000"/>
                </a:lnSpc>
                <a:defRPr/>
              </a:pPr>
              <a:t>‹#›</a:t>
            </a:fld>
            <a:endParaRPr lang="en-US" sz="950" spc="-74" noProof="0" dirty="0">
              <a:solidFill>
                <a:schemeClr val="tx2"/>
              </a:solidFill>
              <a:latin typeface="+mn-lt"/>
              <a:cs typeface="Karla"/>
            </a:endParaRPr>
          </a:p>
        </p:txBody>
      </p:sp>
      <p:sp>
        <p:nvSpPr>
          <p:cNvPr id="12" name="Marcador de texto 6"/>
          <p:cNvSpPr>
            <a:spLocks noGrp="1"/>
          </p:cNvSpPr>
          <p:nvPr>
            <p:ph type="body" sz="quarter" idx="10" hasCustomPrompt="1"/>
          </p:nvPr>
        </p:nvSpPr>
        <p:spPr>
          <a:xfrm>
            <a:off x="336111" y="4509120"/>
            <a:ext cx="11519780" cy="172819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400" b="0" i="0" spc="0" baseline="0">
                <a:solidFill>
                  <a:schemeClr val="tx1"/>
                </a:solidFill>
                <a:latin typeface="+mn-lt"/>
                <a:cs typeface="Noto Sans Regular"/>
              </a:defRPr>
            </a:lvl1pPr>
            <a:lvl2pPr marL="475828" indent="0">
              <a:buNone/>
              <a:defRPr/>
            </a:lvl2pPr>
          </a:lstStyle>
          <a:p>
            <a:pPr lvl="0"/>
            <a:r>
              <a:rPr lang="en-US" noProof="0" dirty="0"/>
              <a:t>Body Text (Noto Sans 28)</a:t>
            </a:r>
          </a:p>
        </p:txBody>
      </p:sp>
      <p:cxnSp>
        <p:nvCxnSpPr>
          <p:cNvPr id="9" name="Conector recto 8"/>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3" name="Marcador de texto 3"/>
          <p:cNvSpPr>
            <a:spLocks noGrp="1"/>
          </p:cNvSpPr>
          <p:nvPr>
            <p:ph type="body" sz="quarter" idx="32" hasCustomPrompt="1"/>
          </p:nvPr>
        </p:nvSpPr>
        <p:spPr>
          <a:xfrm>
            <a:off x="335749" y="4077072"/>
            <a:ext cx="8784192" cy="288119"/>
          </a:xfrm>
          <a:prstGeom prst="rect">
            <a:avLst/>
          </a:prstGeom>
        </p:spPr>
        <p:txBody>
          <a:bodyPr vert="horz" lIns="34267" tIns="17132" rIns="34267" bIns="17132"/>
          <a:lstStyle>
            <a:lvl1pPr marL="0" indent="0">
              <a:buNone/>
              <a:defRPr sz="1800" baseline="0">
                <a:solidFill>
                  <a:schemeClr val="tx2"/>
                </a:solidFill>
                <a:latin typeface="+mn-lt"/>
                <a:cs typeface="Noto Sans Regular"/>
              </a:defRPr>
            </a:lvl1pPr>
          </a:lstStyle>
          <a:p>
            <a:pPr lvl="0"/>
            <a:r>
              <a:rPr lang="en-US" noProof="0" dirty="0"/>
              <a:t>Subtitle (Noto Sans 36)</a:t>
            </a:r>
          </a:p>
        </p:txBody>
      </p:sp>
      <p:sp>
        <p:nvSpPr>
          <p:cNvPr id="16" name="Marcador de texto 6"/>
          <p:cNvSpPr>
            <a:spLocks noGrp="1"/>
          </p:cNvSpPr>
          <p:nvPr>
            <p:ph type="body" sz="quarter" idx="34" hasCustomPrompt="1"/>
          </p:nvPr>
        </p:nvSpPr>
        <p:spPr>
          <a:xfrm>
            <a:off x="336109" y="476672"/>
            <a:ext cx="8783832" cy="360040"/>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11" name="Marcador de texto 2">
            <a:extLst>
              <a:ext uri="{FF2B5EF4-FFF2-40B4-BE49-F238E27FC236}">
                <a16:creationId xmlns:a16="http://schemas.microsoft.com/office/drawing/2014/main" id="{29E0BDB7-1AD8-4E81-BF5A-F92DA11F682A}"/>
              </a:ext>
            </a:extLst>
          </p:cNvPr>
          <p:cNvSpPr>
            <a:spLocks noGrp="1"/>
          </p:cNvSpPr>
          <p:nvPr>
            <p:ph type="body" sz="quarter" idx="35" hasCustomPrompt="1"/>
          </p:nvPr>
        </p:nvSpPr>
        <p:spPr>
          <a:xfrm>
            <a:off x="336111" y="1880828"/>
            <a:ext cx="11519780" cy="2016252"/>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baseline="0">
                <a:solidFill>
                  <a:schemeClr val="tx1"/>
                </a:solidFill>
                <a:latin typeface="+mn-lt"/>
                <a:cs typeface="Noto Sans Regular"/>
              </a:defRPr>
            </a:lvl1pPr>
            <a:lvl2pPr>
              <a:buClr>
                <a:schemeClr val="tx2"/>
              </a:buClr>
              <a:defRPr sz="14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4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2191233900"/>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Text Box + Map Image">
    <p:spTree>
      <p:nvGrpSpPr>
        <p:cNvPr id="1" name=""/>
        <p:cNvGrpSpPr/>
        <p:nvPr/>
      </p:nvGrpSpPr>
      <p:grpSpPr>
        <a:xfrm>
          <a:off x="0" y="0"/>
          <a:ext cx="0" cy="0"/>
          <a:chOff x="0" y="0"/>
          <a:chExt cx="0" cy="0"/>
        </a:xfrm>
      </p:grpSpPr>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noProof="0" dirty="0">
                <a:solidFill>
                  <a:schemeClr val="tx2"/>
                </a:solidFill>
                <a:latin typeface="+mn-lt"/>
                <a:cs typeface="Karla"/>
              </a:rPr>
              <a:t>  </a:t>
            </a:r>
            <a:fld id="{E77AE0A1-274E-2944-95AF-27E87E012DC6}" type="slidenum">
              <a:rPr lang="en-US" sz="950" spc="-74" noProof="0" smtClean="0">
                <a:solidFill>
                  <a:schemeClr val="tx2"/>
                </a:solidFill>
                <a:latin typeface="+mn-lt"/>
                <a:cs typeface="Karla"/>
              </a:rPr>
              <a:pPr algn="r" eaLnBrk="1" hangingPunct="1">
                <a:lnSpc>
                  <a:spcPct val="120000"/>
                </a:lnSpc>
                <a:defRPr/>
              </a:pPr>
              <a:t>‹#›</a:t>
            </a:fld>
            <a:endParaRPr lang="en-US" sz="950" spc="-74" noProof="0" dirty="0">
              <a:solidFill>
                <a:schemeClr val="tx2"/>
              </a:solidFill>
              <a:latin typeface="+mn-lt"/>
              <a:cs typeface="Karla"/>
            </a:endParaRPr>
          </a:p>
        </p:txBody>
      </p:sp>
      <p:cxnSp>
        <p:nvCxnSpPr>
          <p:cNvPr id="9" name="Conector recto 8"/>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6" name="Marcador de texto 6"/>
          <p:cNvSpPr>
            <a:spLocks noGrp="1"/>
          </p:cNvSpPr>
          <p:nvPr>
            <p:ph type="body" sz="quarter" idx="34" hasCustomPrompt="1"/>
          </p:nvPr>
        </p:nvSpPr>
        <p:spPr>
          <a:xfrm>
            <a:off x="336109" y="476672"/>
            <a:ext cx="8783832" cy="360040"/>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11" name="Marcador de texto 2">
            <a:extLst>
              <a:ext uri="{FF2B5EF4-FFF2-40B4-BE49-F238E27FC236}">
                <a16:creationId xmlns:a16="http://schemas.microsoft.com/office/drawing/2014/main" id="{29E0BDB7-1AD8-4E81-BF5A-F92DA11F682A}"/>
              </a:ext>
            </a:extLst>
          </p:cNvPr>
          <p:cNvSpPr>
            <a:spLocks noGrp="1"/>
          </p:cNvSpPr>
          <p:nvPr>
            <p:ph type="body" sz="quarter" idx="35" hasCustomPrompt="1"/>
          </p:nvPr>
        </p:nvSpPr>
        <p:spPr>
          <a:xfrm>
            <a:off x="336111" y="1412642"/>
            <a:ext cx="11519780" cy="1656319"/>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baseline="0">
                <a:solidFill>
                  <a:schemeClr val="tx1"/>
                </a:solidFill>
                <a:latin typeface="+mn-lt"/>
                <a:cs typeface="Noto Sans Regular"/>
              </a:defRPr>
            </a:lvl1pPr>
            <a:lvl2pPr>
              <a:buClr>
                <a:schemeClr val="tx2"/>
              </a:buClr>
              <a:defRPr sz="14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4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
        <p:nvSpPr>
          <p:cNvPr id="10" name="Marcador de posición de imagen 2"/>
          <p:cNvSpPr>
            <a:spLocks noGrp="1"/>
          </p:cNvSpPr>
          <p:nvPr>
            <p:ph type="pic" sz="quarter" idx="28" hasCustomPrompt="1"/>
          </p:nvPr>
        </p:nvSpPr>
        <p:spPr>
          <a:xfrm>
            <a:off x="336109" y="3230548"/>
            <a:ext cx="11519694" cy="307877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baseline="0">
                <a:solidFill>
                  <a:schemeClr val="tx1"/>
                </a:solidFill>
                <a:latin typeface="+mn-lt"/>
              </a:defRPr>
            </a:lvl1pPr>
          </a:lstStyle>
          <a:p>
            <a:r>
              <a:rPr lang="en-US" noProof="0" dirty="0"/>
              <a:t>Click here to insert an image</a:t>
            </a:r>
          </a:p>
          <a:p>
            <a:endParaRPr lang="en-US" noProof="0" dirty="0"/>
          </a:p>
        </p:txBody>
      </p:sp>
    </p:spTree>
    <p:extLst>
      <p:ext uri="{BB962C8B-B14F-4D97-AF65-F5344CB8AC3E}">
        <p14:creationId xmlns:p14="http://schemas.microsoft.com/office/powerpoint/2010/main" val="314735226"/>
      </p:ext>
    </p:extLst>
  </p:cSld>
  <p:clrMapOvr>
    <a:masterClrMapping/>
  </p:clrMapOvr>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pic>
        <p:nvPicPr>
          <p:cNvPr id="15" name="Imagen 14"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6"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2"/>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6" name="Conector recto 5"/>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2" name="Marcador de texto 6"/>
          <p:cNvSpPr>
            <a:spLocks noGrp="1"/>
          </p:cNvSpPr>
          <p:nvPr>
            <p:ph type="body" sz="quarter" idx="34" hasCustomPrompt="1"/>
          </p:nvPr>
        </p:nvSpPr>
        <p:spPr>
          <a:xfrm>
            <a:off x="336109" y="476672"/>
            <a:ext cx="8783832" cy="34290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8" name="Marcador de texto 2">
            <a:extLst>
              <a:ext uri="{FF2B5EF4-FFF2-40B4-BE49-F238E27FC236}">
                <a16:creationId xmlns:a16="http://schemas.microsoft.com/office/drawing/2014/main" id="{29E0BDB7-1AD8-4E81-BF5A-F92DA11F682A}"/>
              </a:ext>
            </a:extLst>
          </p:cNvPr>
          <p:cNvSpPr>
            <a:spLocks noGrp="1"/>
          </p:cNvSpPr>
          <p:nvPr>
            <p:ph type="body" sz="quarter" idx="35" hasCustomPrompt="1"/>
          </p:nvPr>
        </p:nvSpPr>
        <p:spPr>
          <a:xfrm>
            <a:off x="336111" y="1304764"/>
            <a:ext cx="11519780" cy="4914488"/>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4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2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4093566388"/>
      </p:ext>
    </p:extLst>
  </p:cSld>
  <p:clrMapOvr>
    <a:masterClrMapping/>
  </p:clrMapOvr>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wo Text Boxes">
    <p:spTree>
      <p:nvGrpSpPr>
        <p:cNvPr id="1" name=""/>
        <p:cNvGrpSpPr/>
        <p:nvPr/>
      </p:nvGrpSpPr>
      <p:grpSpPr>
        <a:xfrm>
          <a:off x="0" y="0"/>
          <a:ext cx="0" cy="0"/>
          <a:chOff x="0" y="0"/>
          <a:chExt cx="0" cy="0"/>
        </a:xfrm>
      </p:grpSpPr>
      <p:pic>
        <p:nvPicPr>
          <p:cNvPr id="15" name="Imagen 14"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6"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0" name="Marcador de texto 6"/>
          <p:cNvSpPr>
            <a:spLocks noGrp="1"/>
          </p:cNvSpPr>
          <p:nvPr>
            <p:ph type="body" sz="quarter" idx="10" hasCustomPrompt="1"/>
          </p:nvPr>
        </p:nvSpPr>
        <p:spPr>
          <a:xfrm>
            <a:off x="336111" y="1448780"/>
            <a:ext cx="11519780" cy="244827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 typeface="Arial"/>
              <a:buNone/>
              <a:tabLst/>
              <a:defRPr sz="1400" b="0" i="0" spc="0" baseline="0">
                <a:solidFill>
                  <a:schemeClr val="tx1"/>
                </a:solidFill>
                <a:latin typeface="+mn-lt"/>
                <a:cs typeface="Noto Sans Regular"/>
              </a:defRPr>
            </a:lvl1pPr>
            <a:lvl2pPr marL="647244" indent="-171416">
              <a:buFont typeface="Arial"/>
              <a:buChar char="•"/>
              <a:defRPr sz="2000">
                <a:solidFill>
                  <a:schemeClr val="tx1"/>
                </a:solidFill>
              </a:defRPr>
            </a:lvl2pPr>
            <a:lvl3pPr marL="951656" indent="0">
              <a:buNone/>
              <a:defRPr sz="2000">
                <a:solidFill>
                  <a:schemeClr val="tx2"/>
                </a:solidFill>
              </a:defRPr>
            </a:lvl3pPr>
          </a:lstStyle>
          <a:p>
            <a:pPr lvl="0"/>
            <a:r>
              <a:rPr lang="en-US" noProof="0" dirty="0"/>
              <a:t>Body Text (Noto Sans 28)</a:t>
            </a:r>
          </a:p>
          <a:p>
            <a:pPr lvl="0"/>
            <a:endParaRPr lang="en-US" noProof="0" dirty="0"/>
          </a:p>
          <a:p>
            <a:pPr lvl="0"/>
            <a:endParaRPr lang="en-US" noProof="0" dirty="0"/>
          </a:p>
        </p:txBody>
      </p:sp>
      <p:cxnSp>
        <p:nvCxnSpPr>
          <p:cNvPr id="6" name="Conector recto 5"/>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3" name="Marcador de texto 6"/>
          <p:cNvSpPr>
            <a:spLocks noGrp="1"/>
          </p:cNvSpPr>
          <p:nvPr>
            <p:ph type="body" sz="quarter" idx="34" hasCustomPrompt="1"/>
          </p:nvPr>
        </p:nvSpPr>
        <p:spPr>
          <a:xfrm>
            <a:off x="336109" y="476672"/>
            <a:ext cx="8783832" cy="432048"/>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9" name="Marcador de texto 2">
            <a:extLst>
              <a:ext uri="{FF2B5EF4-FFF2-40B4-BE49-F238E27FC236}">
                <a16:creationId xmlns:a16="http://schemas.microsoft.com/office/drawing/2014/main" id="{2F9965DA-6ED4-443D-8485-885D115B5F93}"/>
              </a:ext>
            </a:extLst>
          </p:cNvPr>
          <p:cNvSpPr>
            <a:spLocks noGrp="1"/>
          </p:cNvSpPr>
          <p:nvPr>
            <p:ph type="body" sz="quarter" idx="37" hasCustomPrompt="1"/>
          </p:nvPr>
        </p:nvSpPr>
        <p:spPr>
          <a:xfrm>
            <a:off x="336111" y="4041068"/>
            <a:ext cx="11519780" cy="2194560"/>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baseline="0">
                <a:solidFill>
                  <a:schemeClr val="tx1"/>
                </a:solidFill>
                <a:latin typeface="+mn-lt"/>
                <a:cs typeface="Noto Sans Regular"/>
              </a:defRPr>
            </a:lvl1pPr>
            <a:lvl2pPr>
              <a:buClr>
                <a:schemeClr val="tx2"/>
              </a:buClr>
              <a:defRPr sz="13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3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3804271291"/>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ext Box + Image + Footnote">
    <p:spTree>
      <p:nvGrpSpPr>
        <p:cNvPr id="1" name=""/>
        <p:cNvGrpSpPr/>
        <p:nvPr/>
      </p:nvGrpSpPr>
      <p:grpSpPr>
        <a:xfrm>
          <a:off x="0" y="0"/>
          <a:ext cx="0" cy="0"/>
          <a:chOff x="0" y="0"/>
          <a:chExt cx="0" cy="0"/>
        </a:xfrm>
      </p:grpSpPr>
      <p:pic>
        <p:nvPicPr>
          <p:cNvPr id="15" name="Imagen 14"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23"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 name="CuadroTexto 1">
            <a:extLst>
              <a:ext uri="{FF2B5EF4-FFF2-40B4-BE49-F238E27FC236}">
                <a16:creationId xmlns:a16="http://schemas.microsoft.com/office/drawing/2014/main" id="{945B8DCF-D997-9242-A1DF-6A65472FB8A2}"/>
              </a:ext>
            </a:extLst>
          </p:cNvPr>
          <p:cNvSpPr txBox="1"/>
          <p:nvPr userDrawn="1"/>
        </p:nvSpPr>
        <p:spPr>
          <a:xfrm>
            <a:off x="2099989" y="-1071563"/>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mj-lt"/>
              <a:cs typeface="Etelka Text Pro"/>
            </a:endParaRPr>
          </a:p>
        </p:txBody>
      </p:sp>
      <p:cxnSp>
        <p:nvCxnSpPr>
          <p:cNvPr id="9" name="Conector recto 8"/>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6" name="Marcador de texto 6"/>
          <p:cNvSpPr>
            <a:spLocks noGrp="1"/>
          </p:cNvSpPr>
          <p:nvPr>
            <p:ph type="body" sz="quarter" idx="10" hasCustomPrompt="1"/>
          </p:nvPr>
        </p:nvSpPr>
        <p:spPr>
          <a:xfrm>
            <a:off x="336110" y="1448780"/>
            <a:ext cx="4211920" cy="478853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400" b="0" i="0" spc="0" baseline="0">
                <a:solidFill>
                  <a:schemeClr val="tx1"/>
                </a:solidFill>
                <a:latin typeface="+mn-lt"/>
                <a:cs typeface="Noto Sans Regular"/>
              </a:defRPr>
            </a:lvl1pPr>
            <a:lvl2pPr marL="475828" indent="0">
              <a:buNone/>
              <a:defRPr/>
            </a:lvl2pPr>
          </a:lstStyle>
          <a:p>
            <a:pPr lvl="0"/>
            <a:r>
              <a:rPr lang="en-US" noProof="0" dirty="0"/>
              <a:t>Body Text (Noto Sans 28)</a:t>
            </a:r>
          </a:p>
        </p:txBody>
      </p:sp>
      <p:sp>
        <p:nvSpPr>
          <p:cNvPr id="17" name="Marcador de texto 6"/>
          <p:cNvSpPr>
            <a:spLocks noGrp="1"/>
          </p:cNvSpPr>
          <p:nvPr>
            <p:ph type="body" sz="quarter" idx="30" hasCustomPrompt="1"/>
          </p:nvPr>
        </p:nvSpPr>
        <p:spPr>
          <a:xfrm>
            <a:off x="9623932" y="5877272"/>
            <a:ext cx="2231957" cy="360424"/>
          </a:xfrm>
          <a:prstGeom prst="rect">
            <a:avLst/>
          </a:prstGeom>
        </p:spPr>
        <p:txBody>
          <a:bodyPr vert="horz" lIns="34267" tIns="17132" rIns="34267" bIns="17132"/>
          <a:lstStyle>
            <a:lvl1pPr marL="0" indent="0">
              <a:lnSpc>
                <a:spcPct val="110000"/>
              </a:lnSpc>
              <a:buNone/>
              <a:defRPr sz="950" b="0" i="0" spc="0" baseline="0">
                <a:solidFill>
                  <a:schemeClr val="tx1"/>
                </a:solidFill>
                <a:latin typeface="+mn-lt"/>
                <a:cs typeface="Noto Sans Regular"/>
              </a:defRPr>
            </a:lvl1pPr>
          </a:lstStyle>
          <a:p>
            <a:pPr lvl="0"/>
            <a:r>
              <a:rPr lang="en-US" noProof="0" dirty="0"/>
              <a:t>Click here to insert complementary info (footnotes, captions, legends, </a:t>
            </a:r>
            <a:r>
              <a:rPr lang="en-US" noProof="0" dirty="0" err="1"/>
              <a:t>etc</a:t>
            </a:r>
            <a:r>
              <a:rPr lang="en-US" noProof="0" dirty="0"/>
              <a:t>)</a:t>
            </a:r>
          </a:p>
        </p:txBody>
      </p:sp>
      <p:sp>
        <p:nvSpPr>
          <p:cNvPr id="18" name="Marcador de posición de imagen 18"/>
          <p:cNvSpPr>
            <a:spLocks noGrp="1"/>
          </p:cNvSpPr>
          <p:nvPr>
            <p:ph type="pic" sz="quarter" idx="31" hasCustomPrompt="1"/>
          </p:nvPr>
        </p:nvSpPr>
        <p:spPr>
          <a:xfrm>
            <a:off x="4908023" y="1448780"/>
            <a:ext cx="4211920" cy="4788532"/>
          </a:xfrm>
          <a:prstGeom prst="rect">
            <a:avLst/>
          </a:prstGeom>
        </p:spPr>
        <p:txBody>
          <a:bodyPr vert="horz" lIns="34267" tIns="17132" rIns="34267" bIns="17132"/>
          <a:lstStyle>
            <a:lvl1pPr>
              <a:defRPr sz="1250">
                <a:solidFill>
                  <a:schemeClr val="tx1"/>
                </a:solidFill>
                <a:latin typeface="+mn-lt"/>
              </a:defRPr>
            </a:lvl1pPr>
          </a:lstStyle>
          <a:p>
            <a:r>
              <a:rPr lang="en-US" noProof="0" dirty="0"/>
              <a:t>Click here to insert the image</a:t>
            </a:r>
          </a:p>
        </p:txBody>
      </p:sp>
      <p:sp>
        <p:nvSpPr>
          <p:cNvPr id="20" name="Marcador de texto 6"/>
          <p:cNvSpPr>
            <a:spLocks noGrp="1"/>
          </p:cNvSpPr>
          <p:nvPr>
            <p:ph type="body" sz="quarter" idx="34" hasCustomPrompt="1"/>
          </p:nvPr>
        </p:nvSpPr>
        <p:spPr>
          <a:xfrm>
            <a:off x="336109" y="476672"/>
            <a:ext cx="8783832" cy="432048"/>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232285682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plhTitle"/>
          <p:cNvSpPr>
            <a:spLocks noGrp="1"/>
          </p:cNvSpPr>
          <p:nvPr>
            <p:ph type="title"/>
          </p:nvPr>
        </p:nvSpPr>
        <p:spPr>
          <a:xfrm>
            <a:off x="507998" y="337075"/>
            <a:ext cx="11176001" cy="470647"/>
          </a:xfrm>
        </p:spPr>
        <p:txBody>
          <a:bodyPr lIns="0" rIns="0"/>
          <a:lstStyle>
            <a:lvl1pPr>
              <a:defRPr sz="2400">
                <a:latin typeface="+mj-lt"/>
                <a:cs typeface="Calibri" pitchFamily="34" charset="0"/>
              </a:defRPr>
            </a:lvl1pPr>
          </a:lstStyle>
          <a:p>
            <a:r>
              <a:rPr lang="en-US" dirty="0"/>
              <a:t>Click to edit Master title style</a:t>
            </a:r>
          </a:p>
        </p:txBody>
      </p:sp>
      <p:sp>
        <p:nvSpPr>
          <p:cNvPr id="12" name="plhSubheader"/>
          <p:cNvSpPr>
            <a:spLocks noGrp="1"/>
          </p:cNvSpPr>
          <p:nvPr>
            <p:ph type="body" sz="quarter" idx="13" hasCustomPrompt="1"/>
          </p:nvPr>
        </p:nvSpPr>
        <p:spPr>
          <a:xfrm>
            <a:off x="508000" y="819150"/>
            <a:ext cx="11176001" cy="336176"/>
          </a:xfrm>
          <a:noFill/>
          <a:ln w="9525">
            <a:noFill/>
            <a:miter lim="800000"/>
            <a:headEnd/>
            <a:tailEnd/>
          </a:ln>
          <a:effectLst/>
        </p:spPr>
        <p:txBody>
          <a:bodyPr lIns="0" tIns="0" rIns="0" bIns="0"/>
          <a:lstStyle>
            <a:lvl1pPr marL="0" indent="0" algn="l" rtl="0" fontAlgn="base">
              <a:spcBef>
                <a:spcPct val="0"/>
              </a:spcBef>
              <a:spcAft>
                <a:spcPct val="0"/>
              </a:spcAft>
              <a:buNone/>
              <a:defRPr lang="en-US" sz="1400" b="1" kern="1200" dirty="0" smtClean="0">
                <a:solidFill>
                  <a:srgbClr val="7E8083"/>
                </a:solidFill>
                <a:latin typeface="+mj-lt"/>
                <a:ea typeface="+mn-ea"/>
                <a:cs typeface="Calibri" pitchFamily="34" charset="0"/>
              </a:defRPr>
            </a:lvl1pPr>
            <a:lvl2pPr algn="l" rtl="0" fontAlgn="base">
              <a:spcBef>
                <a:spcPct val="0"/>
              </a:spcBef>
              <a:spcAft>
                <a:spcPct val="0"/>
              </a:spcAft>
              <a:buNone/>
              <a:defRPr lang="en-US" sz="1400" b="1" kern="1200" dirty="0" smtClean="0">
                <a:solidFill>
                  <a:schemeClr val="tx1"/>
                </a:solidFill>
                <a:latin typeface="Arial" charset="0"/>
                <a:ea typeface="+mn-ea"/>
                <a:cs typeface="Arial" charset="0"/>
              </a:defRPr>
            </a:lvl2pPr>
            <a:lvl3pPr algn="l" rtl="0" fontAlgn="base">
              <a:spcBef>
                <a:spcPct val="0"/>
              </a:spcBef>
              <a:spcAft>
                <a:spcPct val="0"/>
              </a:spcAft>
              <a:buNone/>
              <a:defRPr lang="en-US" sz="1400" b="1" kern="1200" dirty="0" smtClean="0">
                <a:solidFill>
                  <a:schemeClr val="tx1"/>
                </a:solidFill>
                <a:latin typeface="Arial" charset="0"/>
                <a:ea typeface="+mn-ea"/>
                <a:cs typeface="Arial" charset="0"/>
              </a:defRPr>
            </a:lvl3pPr>
            <a:lvl4pPr algn="l" rtl="0" fontAlgn="base">
              <a:spcBef>
                <a:spcPct val="0"/>
              </a:spcBef>
              <a:spcAft>
                <a:spcPct val="0"/>
              </a:spcAft>
              <a:buNone/>
              <a:defRPr lang="en-US" sz="1400" b="1" kern="1200" dirty="0" smtClean="0">
                <a:solidFill>
                  <a:schemeClr val="tx1"/>
                </a:solidFill>
                <a:latin typeface="Arial" charset="0"/>
                <a:ea typeface="+mn-ea"/>
                <a:cs typeface="Arial" charset="0"/>
              </a:defRPr>
            </a:lvl4pPr>
            <a:lvl5pPr algn="l" rtl="0" fontAlgn="base">
              <a:spcBef>
                <a:spcPct val="0"/>
              </a:spcBef>
              <a:spcAft>
                <a:spcPct val="0"/>
              </a:spcAft>
              <a:buNone/>
              <a:defRPr lang="en-US" sz="1400" b="1" kern="1200" dirty="0">
                <a:solidFill>
                  <a:schemeClr val="tx1"/>
                </a:solidFill>
                <a:latin typeface="Arial" charset="0"/>
                <a:ea typeface="+mn-ea"/>
                <a:cs typeface="Arial" charset="0"/>
              </a:defRPr>
            </a:lvl5pPr>
          </a:lstStyle>
          <a:p>
            <a:pPr lvl="0"/>
            <a:r>
              <a:rPr lang="en-US" dirty="0"/>
              <a:t>Sub-Header: Enter your optional sub-heading here </a:t>
            </a:r>
          </a:p>
          <a:p>
            <a:pPr lvl="0"/>
            <a:endParaRPr lang="en-US" dirty="0"/>
          </a:p>
        </p:txBody>
      </p:sp>
      <p:sp>
        <p:nvSpPr>
          <p:cNvPr id="7" name="plhBody"/>
          <p:cNvSpPr>
            <a:spLocks noGrp="1"/>
          </p:cNvSpPr>
          <p:nvPr>
            <p:ph type="body" sz="quarter" idx="16"/>
          </p:nvPr>
        </p:nvSpPr>
        <p:spPr>
          <a:xfrm>
            <a:off x="508000" y="1333949"/>
            <a:ext cx="11176001" cy="4582758"/>
          </a:xfrm>
        </p:spPr>
        <p:txBody>
          <a:bodyPr/>
          <a:lstStyle>
            <a:lvl1pPr>
              <a:buClr>
                <a:schemeClr val="bg2"/>
              </a:buClr>
              <a:defRPr sz="1300">
                <a:latin typeface="+mn-lt"/>
                <a:cs typeface="Calibri" pitchFamily="34" charset="0"/>
              </a:defRPr>
            </a:lvl1pPr>
            <a:lvl2pPr>
              <a:buClr>
                <a:schemeClr val="bg2"/>
              </a:buClr>
              <a:defRPr sz="1300">
                <a:latin typeface="+mn-lt"/>
                <a:cs typeface="Calibri" pitchFamily="34" charset="0"/>
              </a:defRPr>
            </a:lvl2pPr>
            <a:lvl3pPr>
              <a:buClr>
                <a:schemeClr val="bg2"/>
              </a:buClr>
              <a:defRPr sz="1300">
                <a:latin typeface="+mn-lt"/>
                <a:cs typeface="Calibri" pitchFamily="34" charset="0"/>
              </a:defRPr>
            </a:lvl3pPr>
            <a:lvl4pPr>
              <a:buClr>
                <a:schemeClr val="bg2"/>
              </a:buClr>
              <a:defRPr sz="1300">
                <a:latin typeface="+mn-lt"/>
                <a:cs typeface="Calibri" pitchFamily="34" charset="0"/>
              </a:defRPr>
            </a:lvl4pPr>
            <a:lvl5pPr>
              <a:buClr>
                <a:schemeClr val="bg2"/>
              </a:buClr>
              <a:defRPr sz="1300">
                <a:latin typeface="+mn-lt"/>
                <a:cs typeface="Calibri" pitchFamily="34" charset="0"/>
              </a:defRPr>
            </a:lvl5pPr>
            <a:lvl6pPr>
              <a:defRPr/>
            </a:lvl6pPr>
            <a:lvl7pPr>
              <a:defRPr/>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7" name="Slide Number Placeholder 16"/>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7BC01EA4-3BC1-4101-9AC2-FD6B853D97D7}" type="slidenum">
              <a:rPr/>
              <a:pPr/>
              <a:t>‹#›</a:t>
            </a:fld>
            <a:endParaRPr/>
          </a:p>
        </p:txBody>
      </p:sp>
    </p:spTree>
    <p:extLst>
      <p:ext uri="{BB962C8B-B14F-4D97-AF65-F5344CB8AC3E}">
        <p14:creationId xmlns:p14="http://schemas.microsoft.com/office/powerpoint/2010/main" val="886596840"/>
      </p:ext>
    </p:extLst>
  </p:cSld>
  <p:clrMapOvr>
    <a:masterClrMapping/>
  </p:clrMapOvr>
  <p:hf hdr="0" ftr="0" dt="0"/>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4_Text + 1 Image">
    <p:spTree>
      <p:nvGrpSpPr>
        <p:cNvPr id="1" name=""/>
        <p:cNvGrpSpPr/>
        <p:nvPr/>
      </p:nvGrpSpPr>
      <p:grpSpPr>
        <a:xfrm>
          <a:off x="0" y="0"/>
          <a:ext cx="0" cy="0"/>
          <a:chOff x="0" y="0"/>
          <a:chExt cx="0" cy="0"/>
        </a:xfrm>
      </p:grpSpPr>
      <p:pic>
        <p:nvPicPr>
          <p:cNvPr id="15" name="Imagen 14"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23"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12" name="Conector recto 11"/>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6" name="Marcador de posición de imagen 18"/>
          <p:cNvSpPr>
            <a:spLocks noGrp="1"/>
          </p:cNvSpPr>
          <p:nvPr>
            <p:ph type="pic" sz="quarter" idx="32" hasCustomPrompt="1"/>
          </p:nvPr>
        </p:nvSpPr>
        <p:spPr>
          <a:xfrm>
            <a:off x="6275996" y="1448780"/>
            <a:ext cx="5579893" cy="4788532"/>
          </a:xfrm>
          <a:prstGeom prst="rect">
            <a:avLst/>
          </a:prstGeom>
        </p:spPr>
        <p:txBody>
          <a:bodyPr vert="horz" lIns="34267" tIns="17132" rIns="34267" bIns="17132"/>
          <a:lstStyle>
            <a:lvl1pPr>
              <a:defRPr sz="1250" baseline="0">
                <a:solidFill>
                  <a:schemeClr val="tx1"/>
                </a:solidFill>
                <a:latin typeface="+mn-lt"/>
              </a:defRPr>
            </a:lvl1pPr>
          </a:lstStyle>
          <a:p>
            <a:r>
              <a:rPr lang="en-US" noProof="0" dirty="0"/>
              <a:t>Click here to insert an image</a:t>
            </a:r>
          </a:p>
        </p:txBody>
      </p:sp>
      <p:sp>
        <p:nvSpPr>
          <p:cNvPr id="20" name="Marcador de texto 6"/>
          <p:cNvSpPr>
            <a:spLocks noGrp="1"/>
          </p:cNvSpPr>
          <p:nvPr>
            <p:ph type="body" sz="quarter" idx="34" hasCustomPrompt="1"/>
          </p:nvPr>
        </p:nvSpPr>
        <p:spPr>
          <a:xfrm>
            <a:off x="336109" y="476672"/>
            <a:ext cx="8783832" cy="432048"/>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10" name="Marcador de texto 2">
            <a:extLst>
              <a:ext uri="{FF2B5EF4-FFF2-40B4-BE49-F238E27FC236}">
                <a16:creationId xmlns:a16="http://schemas.microsoft.com/office/drawing/2014/main" id="{CF695713-D994-4AC4-8233-431774390435}"/>
              </a:ext>
            </a:extLst>
          </p:cNvPr>
          <p:cNvSpPr>
            <a:spLocks noGrp="1"/>
          </p:cNvSpPr>
          <p:nvPr>
            <p:ph type="body" sz="quarter" idx="37" hasCustomPrompt="1"/>
          </p:nvPr>
        </p:nvSpPr>
        <p:spPr>
          <a:xfrm>
            <a:off x="336111" y="1448780"/>
            <a:ext cx="5581685" cy="4786884"/>
          </a:xfrm>
          <a:prstGeom prst="rect">
            <a:avLst/>
          </a:prstGeom>
        </p:spPr>
        <p:txBody>
          <a:bodyPr lIns="34267" tIns="17132" rIns="34267" bIns="17132"/>
          <a:lstStyle>
            <a:lvl1pPr marL="171297" indent="-171297">
              <a:buClr>
                <a:schemeClr val="tx1"/>
              </a:buClr>
              <a:buFont typeface="Arial" panose="020B0604020202020204" pitchFamily="34" charset="0"/>
              <a:buChar char="•"/>
              <a:defRPr sz="1800" baseline="0">
                <a:solidFill>
                  <a:schemeClr val="tx1"/>
                </a:solidFill>
                <a:latin typeface="+mn-lt"/>
                <a:cs typeface="Noto Sans Regular"/>
              </a:defRPr>
            </a:lvl1pPr>
            <a:lvl2pPr>
              <a:buClr>
                <a:schemeClr val="tx2"/>
              </a:buClr>
              <a:defRPr sz="18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8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36)</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2969378845"/>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2 Text + 2 Images + Footnote">
    <p:spTree>
      <p:nvGrpSpPr>
        <p:cNvPr id="1" name=""/>
        <p:cNvGrpSpPr/>
        <p:nvPr/>
      </p:nvGrpSpPr>
      <p:grpSpPr>
        <a:xfrm>
          <a:off x="0" y="0"/>
          <a:ext cx="0" cy="0"/>
          <a:chOff x="0" y="0"/>
          <a:chExt cx="0" cy="0"/>
        </a:xfrm>
      </p:grpSpPr>
      <p:pic>
        <p:nvPicPr>
          <p:cNvPr id="22" name="Imagen 21"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4" name="CuadroTexto 3"/>
          <p:cNvSpPr txBox="1"/>
          <p:nvPr userDrawn="1"/>
        </p:nvSpPr>
        <p:spPr>
          <a:xfrm>
            <a:off x="12099406" y="6960884"/>
            <a:ext cx="457140" cy="457200"/>
          </a:xfrm>
          <a:prstGeom prst="rect">
            <a:avLst/>
          </a:prstGeom>
          <a:noFill/>
          <a:ln>
            <a:noFill/>
          </a:ln>
        </p:spPr>
        <p:txBody>
          <a:bodyPr wrap="none" lIns="45684" tIns="0" rIns="45684" bIns="0" rtlCol="0" anchor="t" anchorCtr="0">
            <a:noAutofit/>
          </a:bodyPr>
          <a:lstStyle/>
          <a:p>
            <a:pPr marL="0">
              <a:lnSpc>
                <a:spcPts val="1749"/>
              </a:lnSpc>
            </a:pPr>
            <a:endParaRPr lang="es-ES" sz="2000" b="1" dirty="0" err="1">
              <a:latin typeface="+mj-lt"/>
              <a:cs typeface="Etelka Text Pro"/>
            </a:endParaRPr>
          </a:p>
        </p:txBody>
      </p:sp>
      <p:sp>
        <p:nvSpPr>
          <p:cNvPr id="27"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14" name="Conector recto 13"/>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2" name="Marcador de texto 6"/>
          <p:cNvSpPr>
            <a:spLocks noGrp="1"/>
          </p:cNvSpPr>
          <p:nvPr>
            <p:ph type="body" sz="quarter" idx="27" hasCustomPrompt="1"/>
          </p:nvPr>
        </p:nvSpPr>
        <p:spPr>
          <a:xfrm>
            <a:off x="4908023" y="1448780"/>
            <a:ext cx="4211920" cy="1224137"/>
          </a:xfrm>
          <a:prstGeom prst="rect">
            <a:avLst/>
          </a:prstGeom>
        </p:spPr>
        <p:txBody>
          <a:bodyPr vert="horz" lIns="0" tIns="0" rIns="0" bIns="17132" anchor="t" anchorCtr="0"/>
          <a:lstStyle>
            <a:lvl1pPr marL="0" marR="0" indent="0" algn="l" defTabSz="456796" rtl="0" eaLnBrk="0" fontAlgn="base" latinLnBrk="0" hangingPunct="0">
              <a:lnSpc>
                <a:spcPct val="100000"/>
              </a:lnSpc>
              <a:spcBef>
                <a:spcPts val="984"/>
              </a:spcBef>
              <a:spcAft>
                <a:spcPts val="600"/>
              </a:spcAft>
              <a:buClrTx/>
              <a:buSzTx/>
              <a:buFont typeface="Arial"/>
              <a:buNone/>
              <a:tabLst/>
              <a:defRPr sz="1800" b="0" i="0" spc="0" baseline="0">
                <a:solidFill>
                  <a:schemeClr val="tx1"/>
                </a:solidFill>
                <a:latin typeface="+mn-lt"/>
                <a:cs typeface="Noto Sans Regular"/>
              </a:defRPr>
            </a:lvl1pPr>
            <a:lvl2pPr marL="475828" indent="0">
              <a:buNone/>
              <a:defRPr/>
            </a:lvl2pPr>
          </a:lstStyle>
          <a:p>
            <a:pPr lvl="0"/>
            <a:r>
              <a:rPr lang="en-US" noProof="0" dirty="0"/>
              <a:t>Body Text (Noto Sans 36)</a:t>
            </a:r>
          </a:p>
        </p:txBody>
      </p:sp>
      <p:sp>
        <p:nvSpPr>
          <p:cNvPr id="13" name="Marcador de posición de imagen 2"/>
          <p:cNvSpPr>
            <a:spLocks noGrp="1"/>
          </p:cNvSpPr>
          <p:nvPr>
            <p:ph type="pic" sz="quarter" idx="28" hasCustomPrompt="1"/>
          </p:nvPr>
        </p:nvSpPr>
        <p:spPr>
          <a:xfrm>
            <a:off x="336111" y="2816932"/>
            <a:ext cx="4211919" cy="3420380"/>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an image</a:t>
            </a:r>
          </a:p>
          <a:p>
            <a:endParaRPr lang="en-US" noProof="0" dirty="0"/>
          </a:p>
        </p:txBody>
      </p:sp>
      <p:sp>
        <p:nvSpPr>
          <p:cNvPr id="15" name="Marcador de posición de imagen 2"/>
          <p:cNvSpPr>
            <a:spLocks noGrp="1"/>
          </p:cNvSpPr>
          <p:nvPr>
            <p:ph type="pic" sz="quarter" idx="29" hasCustomPrompt="1"/>
          </p:nvPr>
        </p:nvSpPr>
        <p:spPr>
          <a:xfrm>
            <a:off x="4908019" y="2816932"/>
            <a:ext cx="4211712" cy="3420380"/>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an image</a:t>
            </a:r>
          </a:p>
          <a:p>
            <a:endParaRPr lang="en-US" noProof="0" dirty="0"/>
          </a:p>
        </p:txBody>
      </p:sp>
      <p:sp>
        <p:nvSpPr>
          <p:cNvPr id="16" name="Marcador de texto 6"/>
          <p:cNvSpPr>
            <a:spLocks noGrp="1"/>
          </p:cNvSpPr>
          <p:nvPr>
            <p:ph type="body" sz="quarter" idx="31" hasCustomPrompt="1"/>
          </p:nvPr>
        </p:nvSpPr>
        <p:spPr>
          <a:xfrm>
            <a:off x="336111" y="1448780"/>
            <a:ext cx="4211919" cy="1224137"/>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800" b="0" i="0" spc="0" baseline="0">
                <a:solidFill>
                  <a:schemeClr val="tx1"/>
                </a:solidFill>
                <a:latin typeface="+mn-lt"/>
                <a:cs typeface="Noto Sans Regular"/>
              </a:defRPr>
            </a:lvl1pPr>
            <a:lvl2pPr marL="475828" indent="0">
              <a:buNone/>
              <a:defRPr/>
            </a:lvl2pPr>
          </a:lstStyle>
          <a:p>
            <a:pPr lvl="0"/>
            <a:r>
              <a:rPr lang="en-US" noProof="0" dirty="0"/>
              <a:t>Body Text (Noto Sans 36)</a:t>
            </a:r>
          </a:p>
        </p:txBody>
      </p:sp>
      <p:sp>
        <p:nvSpPr>
          <p:cNvPr id="19" name="Marcador de texto 6"/>
          <p:cNvSpPr>
            <a:spLocks noGrp="1"/>
          </p:cNvSpPr>
          <p:nvPr>
            <p:ph type="body" sz="quarter" idx="30" hasCustomPrompt="1"/>
          </p:nvPr>
        </p:nvSpPr>
        <p:spPr>
          <a:xfrm>
            <a:off x="9623932" y="5877272"/>
            <a:ext cx="2231957" cy="360424"/>
          </a:xfrm>
          <a:prstGeom prst="rect">
            <a:avLst/>
          </a:prstGeom>
        </p:spPr>
        <p:txBody>
          <a:bodyPr vert="horz" lIns="34267" tIns="17132" rIns="34267" bIns="17132"/>
          <a:lstStyle>
            <a:lvl1pPr marL="0" indent="0">
              <a:lnSpc>
                <a:spcPct val="110000"/>
              </a:lnSpc>
              <a:buNone/>
              <a:defRPr sz="950" b="0" i="0" spc="0" baseline="0">
                <a:solidFill>
                  <a:schemeClr val="tx1"/>
                </a:solidFill>
                <a:latin typeface="+mn-lt"/>
                <a:cs typeface="Noto Sans Regular"/>
              </a:defRPr>
            </a:lvl1pPr>
          </a:lstStyle>
          <a:p>
            <a:pPr lvl="0"/>
            <a:r>
              <a:rPr lang="en-US" noProof="0" dirty="0"/>
              <a:t>Click here to insert complementary info (footnotes, captions, legends, </a:t>
            </a:r>
            <a:r>
              <a:rPr lang="en-US" noProof="0" dirty="0" err="1"/>
              <a:t>etc</a:t>
            </a:r>
            <a:r>
              <a:rPr lang="en-US" noProof="0" dirty="0"/>
              <a:t>)</a:t>
            </a:r>
          </a:p>
        </p:txBody>
      </p:sp>
      <p:sp>
        <p:nvSpPr>
          <p:cNvPr id="20"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2449042062"/>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2 Text + 2 Images">
    <p:spTree>
      <p:nvGrpSpPr>
        <p:cNvPr id="1" name=""/>
        <p:cNvGrpSpPr/>
        <p:nvPr/>
      </p:nvGrpSpPr>
      <p:grpSpPr>
        <a:xfrm>
          <a:off x="0" y="0"/>
          <a:ext cx="0" cy="0"/>
          <a:chOff x="0" y="0"/>
          <a:chExt cx="0" cy="0"/>
        </a:xfrm>
      </p:grpSpPr>
      <p:pic>
        <p:nvPicPr>
          <p:cNvPr id="22" name="Imagen 21"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4" name="CuadroTexto 3"/>
          <p:cNvSpPr txBox="1"/>
          <p:nvPr userDrawn="1"/>
        </p:nvSpPr>
        <p:spPr>
          <a:xfrm>
            <a:off x="12099406" y="6960884"/>
            <a:ext cx="457140" cy="457200"/>
          </a:xfrm>
          <a:prstGeom prst="rect">
            <a:avLst/>
          </a:prstGeom>
          <a:noFill/>
          <a:ln>
            <a:noFill/>
          </a:ln>
        </p:spPr>
        <p:txBody>
          <a:bodyPr wrap="none" lIns="45684" tIns="0" rIns="45684" bIns="0" rtlCol="0" anchor="t" anchorCtr="0">
            <a:noAutofit/>
          </a:bodyPr>
          <a:lstStyle/>
          <a:p>
            <a:pPr marL="0">
              <a:lnSpc>
                <a:spcPts val="1749"/>
              </a:lnSpc>
            </a:pPr>
            <a:endParaRPr lang="es-ES" sz="2000" b="1" dirty="0" err="1">
              <a:latin typeface="+mj-lt"/>
              <a:cs typeface="Etelka Text Pro"/>
            </a:endParaRPr>
          </a:p>
        </p:txBody>
      </p:sp>
      <p:sp>
        <p:nvSpPr>
          <p:cNvPr id="27"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15" name="Marcador de texto 6"/>
          <p:cNvSpPr>
            <a:spLocks noGrp="1"/>
          </p:cNvSpPr>
          <p:nvPr>
            <p:ph type="body" sz="quarter" idx="27" hasCustomPrompt="1"/>
          </p:nvPr>
        </p:nvSpPr>
        <p:spPr>
          <a:xfrm>
            <a:off x="6275934" y="1448780"/>
            <a:ext cx="5579957" cy="648072"/>
          </a:xfrm>
          <a:prstGeom prst="rect">
            <a:avLst/>
          </a:prstGeom>
        </p:spPr>
        <p:txBody>
          <a:bodyPr vert="horz" lIns="0" tIns="0" rIns="0" bIns="17132" anchor="t" anchorCtr="0"/>
          <a:lstStyle>
            <a:lvl1pPr marL="0" marR="0" indent="0" algn="l" defTabSz="456796" rtl="0" eaLnBrk="0" fontAlgn="base" latinLnBrk="0" hangingPunct="0">
              <a:lnSpc>
                <a:spcPct val="100000"/>
              </a:lnSpc>
              <a:spcBef>
                <a:spcPts val="984"/>
              </a:spcBef>
              <a:spcAft>
                <a:spcPts val="600"/>
              </a:spcAft>
              <a:buClrTx/>
              <a:buSzTx/>
              <a:buFont typeface="Arial"/>
              <a:buNone/>
              <a:tabLst/>
              <a:defRPr sz="1800" b="0" i="0" spc="0" baseline="0">
                <a:solidFill>
                  <a:schemeClr val="accent1"/>
                </a:solidFill>
                <a:latin typeface="+mn-lt"/>
                <a:cs typeface="Noto Sans Regular"/>
              </a:defRPr>
            </a:lvl1pPr>
            <a:lvl2pPr marL="475828" indent="0">
              <a:buNone/>
              <a:defRPr/>
            </a:lvl2pPr>
          </a:lstStyle>
          <a:p>
            <a:pPr lvl="0"/>
            <a:r>
              <a:rPr lang="en-US" noProof="0" dirty="0"/>
              <a:t>Subhead (Noto Sans 36)</a:t>
            </a:r>
          </a:p>
        </p:txBody>
      </p:sp>
      <p:sp>
        <p:nvSpPr>
          <p:cNvPr id="16" name="Marcador de posición de imagen 2"/>
          <p:cNvSpPr>
            <a:spLocks noGrp="1"/>
          </p:cNvSpPr>
          <p:nvPr>
            <p:ph type="pic" sz="quarter" idx="28" hasCustomPrompt="1"/>
          </p:nvPr>
        </p:nvSpPr>
        <p:spPr>
          <a:xfrm>
            <a:off x="336109" y="2240868"/>
            <a:ext cx="5579893" cy="3996445"/>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baseline="0">
                <a:solidFill>
                  <a:schemeClr val="tx1"/>
                </a:solidFill>
                <a:latin typeface="+mn-lt"/>
              </a:defRPr>
            </a:lvl1pPr>
          </a:lstStyle>
          <a:p>
            <a:r>
              <a:rPr lang="en-US" noProof="0" dirty="0"/>
              <a:t>Click here to insert an image</a:t>
            </a:r>
          </a:p>
          <a:p>
            <a:endParaRPr lang="en-US" noProof="0" dirty="0"/>
          </a:p>
        </p:txBody>
      </p:sp>
      <p:sp>
        <p:nvSpPr>
          <p:cNvPr id="17" name="Marcador de posición de imagen 2"/>
          <p:cNvSpPr>
            <a:spLocks noGrp="1"/>
          </p:cNvSpPr>
          <p:nvPr>
            <p:ph type="pic" sz="quarter" idx="29" hasCustomPrompt="1"/>
          </p:nvPr>
        </p:nvSpPr>
        <p:spPr>
          <a:xfrm>
            <a:off x="6275998" y="2240868"/>
            <a:ext cx="5579682" cy="3996445"/>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an image</a:t>
            </a:r>
          </a:p>
          <a:p>
            <a:endParaRPr lang="en-US" noProof="0" dirty="0"/>
          </a:p>
        </p:txBody>
      </p:sp>
      <p:sp>
        <p:nvSpPr>
          <p:cNvPr id="19" name="Marcador de texto 6"/>
          <p:cNvSpPr>
            <a:spLocks noGrp="1"/>
          </p:cNvSpPr>
          <p:nvPr>
            <p:ph type="body" sz="quarter" idx="31" hasCustomPrompt="1"/>
          </p:nvPr>
        </p:nvSpPr>
        <p:spPr>
          <a:xfrm>
            <a:off x="336109" y="1448780"/>
            <a:ext cx="5579893" cy="64807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800" b="0" i="0" spc="0" baseline="0">
                <a:solidFill>
                  <a:schemeClr val="accent1"/>
                </a:solidFill>
                <a:latin typeface="+mn-lt"/>
                <a:cs typeface="Noto Sans Regular"/>
              </a:defRPr>
            </a:lvl1pPr>
            <a:lvl2pPr marL="475828" indent="0">
              <a:buNone/>
              <a:defRPr/>
            </a:lvl2pPr>
          </a:lstStyle>
          <a:p>
            <a:pPr lvl="0"/>
            <a:r>
              <a:rPr lang="en-US" noProof="0" dirty="0"/>
              <a:t>Subhead (Noto Sans 36)</a:t>
            </a:r>
          </a:p>
        </p:txBody>
      </p:sp>
      <p:cxnSp>
        <p:nvCxnSpPr>
          <p:cNvPr id="20" name="Conector recto 19"/>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1"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endParaRPr lang="es-ES_tradnl" dirty="0"/>
          </a:p>
        </p:txBody>
      </p:sp>
    </p:spTree>
    <p:extLst>
      <p:ext uri="{BB962C8B-B14F-4D97-AF65-F5344CB8AC3E}">
        <p14:creationId xmlns:p14="http://schemas.microsoft.com/office/powerpoint/2010/main" val="3887544033"/>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Text Boxes + Subheads">
    <p:spTree>
      <p:nvGrpSpPr>
        <p:cNvPr id="1" name=""/>
        <p:cNvGrpSpPr/>
        <p:nvPr/>
      </p:nvGrpSpPr>
      <p:grpSpPr>
        <a:xfrm>
          <a:off x="0" y="0"/>
          <a:ext cx="0" cy="0"/>
          <a:chOff x="0" y="0"/>
          <a:chExt cx="0" cy="0"/>
        </a:xfrm>
      </p:grpSpPr>
      <p:pic>
        <p:nvPicPr>
          <p:cNvPr id="22" name="Imagen 21"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4" name="CuadroTexto 3"/>
          <p:cNvSpPr txBox="1"/>
          <p:nvPr userDrawn="1"/>
        </p:nvSpPr>
        <p:spPr>
          <a:xfrm>
            <a:off x="12099406" y="6960884"/>
            <a:ext cx="457140" cy="457200"/>
          </a:xfrm>
          <a:prstGeom prst="rect">
            <a:avLst/>
          </a:prstGeom>
          <a:noFill/>
          <a:ln>
            <a:noFill/>
          </a:ln>
        </p:spPr>
        <p:txBody>
          <a:bodyPr wrap="none" lIns="45684" tIns="0" rIns="45684" bIns="0" rtlCol="0" anchor="t" anchorCtr="0">
            <a:noAutofit/>
          </a:bodyPr>
          <a:lstStyle/>
          <a:p>
            <a:pPr marL="0">
              <a:lnSpc>
                <a:spcPts val="1749"/>
              </a:lnSpc>
            </a:pPr>
            <a:endParaRPr lang="es-ES" sz="2000" b="1" dirty="0" err="1">
              <a:latin typeface="+mn-lt"/>
              <a:cs typeface="Etelka Text Pro"/>
            </a:endParaRPr>
          </a:p>
        </p:txBody>
      </p:sp>
      <p:sp>
        <p:nvSpPr>
          <p:cNvPr id="27"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14" name="Conector recto 13"/>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1" name="Marcador de texto 6"/>
          <p:cNvSpPr>
            <a:spLocks noGrp="1"/>
          </p:cNvSpPr>
          <p:nvPr>
            <p:ph type="body" sz="quarter" idx="27" hasCustomPrompt="1"/>
          </p:nvPr>
        </p:nvSpPr>
        <p:spPr>
          <a:xfrm>
            <a:off x="6275934" y="1448780"/>
            <a:ext cx="5579957" cy="648072"/>
          </a:xfrm>
          <a:prstGeom prst="rect">
            <a:avLst/>
          </a:prstGeom>
        </p:spPr>
        <p:txBody>
          <a:bodyPr vert="horz" lIns="0" tIns="0" rIns="0" bIns="17132" anchor="t" anchorCtr="0"/>
          <a:lstStyle>
            <a:lvl1pPr marL="0" marR="0" indent="0" algn="l" defTabSz="456796" rtl="0" eaLnBrk="0" fontAlgn="base" latinLnBrk="0" hangingPunct="0">
              <a:lnSpc>
                <a:spcPct val="100000"/>
              </a:lnSpc>
              <a:spcBef>
                <a:spcPts val="984"/>
              </a:spcBef>
              <a:spcAft>
                <a:spcPts val="600"/>
              </a:spcAft>
              <a:buClrTx/>
              <a:buSzTx/>
              <a:buFont typeface="Arial"/>
              <a:buNone/>
              <a:tabLst/>
              <a:defRPr sz="1800" b="0" i="0" spc="0" baseline="0">
                <a:solidFill>
                  <a:schemeClr val="accent1"/>
                </a:solidFill>
                <a:latin typeface="+mn-lt"/>
                <a:cs typeface="Noto Sans Regular"/>
              </a:defRPr>
            </a:lvl1pPr>
            <a:lvl2pPr marL="475828" indent="0">
              <a:buNone/>
              <a:defRPr/>
            </a:lvl2pPr>
          </a:lstStyle>
          <a:p>
            <a:pPr lvl="0"/>
            <a:r>
              <a:rPr lang="en-US" noProof="0" dirty="0"/>
              <a:t>Subhead (Noto Sans 36)</a:t>
            </a:r>
          </a:p>
        </p:txBody>
      </p:sp>
      <p:sp>
        <p:nvSpPr>
          <p:cNvPr id="15" name="Marcador de texto 6"/>
          <p:cNvSpPr>
            <a:spLocks noGrp="1"/>
          </p:cNvSpPr>
          <p:nvPr>
            <p:ph type="body" sz="quarter" idx="31" hasCustomPrompt="1"/>
          </p:nvPr>
        </p:nvSpPr>
        <p:spPr>
          <a:xfrm>
            <a:off x="336109" y="1448780"/>
            <a:ext cx="5579893" cy="64807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800" b="0" i="0" spc="0" baseline="0">
                <a:solidFill>
                  <a:schemeClr val="accent1"/>
                </a:solidFill>
                <a:latin typeface="+mn-lt"/>
                <a:cs typeface="Noto Sans Regular"/>
              </a:defRPr>
            </a:lvl1pPr>
            <a:lvl2pPr marL="475828" indent="0">
              <a:buNone/>
              <a:defRPr/>
            </a:lvl2pPr>
          </a:lstStyle>
          <a:p>
            <a:pPr lvl="0"/>
            <a:r>
              <a:rPr lang="en-US" noProof="0" dirty="0"/>
              <a:t>Subhead (Noto Sans 36)</a:t>
            </a:r>
          </a:p>
        </p:txBody>
      </p:sp>
      <p:sp>
        <p:nvSpPr>
          <p:cNvPr id="17"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13" name="Marcador de texto 2">
            <a:extLst>
              <a:ext uri="{FF2B5EF4-FFF2-40B4-BE49-F238E27FC236}">
                <a16:creationId xmlns:a16="http://schemas.microsoft.com/office/drawing/2014/main" id="{D6EBA06A-29F2-4ED0-8DE8-64F709E72A11}"/>
              </a:ext>
            </a:extLst>
          </p:cNvPr>
          <p:cNvSpPr>
            <a:spLocks noGrp="1"/>
          </p:cNvSpPr>
          <p:nvPr>
            <p:ph type="body" sz="quarter" idx="37" hasCustomPrompt="1"/>
          </p:nvPr>
        </p:nvSpPr>
        <p:spPr>
          <a:xfrm>
            <a:off x="336111" y="2241385"/>
            <a:ext cx="5581685" cy="3995928"/>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baseline="0">
                <a:solidFill>
                  <a:schemeClr val="tx1"/>
                </a:solidFill>
                <a:latin typeface="+mn-lt"/>
                <a:cs typeface="Noto Sans Regular"/>
              </a:defRPr>
            </a:lvl1pPr>
            <a:lvl2pPr>
              <a:buClr>
                <a:schemeClr val="tx2"/>
              </a:buClr>
              <a:defRPr sz="14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4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32)</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
        <p:nvSpPr>
          <p:cNvPr id="19" name="Marcador de texto 2">
            <a:extLst>
              <a:ext uri="{FF2B5EF4-FFF2-40B4-BE49-F238E27FC236}">
                <a16:creationId xmlns:a16="http://schemas.microsoft.com/office/drawing/2014/main" id="{9E8D547C-F99F-420F-B52D-05207053B0AE}"/>
              </a:ext>
            </a:extLst>
          </p:cNvPr>
          <p:cNvSpPr>
            <a:spLocks noGrp="1"/>
          </p:cNvSpPr>
          <p:nvPr>
            <p:ph type="body" sz="quarter" idx="38" hasCustomPrompt="1"/>
          </p:nvPr>
        </p:nvSpPr>
        <p:spPr>
          <a:xfrm>
            <a:off x="6274206" y="2241385"/>
            <a:ext cx="5581685" cy="3995928"/>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4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4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32) </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2453029311"/>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1 Text Box + Image">
    <p:spTree>
      <p:nvGrpSpPr>
        <p:cNvPr id="1" name=""/>
        <p:cNvGrpSpPr/>
        <p:nvPr/>
      </p:nvGrpSpPr>
      <p:grpSpPr>
        <a:xfrm>
          <a:off x="0" y="0"/>
          <a:ext cx="0" cy="0"/>
          <a:chOff x="0" y="0"/>
          <a:chExt cx="0" cy="0"/>
        </a:xfrm>
      </p:grpSpPr>
      <p:pic>
        <p:nvPicPr>
          <p:cNvPr id="11" name="Imagen 10"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6"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17" name="Conector recto 16"/>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9" name="Marcador de posición de imagen 2"/>
          <p:cNvSpPr>
            <a:spLocks noGrp="1"/>
          </p:cNvSpPr>
          <p:nvPr>
            <p:ph type="pic" sz="quarter" idx="29" hasCustomPrompt="1"/>
          </p:nvPr>
        </p:nvSpPr>
        <p:spPr>
          <a:xfrm>
            <a:off x="6275998" y="1448780"/>
            <a:ext cx="5579682" cy="4788533"/>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14"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8" name="Marcador de texto 2">
            <a:extLst>
              <a:ext uri="{FF2B5EF4-FFF2-40B4-BE49-F238E27FC236}">
                <a16:creationId xmlns:a16="http://schemas.microsoft.com/office/drawing/2014/main" id="{ADE1A4CD-24CD-4A54-91D9-E9F89494DA3E}"/>
              </a:ext>
            </a:extLst>
          </p:cNvPr>
          <p:cNvSpPr>
            <a:spLocks noGrp="1"/>
          </p:cNvSpPr>
          <p:nvPr>
            <p:ph type="body" sz="quarter" idx="37" hasCustomPrompt="1"/>
          </p:nvPr>
        </p:nvSpPr>
        <p:spPr>
          <a:xfrm>
            <a:off x="336111" y="1448780"/>
            <a:ext cx="5581685" cy="4786884"/>
          </a:xfrm>
          <a:prstGeom prst="rect">
            <a:avLst/>
          </a:prstGeom>
        </p:spPr>
        <p:txBody>
          <a:bodyPr lIns="34267" tIns="17132" rIns="34267" bIns="17132"/>
          <a:lstStyle>
            <a:lvl1pPr marL="171297" indent="-171297">
              <a:buClr>
                <a:schemeClr val="tx1"/>
              </a:buClr>
              <a:buFont typeface="Arial" panose="020B0604020202020204" pitchFamily="34" charset="0"/>
              <a:buChar char="•"/>
              <a:defRPr sz="1800" baseline="0">
                <a:solidFill>
                  <a:schemeClr val="tx1"/>
                </a:solidFill>
                <a:latin typeface="+mn-lt"/>
                <a:cs typeface="Noto Sans Regular"/>
              </a:defRPr>
            </a:lvl1pPr>
            <a:lvl2pPr>
              <a:buClr>
                <a:schemeClr val="tx2"/>
              </a:buClr>
              <a:defRPr sz="18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8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36)</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380097674"/>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4 Images + 4 Text ">
    <p:spTree>
      <p:nvGrpSpPr>
        <p:cNvPr id="1" name=""/>
        <p:cNvGrpSpPr/>
        <p:nvPr/>
      </p:nvGrpSpPr>
      <p:grpSpPr>
        <a:xfrm>
          <a:off x="0" y="0"/>
          <a:ext cx="0" cy="0"/>
          <a:chOff x="0" y="0"/>
          <a:chExt cx="0" cy="0"/>
        </a:xfrm>
      </p:grpSpPr>
      <p:pic>
        <p:nvPicPr>
          <p:cNvPr id="23" name="Imagen 22"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25"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2"/>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24" name="Conector recto 23"/>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7" name="Marcador de texto 6"/>
          <p:cNvSpPr>
            <a:spLocks noGrp="1"/>
          </p:cNvSpPr>
          <p:nvPr>
            <p:ph type="body" sz="quarter" idx="25" hasCustomPrompt="1"/>
          </p:nvPr>
        </p:nvSpPr>
        <p:spPr>
          <a:xfrm>
            <a:off x="336111" y="3861048"/>
            <a:ext cx="2735948" cy="288032"/>
          </a:xfrm>
          <a:prstGeom prst="rect">
            <a:avLst/>
          </a:prstGeom>
        </p:spPr>
        <p:txBody>
          <a:bodyPr vert="horz" lIns="34267" tIns="17132" rIns="34267" bIns="17132"/>
          <a:lstStyle>
            <a:lvl1pPr marL="0" indent="0">
              <a:lnSpc>
                <a:spcPct val="110000"/>
              </a:lnSpc>
              <a:buNone/>
              <a:defRPr sz="1600" b="0" i="0" spc="0" baseline="0">
                <a:solidFill>
                  <a:schemeClr val="tx2"/>
                </a:solidFill>
                <a:latin typeface="+mn-lt"/>
                <a:cs typeface="Noto Sans Regular"/>
              </a:defRPr>
            </a:lvl1pPr>
          </a:lstStyle>
          <a:p>
            <a:pPr lvl="0"/>
            <a:r>
              <a:rPr lang="en-US" noProof="0" dirty="0"/>
              <a:t>Title (Noto Sans 32)</a:t>
            </a:r>
          </a:p>
        </p:txBody>
      </p:sp>
      <p:sp>
        <p:nvSpPr>
          <p:cNvPr id="29" name="Marcador de posición de imagen 2"/>
          <p:cNvSpPr>
            <a:spLocks noGrp="1"/>
          </p:cNvSpPr>
          <p:nvPr>
            <p:ph type="pic" sz="quarter" idx="39" hasCustomPrompt="1"/>
          </p:nvPr>
        </p:nvSpPr>
        <p:spPr>
          <a:xfrm>
            <a:off x="336509" y="1448780"/>
            <a:ext cx="2735700" cy="226825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30" name="Marcador de texto 6"/>
          <p:cNvSpPr>
            <a:spLocks noGrp="1"/>
          </p:cNvSpPr>
          <p:nvPr>
            <p:ph type="body" sz="quarter" idx="40" hasCustomPrompt="1"/>
          </p:nvPr>
        </p:nvSpPr>
        <p:spPr>
          <a:xfrm>
            <a:off x="3263791" y="3861048"/>
            <a:ext cx="2735948" cy="288032"/>
          </a:xfrm>
          <a:prstGeom prst="rect">
            <a:avLst/>
          </a:prstGeom>
        </p:spPr>
        <p:txBody>
          <a:bodyPr vert="horz" lIns="34267" tIns="17132" rIns="34267" bIns="17132"/>
          <a:lstStyle>
            <a:lvl1pPr marL="0" indent="0">
              <a:lnSpc>
                <a:spcPct val="110000"/>
              </a:lnSpc>
              <a:buNone/>
              <a:defRPr sz="1600" b="0" i="0" spc="0" baseline="0">
                <a:solidFill>
                  <a:schemeClr val="tx2"/>
                </a:solidFill>
                <a:latin typeface="+mn-lt"/>
                <a:cs typeface="Noto Sans Regular"/>
              </a:defRPr>
            </a:lvl1pPr>
          </a:lstStyle>
          <a:p>
            <a:pPr lvl="0"/>
            <a:r>
              <a:rPr lang="en-US" noProof="0" dirty="0"/>
              <a:t>Title (Noto Sans 32)</a:t>
            </a:r>
          </a:p>
        </p:txBody>
      </p:sp>
      <p:sp>
        <p:nvSpPr>
          <p:cNvPr id="32" name="Marcador de posición de imagen 2"/>
          <p:cNvSpPr>
            <a:spLocks noGrp="1"/>
          </p:cNvSpPr>
          <p:nvPr>
            <p:ph type="pic" sz="quarter" idx="42" hasCustomPrompt="1"/>
          </p:nvPr>
        </p:nvSpPr>
        <p:spPr>
          <a:xfrm>
            <a:off x="3264188" y="1448780"/>
            <a:ext cx="2735700" cy="226825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33" name="Marcador de texto 6"/>
          <p:cNvSpPr>
            <a:spLocks noGrp="1"/>
          </p:cNvSpPr>
          <p:nvPr>
            <p:ph type="body" sz="quarter" idx="43" hasCustomPrompt="1"/>
          </p:nvPr>
        </p:nvSpPr>
        <p:spPr>
          <a:xfrm>
            <a:off x="6191471" y="3861048"/>
            <a:ext cx="2735948" cy="288032"/>
          </a:xfrm>
          <a:prstGeom prst="rect">
            <a:avLst/>
          </a:prstGeom>
        </p:spPr>
        <p:txBody>
          <a:bodyPr vert="horz" lIns="34267" tIns="17132" rIns="34267" bIns="17132"/>
          <a:lstStyle>
            <a:lvl1pPr marL="0" indent="0">
              <a:lnSpc>
                <a:spcPct val="110000"/>
              </a:lnSpc>
              <a:buNone/>
              <a:defRPr sz="1600" b="0" i="0" spc="0" baseline="0">
                <a:solidFill>
                  <a:schemeClr val="tx2"/>
                </a:solidFill>
                <a:latin typeface="+mn-lt"/>
                <a:cs typeface="Noto Sans Regular"/>
              </a:defRPr>
            </a:lvl1pPr>
          </a:lstStyle>
          <a:p>
            <a:pPr lvl="0"/>
            <a:r>
              <a:rPr lang="en-US" noProof="0" dirty="0"/>
              <a:t>Title (Noto Sans 32)</a:t>
            </a:r>
          </a:p>
        </p:txBody>
      </p:sp>
      <p:sp>
        <p:nvSpPr>
          <p:cNvPr id="35" name="Marcador de posición de imagen 2"/>
          <p:cNvSpPr>
            <a:spLocks noGrp="1"/>
          </p:cNvSpPr>
          <p:nvPr>
            <p:ph type="pic" sz="quarter" idx="45" hasCustomPrompt="1"/>
          </p:nvPr>
        </p:nvSpPr>
        <p:spPr>
          <a:xfrm>
            <a:off x="6191867" y="1448780"/>
            <a:ext cx="2735700" cy="226825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36" name="Marcador de texto 6"/>
          <p:cNvSpPr>
            <a:spLocks noGrp="1"/>
          </p:cNvSpPr>
          <p:nvPr>
            <p:ph type="body" sz="quarter" idx="46" hasCustomPrompt="1"/>
          </p:nvPr>
        </p:nvSpPr>
        <p:spPr>
          <a:xfrm>
            <a:off x="9119150" y="3861048"/>
            <a:ext cx="2735948" cy="288032"/>
          </a:xfrm>
          <a:prstGeom prst="rect">
            <a:avLst/>
          </a:prstGeom>
        </p:spPr>
        <p:txBody>
          <a:bodyPr vert="horz" lIns="34267" tIns="17132" rIns="34267" bIns="17132"/>
          <a:lstStyle>
            <a:lvl1pPr marL="0" indent="0">
              <a:lnSpc>
                <a:spcPct val="110000"/>
              </a:lnSpc>
              <a:buNone/>
              <a:defRPr sz="1600" b="0" i="0" spc="0" baseline="0">
                <a:solidFill>
                  <a:schemeClr val="tx2"/>
                </a:solidFill>
                <a:latin typeface="+mn-lt"/>
                <a:cs typeface="Noto Sans Regular"/>
              </a:defRPr>
            </a:lvl1pPr>
          </a:lstStyle>
          <a:p>
            <a:pPr lvl="0"/>
            <a:r>
              <a:rPr lang="en-US" noProof="0" dirty="0"/>
              <a:t>Title (Noto Sans 32)</a:t>
            </a:r>
          </a:p>
        </p:txBody>
      </p:sp>
      <p:sp>
        <p:nvSpPr>
          <p:cNvPr id="38" name="Marcador de posición de imagen 2"/>
          <p:cNvSpPr>
            <a:spLocks noGrp="1"/>
          </p:cNvSpPr>
          <p:nvPr>
            <p:ph type="pic" sz="quarter" idx="48" hasCustomPrompt="1"/>
          </p:nvPr>
        </p:nvSpPr>
        <p:spPr>
          <a:xfrm>
            <a:off x="9119546" y="1448780"/>
            <a:ext cx="2735700" cy="226825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21"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20" name="Marcador de texto 2">
            <a:extLst>
              <a:ext uri="{FF2B5EF4-FFF2-40B4-BE49-F238E27FC236}">
                <a16:creationId xmlns:a16="http://schemas.microsoft.com/office/drawing/2014/main" id="{86728F71-A3C2-4698-A04D-C8D99CF97817}"/>
              </a:ext>
            </a:extLst>
          </p:cNvPr>
          <p:cNvSpPr>
            <a:spLocks noGrp="1"/>
          </p:cNvSpPr>
          <p:nvPr>
            <p:ph type="body" sz="quarter" idx="37" hasCustomPrompt="1"/>
          </p:nvPr>
        </p:nvSpPr>
        <p:spPr>
          <a:xfrm>
            <a:off x="336111" y="4257092"/>
            <a:ext cx="2738271" cy="1979676"/>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2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200">
                <a:solidFill>
                  <a:schemeClr val="tx1"/>
                </a:solidFill>
                <a:latin typeface="+mn-lt"/>
                <a:cs typeface="Noto Sans"/>
              </a:defRPr>
            </a:lvl3pPr>
            <a:lvl4pPr>
              <a:defRPr sz="1000">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
        <p:nvSpPr>
          <p:cNvPr id="22" name="Marcador de texto 2">
            <a:extLst>
              <a:ext uri="{FF2B5EF4-FFF2-40B4-BE49-F238E27FC236}">
                <a16:creationId xmlns:a16="http://schemas.microsoft.com/office/drawing/2014/main" id="{39778D50-61C0-442A-B6B1-311C80D40B68}"/>
              </a:ext>
            </a:extLst>
          </p:cNvPr>
          <p:cNvSpPr>
            <a:spLocks noGrp="1"/>
          </p:cNvSpPr>
          <p:nvPr>
            <p:ph type="body" sz="quarter" idx="49" hasCustomPrompt="1"/>
          </p:nvPr>
        </p:nvSpPr>
        <p:spPr>
          <a:xfrm>
            <a:off x="3264188" y="4257092"/>
            <a:ext cx="2738271" cy="1979676"/>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2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200">
                <a:solidFill>
                  <a:schemeClr val="tx1"/>
                </a:solidFill>
                <a:latin typeface="+mn-lt"/>
                <a:cs typeface="Noto Sans"/>
              </a:defRPr>
            </a:lvl3pPr>
            <a:lvl4pPr>
              <a:defRPr sz="1000">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
        <p:nvSpPr>
          <p:cNvPr id="34" name="Marcador de texto 2">
            <a:extLst>
              <a:ext uri="{FF2B5EF4-FFF2-40B4-BE49-F238E27FC236}">
                <a16:creationId xmlns:a16="http://schemas.microsoft.com/office/drawing/2014/main" id="{C777293C-6598-44C5-9A2B-27D0278877AA}"/>
              </a:ext>
            </a:extLst>
          </p:cNvPr>
          <p:cNvSpPr>
            <a:spLocks noGrp="1"/>
          </p:cNvSpPr>
          <p:nvPr>
            <p:ph type="body" sz="quarter" idx="50" hasCustomPrompt="1"/>
          </p:nvPr>
        </p:nvSpPr>
        <p:spPr>
          <a:xfrm>
            <a:off x="6189296" y="4257092"/>
            <a:ext cx="2738271" cy="1979676"/>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2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200">
                <a:solidFill>
                  <a:schemeClr val="tx1"/>
                </a:solidFill>
                <a:latin typeface="+mn-lt"/>
                <a:cs typeface="Noto Sans"/>
              </a:defRPr>
            </a:lvl3pPr>
            <a:lvl4pPr marL="1665396" marR="0" indent="-237913" algn="l" defTabSz="457109" rtl="0" eaLnBrk="1" fontAlgn="base" latinLnBrk="0" hangingPunct="1">
              <a:lnSpc>
                <a:spcPct val="100000"/>
              </a:lnSpc>
              <a:spcBef>
                <a:spcPct val="20000"/>
              </a:spcBef>
              <a:spcAft>
                <a:spcPct val="0"/>
              </a:spcAft>
              <a:buClrTx/>
              <a:buSzTx/>
              <a:buFontTx/>
              <a:buChar char="•"/>
              <a:tabLst/>
              <a:defRPr sz="1000">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
        <p:nvSpPr>
          <p:cNvPr id="37" name="Marcador de texto 2">
            <a:extLst>
              <a:ext uri="{FF2B5EF4-FFF2-40B4-BE49-F238E27FC236}">
                <a16:creationId xmlns:a16="http://schemas.microsoft.com/office/drawing/2014/main" id="{84BB3B42-79A6-4DDF-94C8-03F015DFEC99}"/>
              </a:ext>
            </a:extLst>
          </p:cNvPr>
          <p:cNvSpPr>
            <a:spLocks noGrp="1"/>
          </p:cNvSpPr>
          <p:nvPr>
            <p:ph type="body" sz="quarter" idx="51" hasCustomPrompt="1"/>
          </p:nvPr>
        </p:nvSpPr>
        <p:spPr>
          <a:xfrm>
            <a:off x="9119546" y="4257092"/>
            <a:ext cx="2738271" cy="1979676"/>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2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200">
                <a:solidFill>
                  <a:schemeClr val="tx1"/>
                </a:solidFill>
                <a:latin typeface="+mn-lt"/>
                <a:cs typeface="Noto Sans"/>
              </a:defRPr>
            </a:lvl3pPr>
            <a:lvl4pPr>
              <a:defRPr sz="1000">
                <a:latin typeface="+mn-lt"/>
              </a:defRPr>
            </a:lvl4pPr>
            <a:lvl5pPr>
              <a:defRPr>
                <a:latin typeface="+mn-lt"/>
              </a:defRPr>
            </a:lvl5pPr>
          </a:lstStyle>
          <a:p>
            <a:pPr lvl="0"/>
            <a:r>
              <a:rPr lang="en-US" noProof="0" dirty="0"/>
              <a:t>Body Text (Noto Sans 28) </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2604059959"/>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1 Image + Footnote">
    <p:spTree>
      <p:nvGrpSpPr>
        <p:cNvPr id="1" name=""/>
        <p:cNvGrpSpPr/>
        <p:nvPr/>
      </p:nvGrpSpPr>
      <p:grpSpPr>
        <a:xfrm>
          <a:off x="0" y="0"/>
          <a:ext cx="0" cy="0"/>
          <a:chOff x="0" y="0"/>
          <a:chExt cx="0" cy="0"/>
        </a:xfrm>
      </p:grpSpPr>
      <p:pic>
        <p:nvPicPr>
          <p:cNvPr id="11" name="Imagen 10"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2"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16" name="Marcador de posición de imagen 2"/>
          <p:cNvSpPr>
            <a:spLocks noGrp="1"/>
          </p:cNvSpPr>
          <p:nvPr>
            <p:ph type="pic" sz="quarter" idx="23" hasCustomPrompt="1"/>
          </p:nvPr>
        </p:nvSpPr>
        <p:spPr>
          <a:xfrm>
            <a:off x="336510" y="1448780"/>
            <a:ext cx="8783436" cy="478853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cxnSp>
        <p:nvCxnSpPr>
          <p:cNvPr id="14" name="Conector recto 13"/>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 name="Marcador de texto 6"/>
          <p:cNvSpPr>
            <a:spLocks noGrp="1"/>
          </p:cNvSpPr>
          <p:nvPr>
            <p:ph type="body" sz="quarter" idx="30" hasCustomPrompt="1"/>
          </p:nvPr>
        </p:nvSpPr>
        <p:spPr>
          <a:xfrm>
            <a:off x="9623932" y="5877272"/>
            <a:ext cx="2231957" cy="360424"/>
          </a:xfrm>
          <a:prstGeom prst="rect">
            <a:avLst/>
          </a:prstGeom>
        </p:spPr>
        <p:txBody>
          <a:bodyPr vert="horz" lIns="34267" tIns="17132" rIns="34267" bIns="17132"/>
          <a:lstStyle>
            <a:lvl1pPr marL="0" indent="0">
              <a:lnSpc>
                <a:spcPct val="110000"/>
              </a:lnSpc>
              <a:buNone/>
              <a:defRPr sz="950" b="0" i="0" spc="0" baseline="0">
                <a:solidFill>
                  <a:schemeClr val="tx1"/>
                </a:solidFill>
                <a:latin typeface="+mn-lt"/>
                <a:cs typeface="Noto Sans Regular"/>
              </a:defRPr>
            </a:lvl1pPr>
          </a:lstStyle>
          <a:p>
            <a:pPr lvl="0"/>
            <a:r>
              <a:rPr lang="en-US" noProof="0" dirty="0"/>
              <a:t>Click here to insert complementary info (footnotes, captions, legends, </a:t>
            </a:r>
            <a:r>
              <a:rPr lang="en-US" noProof="0" dirty="0" err="1"/>
              <a:t>etc</a:t>
            </a:r>
            <a:r>
              <a:rPr lang="en-US" noProof="0" dirty="0"/>
              <a:t>)</a:t>
            </a:r>
          </a:p>
        </p:txBody>
      </p:sp>
      <p:sp>
        <p:nvSpPr>
          <p:cNvPr id="18"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2066566814"/>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1 Image Full">
    <p:spTree>
      <p:nvGrpSpPr>
        <p:cNvPr id="1" name=""/>
        <p:cNvGrpSpPr/>
        <p:nvPr/>
      </p:nvGrpSpPr>
      <p:grpSpPr>
        <a:xfrm>
          <a:off x="0" y="0"/>
          <a:ext cx="0" cy="0"/>
          <a:chOff x="0" y="0"/>
          <a:chExt cx="0" cy="0"/>
        </a:xfrm>
      </p:grpSpPr>
      <p:pic>
        <p:nvPicPr>
          <p:cNvPr id="10" name="Imagen 9"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1"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15" name="Marcador de posición de imagen 2"/>
          <p:cNvSpPr>
            <a:spLocks noGrp="1"/>
          </p:cNvSpPr>
          <p:nvPr>
            <p:ph type="pic" sz="quarter" idx="23" hasCustomPrompt="1"/>
          </p:nvPr>
        </p:nvSpPr>
        <p:spPr>
          <a:xfrm>
            <a:off x="336507" y="1448780"/>
            <a:ext cx="11518988" cy="4788794"/>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cxnSp>
        <p:nvCxnSpPr>
          <p:cNvPr id="9" name="Conector recto 8"/>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2"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1166670732"/>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Text + Table + Footnote">
    <p:spTree>
      <p:nvGrpSpPr>
        <p:cNvPr id="1" name=""/>
        <p:cNvGrpSpPr/>
        <p:nvPr/>
      </p:nvGrpSpPr>
      <p:grpSpPr>
        <a:xfrm>
          <a:off x="0" y="0"/>
          <a:ext cx="0" cy="0"/>
          <a:chOff x="0" y="0"/>
          <a:chExt cx="0" cy="0"/>
        </a:xfrm>
      </p:grpSpPr>
      <p:sp>
        <p:nvSpPr>
          <p:cNvPr id="11" name="Marcador de texto 6"/>
          <p:cNvSpPr>
            <a:spLocks noGrp="1"/>
          </p:cNvSpPr>
          <p:nvPr>
            <p:ph type="body" sz="quarter" idx="10" hasCustomPrompt="1"/>
          </p:nvPr>
        </p:nvSpPr>
        <p:spPr>
          <a:xfrm>
            <a:off x="336110" y="1448780"/>
            <a:ext cx="4211920" cy="478853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400" b="0" i="0" spc="0" baseline="0">
                <a:solidFill>
                  <a:schemeClr val="tx1"/>
                </a:solidFill>
                <a:latin typeface="+mn-lt"/>
                <a:cs typeface="Noto Sans Regular"/>
              </a:defRPr>
            </a:lvl1pPr>
          </a:lstStyle>
          <a:p>
            <a:pPr lvl="0"/>
            <a:r>
              <a:rPr lang="en-US" noProof="0" dirty="0"/>
              <a:t>Body Text (Noto Sans 28)</a:t>
            </a:r>
          </a:p>
        </p:txBody>
      </p:sp>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9"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33"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6" name="Marcador de tabla 3"/>
          <p:cNvSpPr>
            <a:spLocks noGrp="1"/>
          </p:cNvSpPr>
          <p:nvPr>
            <p:ph type="tbl" sz="quarter" idx="26" hasCustomPrompt="1"/>
          </p:nvPr>
        </p:nvSpPr>
        <p:spPr>
          <a:xfrm>
            <a:off x="4908023" y="1448779"/>
            <a:ext cx="4211920" cy="4788533"/>
          </a:xfrm>
          <a:prstGeom prst="rect">
            <a:avLst/>
          </a:prstGeom>
        </p:spPr>
        <p:txBody>
          <a:bodyPr vert="horz" lIns="34267" tIns="17132" rIns="34267" bIns="17132"/>
          <a:lstStyle>
            <a:lvl1pPr marL="171297" indent="-171297">
              <a:buFont typeface="Arial" panose="020B0604020202020204" pitchFamily="34" charset="0"/>
              <a:buChar char="•"/>
              <a:defRPr sz="1250">
                <a:solidFill>
                  <a:schemeClr val="tx1"/>
                </a:solidFill>
                <a:latin typeface="+mn-lt"/>
              </a:defRPr>
            </a:lvl1pPr>
          </a:lstStyle>
          <a:p>
            <a:pPr lvl="0"/>
            <a:r>
              <a:rPr lang="en-US" noProof="0" dirty="0"/>
              <a:t>Click here to insert table</a:t>
            </a:r>
          </a:p>
        </p:txBody>
      </p:sp>
      <p:cxnSp>
        <p:nvCxnSpPr>
          <p:cNvPr id="16" name="Conector recto 15"/>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 name="Marcador de texto 6"/>
          <p:cNvSpPr>
            <a:spLocks noGrp="1"/>
          </p:cNvSpPr>
          <p:nvPr>
            <p:ph type="body" sz="quarter" idx="30" hasCustomPrompt="1"/>
          </p:nvPr>
        </p:nvSpPr>
        <p:spPr>
          <a:xfrm>
            <a:off x="9623932" y="5877272"/>
            <a:ext cx="2231957" cy="360424"/>
          </a:xfrm>
          <a:prstGeom prst="rect">
            <a:avLst/>
          </a:prstGeom>
        </p:spPr>
        <p:txBody>
          <a:bodyPr vert="horz" lIns="34267" tIns="17132" rIns="34267" bIns="17132"/>
          <a:lstStyle>
            <a:lvl1pPr marL="0" indent="0">
              <a:lnSpc>
                <a:spcPct val="110000"/>
              </a:lnSpc>
              <a:buNone/>
              <a:defRPr sz="950" b="0" i="0" spc="0" baseline="0">
                <a:solidFill>
                  <a:schemeClr val="tx1"/>
                </a:solidFill>
                <a:latin typeface="+mn-lt"/>
                <a:cs typeface="Noto Sans Regular"/>
              </a:defRPr>
            </a:lvl1pPr>
          </a:lstStyle>
          <a:p>
            <a:pPr lvl="0"/>
            <a:r>
              <a:rPr lang="en-US" noProof="0" dirty="0"/>
              <a:t>Click here to insert complementary info (footnotes, captions, legends, </a:t>
            </a:r>
            <a:r>
              <a:rPr lang="en-US" noProof="0" dirty="0" err="1"/>
              <a:t>etc</a:t>
            </a:r>
            <a:r>
              <a:rPr lang="en-US" noProof="0" dirty="0"/>
              <a:t>)</a:t>
            </a:r>
          </a:p>
        </p:txBody>
      </p:sp>
      <p:sp>
        <p:nvSpPr>
          <p:cNvPr id="17"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2223718747"/>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ext + 1 Table Full">
    <p:spTree>
      <p:nvGrpSpPr>
        <p:cNvPr id="1" name=""/>
        <p:cNvGrpSpPr/>
        <p:nvPr/>
      </p:nvGrpSpPr>
      <p:grpSpPr>
        <a:xfrm>
          <a:off x="0" y="0"/>
          <a:ext cx="0" cy="0"/>
          <a:chOff x="0" y="0"/>
          <a:chExt cx="0" cy="0"/>
        </a:xfrm>
      </p:grpSpPr>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9"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33"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6" name="Marcador de tabla 3"/>
          <p:cNvSpPr>
            <a:spLocks noGrp="1"/>
          </p:cNvSpPr>
          <p:nvPr>
            <p:ph type="tbl" sz="quarter" idx="26" hasCustomPrompt="1"/>
          </p:nvPr>
        </p:nvSpPr>
        <p:spPr>
          <a:xfrm>
            <a:off x="6275996" y="1448780"/>
            <a:ext cx="5579893" cy="4788532"/>
          </a:xfrm>
          <a:prstGeom prst="rect">
            <a:avLst/>
          </a:prstGeom>
        </p:spPr>
        <p:txBody>
          <a:bodyPr vert="horz" lIns="34267" tIns="17132" rIns="34267" bIns="17132"/>
          <a:lstStyle>
            <a:lvl1pPr marL="171297" indent="-171297">
              <a:buFont typeface="Arial" panose="020B0604020202020204" pitchFamily="34" charset="0"/>
              <a:buChar char="•"/>
              <a:defRPr sz="1250">
                <a:solidFill>
                  <a:schemeClr val="tx1"/>
                </a:solidFill>
                <a:latin typeface="+mn-lt"/>
              </a:defRPr>
            </a:lvl1pPr>
          </a:lstStyle>
          <a:p>
            <a:pPr lvl="0"/>
            <a:r>
              <a:rPr lang="en-US" noProof="0" dirty="0"/>
              <a:t>Click here to insert table</a:t>
            </a:r>
          </a:p>
        </p:txBody>
      </p:sp>
      <p:sp>
        <p:nvSpPr>
          <p:cNvPr id="14" name="Marcador de texto 6"/>
          <p:cNvSpPr>
            <a:spLocks noGrp="1"/>
          </p:cNvSpPr>
          <p:nvPr>
            <p:ph type="body" sz="quarter" idx="10" hasCustomPrompt="1"/>
          </p:nvPr>
        </p:nvSpPr>
        <p:spPr>
          <a:xfrm>
            <a:off x="336113" y="1448780"/>
            <a:ext cx="5543895" cy="478853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400" b="0" i="0" spc="0" baseline="0">
                <a:solidFill>
                  <a:schemeClr val="tx1"/>
                </a:solidFill>
                <a:latin typeface="+mn-lt"/>
                <a:cs typeface="Noto Sans Regular"/>
              </a:defRPr>
            </a:lvl1pPr>
            <a:lvl2pPr marL="475828" indent="0">
              <a:buNone/>
              <a:defRPr/>
            </a:lvl2pPr>
          </a:lstStyle>
          <a:p>
            <a:pPr lvl="0"/>
            <a:r>
              <a:rPr lang="en-US" noProof="0" dirty="0"/>
              <a:t>Body Text (Noto Sans 28)</a:t>
            </a:r>
          </a:p>
        </p:txBody>
      </p:sp>
      <p:cxnSp>
        <p:nvCxnSpPr>
          <p:cNvPr id="15" name="Conector recto 14"/>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179898691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p:cSld name="Tab Slide">
    <p:spTree>
      <p:nvGrpSpPr>
        <p:cNvPr id="1" name=""/>
        <p:cNvGrpSpPr/>
        <p:nvPr/>
      </p:nvGrpSpPr>
      <p:grpSpPr>
        <a:xfrm>
          <a:off x="0" y="0"/>
          <a:ext cx="0" cy="0"/>
          <a:chOff x="0" y="0"/>
          <a:chExt cx="0" cy="0"/>
        </a:xfrm>
      </p:grpSpPr>
      <p:pic>
        <p:nvPicPr>
          <p:cNvPr id="7"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40000" contrast="-30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Tree>
    <p:extLst>
      <p:ext uri="{BB962C8B-B14F-4D97-AF65-F5344CB8AC3E}">
        <p14:creationId xmlns:p14="http://schemas.microsoft.com/office/powerpoint/2010/main" val="101781289"/>
      </p:ext>
    </p:extLst>
  </p:cSld>
  <p:clrMapOvr>
    <a:masterClrMapping/>
  </p:clrMapOvr>
  <p:hf hdr="0" ftr="0" dt="0"/>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Full Table Slide">
    <p:spTree>
      <p:nvGrpSpPr>
        <p:cNvPr id="1" name=""/>
        <p:cNvGrpSpPr/>
        <p:nvPr/>
      </p:nvGrpSpPr>
      <p:grpSpPr>
        <a:xfrm>
          <a:off x="0" y="0"/>
          <a:ext cx="0" cy="0"/>
          <a:chOff x="0" y="0"/>
          <a:chExt cx="0" cy="0"/>
        </a:xfrm>
      </p:grpSpPr>
      <p:sp>
        <p:nvSpPr>
          <p:cNvPr id="14" name="Marcador de tabla 3"/>
          <p:cNvSpPr>
            <a:spLocks noGrp="1"/>
          </p:cNvSpPr>
          <p:nvPr>
            <p:ph type="tbl" sz="quarter" idx="26" hasCustomPrompt="1"/>
          </p:nvPr>
        </p:nvSpPr>
        <p:spPr>
          <a:xfrm>
            <a:off x="336109" y="1448780"/>
            <a:ext cx="11530496" cy="4788215"/>
          </a:xfrm>
          <a:prstGeom prst="rect">
            <a:avLst/>
          </a:prstGeom>
        </p:spPr>
        <p:txBody>
          <a:bodyPr vert="horz" lIns="34267" tIns="17132" rIns="34267" bIns="17132"/>
          <a:lstStyle>
            <a:lvl1pPr marL="171297" indent="-171297">
              <a:buFont typeface="Arial" panose="020B0604020202020204" pitchFamily="34" charset="0"/>
              <a:buChar char="•"/>
              <a:defRPr sz="1250">
                <a:solidFill>
                  <a:schemeClr val="accent2"/>
                </a:solidFill>
                <a:latin typeface="+mn-lt"/>
              </a:defRPr>
            </a:lvl1pPr>
          </a:lstStyle>
          <a:p>
            <a:pPr lvl="0"/>
            <a:r>
              <a:rPr lang="en-US" noProof="0" dirty="0"/>
              <a:t>Click here to insert table</a:t>
            </a:r>
          </a:p>
        </p:txBody>
      </p:sp>
      <p:pic>
        <p:nvPicPr>
          <p:cNvPr id="13" name="Imagen 12"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5"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33" spc="-74" dirty="0">
                <a:solidFill>
                  <a:schemeClr val="tx2"/>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17" name="Conector recto 16"/>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6"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3561861749"/>
      </p:ext>
    </p:extLst>
  </p:cSld>
  <p:clrMapOvr>
    <a:masterClrMapping/>
  </p:clrMapOvr>
  <p:extLst>
    <p:ext uri="{DCECCB84-F9BA-43D5-87BE-67443E8EF086}">
      <p15:sldGuideLst xmlns:p15="http://schemas.microsoft.com/office/powerpoint/2012/main">
        <p15:guide id="1" orient="horz" pos="4320">
          <p15:clr>
            <a:srgbClr val="FBAE40"/>
          </p15:clr>
        </p15:guide>
        <p15:guide id="2" pos="7681">
          <p15:clr>
            <a:srgbClr val="FBAE40"/>
          </p15:clr>
        </p15:guide>
        <p15:guide id="3" pos="420">
          <p15:clr>
            <a:srgbClr val="FBAE40"/>
          </p15:clr>
        </p15:guide>
        <p15:guide id="4" pos="14952">
          <p15:clr>
            <a:srgbClr val="FBAE40"/>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2 Images + Footnote">
    <p:spTree>
      <p:nvGrpSpPr>
        <p:cNvPr id="1" name=""/>
        <p:cNvGrpSpPr/>
        <p:nvPr/>
      </p:nvGrpSpPr>
      <p:grpSpPr>
        <a:xfrm>
          <a:off x="0" y="0"/>
          <a:ext cx="0" cy="0"/>
          <a:chOff x="0" y="0"/>
          <a:chExt cx="0" cy="0"/>
        </a:xfrm>
      </p:grpSpPr>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9"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33"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4" name="Marcador de posición de imagen 2"/>
          <p:cNvSpPr>
            <a:spLocks noGrp="1"/>
          </p:cNvSpPr>
          <p:nvPr>
            <p:ph type="pic" sz="quarter" idx="28" hasCustomPrompt="1"/>
          </p:nvPr>
        </p:nvSpPr>
        <p:spPr>
          <a:xfrm>
            <a:off x="336111" y="1448780"/>
            <a:ext cx="4211919" cy="4788533"/>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an image</a:t>
            </a:r>
          </a:p>
          <a:p>
            <a:endParaRPr lang="en-US" noProof="0" dirty="0"/>
          </a:p>
        </p:txBody>
      </p:sp>
      <p:sp>
        <p:nvSpPr>
          <p:cNvPr id="25" name="Marcador de posición de imagen 2"/>
          <p:cNvSpPr>
            <a:spLocks noGrp="1"/>
          </p:cNvSpPr>
          <p:nvPr>
            <p:ph type="pic" sz="quarter" idx="29" hasCustomPrompt="1"/>
          </p:nvPr>
        </p:nvSpPr>
        <p:spPr>
          <a:xfrm>
            <a:off x="4908019" y="1448780"/>
            <a:ext cx="4211712" cy="4788533"/>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an image</a:t>
            </a:r>
          </a:p>
          <a:p>
            <a:endParaRPr lang="en-US" noProof="0" dirty="0"/>
          </a:p>
        </p:txBody>
      </p:sp>
      <p:cxnSp>
        <p:nvCxnSpPr>
          <p:cNvPr id="13" name="Conector recto 12"/>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0" name="Marcador de texto 6"/>
          <p:cNvSpPr>
            <a:spLocks noGrp="1"/>
          </p:cNvSpPr>
          <p:nvPr>
            <p:ph type="body" sz="quarter" idx="30" hasCustomPrompt="1"/>
          </p:nvPr>
        </p:nvSpPr>
        <p:spPr>
          <a:xfrm>
            <a:off x="9623932" y="5697252"/>
            <a:ext cx="2231957" cy="540444"/>
          </a:xfrm>
          <a:prstGeom prst="rect">
            <a:avLst/>
          </a:prstGeom>
        </p:spPr>
        <p:txBody>
          <a:bodyPr vert="horz" lIns="34267" tIns="17132" rIns="34267" bIns="17132"/>
          <a:lstStyle>
            <a:lvl1pPr marL="0" indent="0">
              <a:lnSpc>
                <a:spcPct val="110000"/>
              </a:lnSpc>
              <a:buNone/>
              <a:defRPr sz="950" b="0" i="0" spc="0" baseline="0">
                <a:solidFill>
                  <a:schemeClr val="tx1"/>
                </a:solidFill>
                <a:latin typeface="+mn-lt"/>
                <a:cs typeface="Noto Sans Regular"/>
              </a:defRPr>
            </a:lvl1pPr>
          </a:lstStyle>
          <a:p>
            <a:pPr lvl="0"/>
            <a:r>
              <a:rPr lang="en-US" noProof="0" dirty="0"/>
              <a:t>Click here to insert complementary info (footnotes, captions, legends, etc.)</a:t>
            </a:r>
          </a:p>
        </p:txBody>
      </p:sp>
      <p:sp>
        <p:nvSpPr>
          <p:cNvPr id="15"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1581438260"/>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2 Images">
    <p:spTree>
      <p:nvGrpSpPr>
        <p:cNvPr id="1" name=""/>
        <p:cNvGrpSpPr/>
        <p:nvPr/>
      </p:nvGrpSpPr>
      <p:grpSpPr>
        <a:xfrm>
          <a:off x="0" y="0"/>
          <a:ext cx="0" cy="0"/>
          <a:chOff x="0" y="0"/>
          <a:chExt cx="0" cy="0"/>
        </a:xfrm>
      </p:grpSpPr>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9"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4" name="Marcador de posición de imagen 2"/>
          <p:cNvSpPr>
            <a:spLocks noGrp="1"/>
          </p:cNvSpPr>
          <p:nvPr>
            <p:ph type="pic" sz="quarter" idx="28" hasCustomPrompt="1"/>
          </p:nvPr>
        </p:nvSpPr>
        <p:spPr>
          <a:xfrm>
            <a:off x="336109" y="1448780"/>
            <a:ext cx="5579893" cy="478853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sp>
        <p:nvSpPr>
          <p:cNvPr id="25" name="Marcador de posición de imagen 2"/>
          <p:cNvSpPr>
            <a:spLocks noGrp="1"/>
          </p:cNvSpPr>
          <p:nvPr>
            <p:ph type="pic" sz="quarter" idx="29" hasCustomPrompt="1"/>
          </p:nvPr>
        </p:nvSpPr>
        <p:spPr>
          <a:xfrm>
            <a:off x="6275996" y="1448780"/>
            <a:ext cx="5579893" cy="478853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a:solidFill>
                  <a:schemeClr val="tx1"/>
                </a:solidFill>
                <a:latin typeface="+mn-lt"/>
              </a:defRPr>
            </a:lvl1pPr>
          </a:lstStyle>
          <a:p>
            <a:r>
              <a:rPr lang="en-US" noProof="0" dirty="0"/>
              <a:t>Click here to insert the image</a:t>
            </a:r>
          </a:p>
          <a:p>
            <a:endParaRPr lang="en-US" noProof="0" dirty="0"/>
          </a:p>
        </p:txBody>
      </p:sp>
      <p:cxnSp>
        <p:nvCxnSpPr>
          <p:cNvPr id="13" name="Conector recto 12"/>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2"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2727009898"/>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3"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4"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j-lt"/>
                <a:cs typeface="Karla"/>
              </a:rPr>
              <a:t>  </a:t>
            </a:r>
            <a:fld id="{E77AE0A1-274E-2944-95AF-27E87E012DC6}" type="slidenum">
              <a:rPr lang="en-US" sz="950" spc="-74" smtClean="0">
                <a:solidFill>
                  <a:schemeClr val="tx2"/>
                </a:solidFill>
                <a:latin typeface="+mj-lt"/>
                <a:cs typeface="Karla"/>
              </a:rPr>
              <a:pPr algn="r" eaLnBrk="1" hangingPunct="1">
                <a:lnSpc>
                  <a:spcPct val="120000"/>
                </a:lnSpc>
                <a:defRPr/>
              </a:pPr>
              <a:t>‹#›</a:t>
            </a:fld>
            <a:endParaRPr lang="en-US" sz="950" spc="-74" dirty="0">
              <a:solidFill>
                <a:schemeClr val="tx2"/>
              </a:solidFill>
              <a:latin typeface="+mj-lt"/>
              <a:cs typeface="Karla"/>
            </a:endParaRPr>
          </a:p>
        </p:txBody>
      </p:sp>
      <p:cxnSp>
        <p:nvCxnSpPr>
          <p:cNvPr id="7" name="Conector recto 12"/>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8" name="Marcador de texto 6"/>
          <p:cNvSpPr>
            <a:spLocks noGrp="1"/>
          </p:cNvSpPr>
          <p:nvPr>
            <p:ph type="body" sz="quarter" idx="34" hasCustomPrompt="1"/>
          </p:nvPr>
        </p:nvSpPr>
        <p:spPr>
          <a:xfrm>
            <a:off x="336109" y="476672"/>
            <a:ext cx="8783832"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3165055783"/>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uote Slide">
    <p:spTree>
      <p:nvGrpSpPr>
        <p:cNvPr id="1" name=""/>
        <p:cNvGrpSpPr/>
        <p:nvPr/>
      </p:nvGrpSpPr>
      <p:grpSpPr>
        <a:xfrm>
          <a:off x="0" y="0"/>
          <a:ext cx="0" cy="0"/>
          <a:chOff x="0" y="0"/>
          <a:chExt cx="0" cy="0"/>
        </a:xfrm>
      </p:grpSpPr>
      <p:sp>
        <p:nvSpPr>
          <p:cNvPr id="13" name="Marcador de texto 6"/>
          <p:cNvSpPr>
            <a:spLocks noGrp="1"/>
          </p:cNvSpPr>
          <p:nvPr>
            <p:ph type="body" sz="quarter" idx="22" hasCustomPrompt="1"/>
          </p:nvPr>
        </p:nvSpPr>
        <p:spPr>
          <a:xfrm>
            <a:off x="336109" y="296652"/>
            <a:ext cx="8783832" cy="1512552"/>
          </a:xfrm>
          <a:prstGeom prst="rect">
            <a:avLst/>
          </a:prstGeom>
        </p:spPr>
        <p:txBody>
          <a:bodyPr vert="horz" lIns="34267" tIns="17132" rIns="34267" bIns="17132"/>
          <a:lstStyle>
            <a:lvl1pPr marL="0" indent="0">
              <a:buNone/>
              <a:defRPr sz="4499" b="1" i="0" spc="-149" baseline="0">
                <a:solidFill>
                  <a:schemeClr val="tx2"/>
                </a:solidFill>
                <a:latin typeface="+mj-lt"/>
                <a:cs typeface="Karla"/>
              </a:defRPr>
            </a:lvl1pPr>
          </a:lstStyle>
          <a:p>
            <a:pPr lvl="0"/>
            <a:r>
              <a:rPr lang="en-US" noProof="0" dirty="0"/>
              <a:t>Quote (Karla 90)</a:t>
            </a:r>
          </a:p>
        </p:txBody>
      </p:sp>
      <p:sp>
        <p:nvSpPr>
          <p:cNvPr id="14" name="Marcador de texto 6"/>
          <p:cNvSpPr>
            <a:spLocks noGrp="1"/>
          </p:cNvSpPr>
          <p:nvPr>
            <p:ph type="body" sz="quarter" idx="10" hasCustomPrompt="1"/>
          </p:nvPr>
        </p:nvSpPr>
        <p:spPr>
          <a:xfrm>
            <a:off x="336113" y="2025229"/>
            <a:ext cx="4139921" cy="324036"/>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400" b="0" i="0" spc="0" baseline="0">
                <a:solidFill>
                  <a:schemeClr val="tx1"/>
                </a:solidFill>
                <a:latin typeface="+mj-lt"/>
                <a:cs typeface="Noto Sans Regular"/>
              </a:defRPr>
            </a:lvl1pPr>
          </a:lstStyle>
          <a:p>
            <a:pPr lvl="0"/>
            <a:r>
              <a:rPr lang="en-US" noProof="0" dirty="0"/>
              <a:t>Click here to insert author or caption (Karla 28)</a:t>
            </a:r>
          </a:p>
        </p:txBody>
      </p:sp>
      <p:pic>
        <p:nvPicPr>
          <p:cNvPr id="10" name="Imagen 9"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1"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7A7167"/>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7" name="Conector recto 6"/>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617745792"/>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Back Cover">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6034E32C-7533-6D41-B26B-E6788F4B982B}"/>
              </a:ext>
            </a:extLst>
          </p:cNvPr>
          <p:cNvPicPr>
            <a:picLocks noChangeAspect="1"/>
          </p:cNvPicPr>
          <p:nvPr userDrawn="1"/>
        </p:nvPicPr>
        <p:blipFill>
          <a:blip r:embed="rId2"/>
          <a:stretch>
            <a:fillRect/>
          </a:stretch>
        </p:blipFill>
        <p:spPr>
          <a:xfrm>
            <a:off x="-2034" y="2"/>
            <a:ext cx="10699263" cy="6866731"/>
          </a:xfrm>
          <a:prstGeom prst="rect">
            <a:avLst/>
          </a:prstGeom>
        </p:spPr>
      </p:pic>
      <p:sp>
        <p:nvSpPr>
          <p:cNvPr id="12" name="Marcador de texto 6"/>
          <p:cNvSpPr>
            <a:spLocks noGrp="1"/>
          </p:cNvSpPr>
          <p:nvPr>
            <p:ph type="body" sz="quarter" idx="22" hasCustomPrompt="1"/>
          </p:nvPr>
        </p:nvSpPr>
        <p:spPr>
          <a:xfrm>
            <a:off x="6203998" y="980344"/>
            <a:ext cx="2951944" cy="432432"/>
          </a:xfrm>
          <a:prstGeom prst="rect">
            <a:avLst/>
          </a:prstGeom>
        </p:spPr>
        <p:txBody>
          <a:bodyPr vert="horz" lIns="34267" tIns="17132" rIns="34267" bIns="17132"/>
          <a:lstStyle>
            <a:lvl1pPr marL="0" indent="0">
              <a:buNone/>
              <a:defRPr sz="3599" b="1" i="0" spc="-74" baseline="0">
                <a:solidFill>
                  <a:schemeClr val="tx2"/>
                </a:solidFill>
                <a:latin typeface="+mj-lt"/>
                <a:cs typeface="Karla"/>
              </a:defRPr>
            </a:lvl1pPr>
          </a:lstStyle>
          <a:p>
            <a:pPr lvl="0"/>
            <a:r>
              <a:rPr lang="es-ES_tradnl" dirty="0" err="1"/>
              <a:t>Closing</a:t>
            </a:r>
            <a:r>
              <a:rPr lang="es-ES_tradnl" dirty="0"/>
              <a:t> </a:t>
            </a:r>
            <a:r>
              <a:rPr lang="es-ES_tradnl" dirty="0" err="1"/>
              <a:t>Slide</a:t>
            </a:r>
            <a:endParaRPr lang="es-ES_tradnl" dirty="0"/>
          </a:p>
        </p:txBody>
      </p:sp>
      <p:sp>
        <p:nvSpPr>
          <p:cNvPr id="13" name="Marcador de texto 6"/>
          <p:cNvSpPr>
            <a:spLocks noGrp="1"/>
          </p:cNvSpPr>
          <p:nvPr>
            <p:ph type="body" sz="quarter" idx="23" hasCustomPrompt="1"/>
          </p:nvPr>
        </p:nvSpPr>
        <p:spPr>
          <a:xfrm>
            <a:off x="6203998" y="1615603"/>
            <a:ext cx="2951944" cy="1404156"/>
          </a:xfrm>
          <a:prstGeom prst="rect">
            <a:avLst/>
          </a:prstGeom>
        </p:spPr>
        <p:txBody>
          <a:bodyPr vert="horz" lIns="34267" tIns="17132" rIns="34267" bIns="17132"/>
          <a:lstStyle>
            <a:lvl1pPr marL="0" indent="0">
              <a:buNone/>
              <a:defRPr sz="1400" b="0" i="0" spc="0" baseline="0">
                <a:solidFill>
                  <a:schemeClr val="tx1"/>
                </a:solidFill>
                <a:latin typeface="+mj-lt"/>
                <a:cs typeface="Noto Sans Regular"/>
              </a:defRPr>
            </a:lvl1pPr>
          </a:lstStyle>
          <a:p>
            <a:pPr lvl="0"/>
            <a:r>
              <a:rPr lang="en-US" noProof="0" dirty="0"/>
              <a:t>Click here to insert contact information</a:t>
            </a:r>
          </a:p>
        </p:txBody>
      </p:sp>
      <p:pic>
        <p:nvPicPr>
          <p:cNvPr id="9" name="Imagen 8" descr="Agility_logos_ppt-01.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cxnSp>
        <p:nvCxnSpPr>
          <p:cNvPr id="10" name="Conector recto 9"/>
          <p:cNvCxnSpPr/>
          <p:nvPr userDrawn="1"/>
        </p:nvCxnSpPr>
        <p:spPr>
          <a:xfrm flipV="1">
            <a:off x="6217490" y="620712"/>
            <a:ext cx="2952366"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488766293"/>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Internal - Back Cover">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7D43B2CF-D92D-AF44-837C-B5B449BB1AC8}"/>
              </a:ext>
            </a:extLst>
          </p:cNvPr>
          <p:cNvPicPr>
            <a:picLocks noChangeAspect="1"/>
          </p:cNvPicPr>
          <p:nvPr userDrawn="1"/>
        </p:nvPicPr>
        <p:blipFill rotWithShape="1">
          <a:blip r:embed="rId2"/>
          <a:srcRect l="11831" t="17206" b="2388"/>
          <a:stretch/>
        </p:blipFill>
        <p:spPr>
          <a:xfrm>
            <a:off x="0" y="0"/>
            <a:ext cx="7958725" cy="6858000"/>
          </a:xfrm>
          <a:prstGeom prst="rect">
            <a:avLst/>
          </a:prstGeom>
        </p:spPr>
      </p:pic>
      <p:sp>
        <p:nvSpPr>
          <p:cNvPr id="6" name="Marcador de texto 6">
            <a:extLst>
              <a:ext uri="{FF2B5EF4-FFF2-40B4-BE49-F238E27FC236}">
                <a16:creationId xmlns:a16="http://schemas.microsoft.com/office/drawing/2014/main" id="{27C538F3-464C-A248-8CDD-0FB5A93F832F}"/>
              </a:ext>
            </a:extLst>
          </p:cNvPr>
          <p:cNvSpPr>
            <a:spLocks noGrp="1"/>
          </p:cNvSpPr>
          <p:nvPr>
            <p:ph type="body" sz="quarter" idx="22" hasCustomPrompt="1"/>
          </p:nvPr>
        </p:nvSpPr>
        <p:spPr>
          <a:xfrm>
            <a:off x="6203998" y="980344"/>
            <a:ext cx="2951944" cy="684460"/>
          </a:xfrm>
          <a:prstGeom prst="rect">
            <a:avLst/>
          </a:prstGeom>
        </p:spPr>
        <p:txBody>
          <a:bodyPr vert="horz" lIns="34267" tIns="17132" rIns="34267" bIns="17132"/>
          <a:lstStyle>
            <a:lvl1pPr marL="0" indent="0">
              <a:buNone/>
              <a:defRPr sz="3999" b="1" i="0" spc="-74" baseline="0">
                <a:solidFill>
                  <a:schemeClr val="tx2"/>
                </a:solidFill>
                <a:latin typeface="Karla"/>
                <a:cs typeface="Karla"/>
              </a:defRPr>
            </a:lvl1pPr>
          </a:lstStyle>
          <a:p>
            <a:pPr lvl="0"/>
            <a:r>
              <a:rPr lang="en-US" noProof="0" dirty="0"/>
              <a:t>Thank you</a:t>
            </a:r>
          </a:p>
        </p:txBody>
      </p:sp>
      <p:sp>
        <p:nvSpPr>
          <p:cNvPr id="7" name="Marcador de texto 6">
            <a:extLst>
              <a:ext uri="{FF2B5EF4-FFF2-40B4-BE49-F238E27FC236}">
                <a16:creationId xmlns:a16="http://schemas.microsoft.com/office/drawing/2014/main" id="{85DA5F3B-ED46-FC43-80F1-EB8BCC7B1CE6}"/>
              </a:ext>
            </a:extLst>
          </p:cNvPr>
          <p:cNvSpPr>
            <a:spLocks noGrp="1"/>
          </p:cNvSpPr>
          <p:nvPr>
            <p:ph type="body" sz="quarter" idx="25" hasCustomPrompt="1"/>
          </p:nvPr>
        </p:nvSpPr>
        <p:spPr>
          <a:xfrm>
            <a:off x="6203998" y="1786956"/>
            <a:ext cx="2951944" cy="1404156"/>
          </a:xfrm>
          <a:prstGeom prst="rect">
            <a:avLst/>
          </a:prstGeom>
        </p:spPr>
        <p:txBody>
          <a:bodyPr vert="horz" lIns="34267" tIns="17132" rIns="34267" bIns="17132"/>
          <a:lstStyle>
            <a:lvl1pPr marL="0" indent="0">
              <a:buNone/>
              <a:defRPr sz="1400" b="0" i="0" spc="0" baseline="0">
                <a:solidFill>
                  <a:schemeClr val="tx1"/>
                </a:solidFill>
                <a:latin typeface="+mj-lt"/>
                <a:ea typeface="Noto Sans" panose="020B0502040504020204" pitchFamily="34" charset="0"/>
                <a:cs typeface="Noto Sans" panose="020B0502040504020204" pitchFamily="34" charset="0"/>
              </a:defRPr>
            </a:lvl1pPr>
          </a:lstStyle>
          <a:p>
            <a:pPr lvl="0"/>
            <a:r>
              <a:rPr lang="en-US" noProof="0" dirty="0"/>
              <a:t>Click here to insert contact information</a:t>
            </a:r>
          </a:p>
        </p:txBody>
      </p:sp>
      <p:cxnSp>
        <p:nvCxnSpPr>
          <p:cNvPr id="12" name="Conector recto 11">
            <a:extLst>
              <a:ext uri="{FF2B5EF4-FFF2-40B4-BE49-F238E27FC236}">
                <a16:creationId xmlns:a16="http://schemas.microsoft.com/office/drawing/2014/main" id="{6227A4D8-DC6B-834F-9D41-B854002DE7E0}"/>
              </a:ext>
            </a:extLst>
          </p:cNvPr>
          <p:cNvCxnSpPr/>
          <p:nvPr userDrawn="1"/>
        </p:nvCxnSpPr>
        <p:spPr>
          <a:xfrm flipV="1">
            <a:off x="6217490" y="620712"/>
            <a:ext cx="2952366"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1" name="CuadroTexto 10">
            <a:extLst>
              <a:ext uri="{FF2B5EF4-FFF2-40B4-BE49-F238E27FC236}">
                <a16:creationId xmlns:a16="http://schemas.microsoft.com/office/drawing/2014/main" id="{7534B54F-E473-9C4C-B74E-0C879E46F685}"/>
              </a:ext>
            </a:extLst>
          </p:cNvPr>
          <p:cNvSpPr txBox="1"/>
          <p:nvPr userDrawn="1"/>
        </p:nvSpPr>
        <p:spPr>
          <a:xfrm>
            <a:off x="4022836" y="8467344"/>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Etelka Text Pro"/>
              <a:cs typeface="Etelka Text Pro"/>
            </a:endParaRPr>
          </a:p>
        </p:txBody>
      </p:sp>
      <p:sp>
        <p:nvSpPr>
          <p:cNvPr id="14" name="CuadroTexto 13">
            <a:extLst>
              <a:ext uri="{FF2B5EF4-FFF2-40B4-BE49-F238E27FC236}">
                <a16:creationId xmlns:a16="http://schemas.microsoft.com/office/drawing/2014/main" id="{D374A664-FDB5-4D41-B74A-D1E27250F1FA}"/>
              </a:ext>
            </a:extLst>
          </p:cNvPr>
          <p:cNvSpPr txBox="1"/>
          <p:nvPr userDrawn="1"/>
        </p:nvSpPr>
        <p:spPr>
          <a:xfrm>
            <a:off x="10751944" y="-1975104"/>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Etelka Text Pro"/>
              <a:cs typeface="Etelka Text Pro"/>
            </a:endParaRPr>
          </a:p>
        </p:txBody>
      </p:sp>
      <p:pic>
        <p:nvPicPr>
          <p:cNvPr id="10" name="Imagen 9" descr="Agility_logos_ppt-01.png">
            <a:extLst>
              <a:ext uri="{FF2B5EF4-FFF2-40B4-BE49-F238E27FC236}">
                <a16:creationId xmlns:a16="http://schemas.microsoft.com/office/drawing/2014/main" id="{D79C35D3-6F9B-974B-A874-EC96E7339D6A}"/>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Tree>
    <p:extLst>
      <p:ext uri="{BB962C8B-B14F-4D97-AF65-F5344CB8AC3E}">
        <p14:creationId xmlns:p14="http://schemas.microsoft.com/office/powerpoint/2010/main" val="413366039"/>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matchingName="Text Slide">
  <p:cSld name="1_Text Slide">
    <p:spTree>
      <p:nvGrpSpPr>
        <p:cNvPr id="1" name="Shape 27"/>
        <p:cNvGrpSpPr/>
        <p:nvPr/>
      </p:nvGrpSpPr>
      <p:grpSpPr>
        <a:xfrm>
          <a:off x="0" y="0"/>
          <a:ext cx="0" cy="0"/>
          <a:chOff x="0" y="0"/>
          <a:chExt cx="0" cy="0"/>
        </a:xfrm>
      </p:grpSpPr>
      <p:pic>
        <p:nvPicPr>
          <p:cNvPr id="28" name="Google Shape;28;p80" descr="Agility_logos_ppt-01.png"/>
          <p:cNvPicPr preferRelativeResize="0"/>
          <p:nvPr/>
        </p:nvPicPr>
        <p:blipFill rotWithShape="1">
          <a:blip r:embed="rId2">
            <a:alphaModFix/>
          </a:blip>
          <a:srcRect/>
          <a:stretch/>
        </p:blipFill>
        <p:spPr>
          <a:xfrm>
            <a:off x="9623932" y="188640"/>
            <a:ext cx="2249131" cy="630936"/>
          </a:xfrm>
          <a:prstGeom prst="rect">
            <a:avLst/>
          </a:prstGeom>
          <a:noFill/>
          <a:ln>
            <a:noFill/>
          </a:ln>
        </p:spPr>
      </p:pic>
      <p:sp>
        <p:nvSpPr>
          <p:cNvPr id="29" name="Google Shape;29;p80"/>
          <p:cNvSpPr txBox="1"/>
          <p:nvPr/>
        </p:nvSpPr>
        <p:spPr>
          <a:xfrm>
            <a:off x="11243902" y="6381514"/>
            <a:ext cx="611901" cy="323851"/>
          </a:xfrm>
          <a:prstGeom prst="rect">
            <a:avLst/>
          </a:prstGeom>
          <a:noFill/>
          <a:ln>
            <a:noFill/>
          </a:ln>
        </p:spPr>
        <p:txBody>
          <a:bodyPr spcFirstLastPara="1" wrap="square" lIns="95150" tIns="47569" rIns="0" bIns="47569" anchor="t" anchorCtr="0">
            <a:noAutofit/>
          </a:bodyPr>
          <a:lstStyle/>
          <a:p>
            <a:pPr marL="0" marR="0" lvl="0" indent="0" algn="r" rtl="0">
              <a:lnSpc>
                <a:spcPct val="120000"/>
              </a:lnSpc>
              <a:spcBef>
                <a:spcPts val="0"/>
              </a:spcBef>
              <a:spcAft>
                <a:spcPts val="0"/>
              </a:spcAft>
              <a:buNone/>
            </a:pPr>
            <a:r>
              <a:rPr lang="en-US" sz="950">
                <a:solidFill>
                  <a:schemeClr val="dk2"/>
                </a:solidFill>
                <a:latin typeface="Arial"/>
                <a:ea typeface="Arial"/>
                <a:cs typeface="Arial"/>
                <a:sym typeface="Arial"/>
              </a:rPr>
              <a:t>  </a:t>
            </a:r>
            <a:fld id="{00000000-1234-1234-1234-123412341234}" type="slidenum">
              <a:rPr lang="en-US" sz="950">
                <a:solidFill>
                  <a:schemeClr val="dk2"/>
                </a:solidFill>
                <a:latin typeface="Arial"/>
                <a:ea typeface="Arial"/>
                <a:cs typeface="Arial"/>
                <a:sym typeface="Arial"/>
              </a:rPr>
              <a:pPr marL="0" marR="0" lvl="0" indent="0" algn="r" rtl="0">
                <a:lnSpc>
                  <a:spcPct val="120000"/>
                </a:lnSpc>
                <a:spcBef>
                  <a:spcPts val="0"/>
                </a:spcBef>
                <a:spcAft>
                  <a:spcPts val="0"/>
                </a:spcAft>
                <a:buNone/>
              </a:pPr>
              <a:t>‹#›</a:t>
            </a:fld>
            <a:endParaRPr sz="950">
              <a:solidFill>
                <a:schemeClr val="dk2"/>
              </a:solidFill>
              <a:latin typeface="Arial"/>
              <a:ea typeface="Arial"/>
              <a:cs typeface="Arial"/>
              <a:sym typeface="Arial"/>
            </a:endParaRPr>
          </a:p>
        </p:txBody>
      </p:sp>
      <p:cxnSp>
        <p:nvCxnSpPr>
          <p:cNvPr id="30" name="Google Shape;30;p80"/>
          <p:cNvCxnSpPr/>
          <p:nvPr/>
        </p:nvCxnSpPr>
        <p:spPr>
          <a:xfrm>
            <a:off x="332463" y="6543102"/>
            <a:ext cx="11051787" cy="0"/>
          </a:xfrm>
          <a:prstGeom prst="straightConnector1">
            <a:avLst/>
          </a:prstGeom>
          <a:noFill/>
          <a:ln w="12700" cap="flat" cmpd="sng">
            <a:solidFill>
              <a:schemeClr val="dk2"/>
            </a:solidFill>
            <a:prstDash val="solid"/>
            <a:round/>
            <a:headEnd type="none" w="sm" len="sm"/>
            <a:tailEnd type="none" w="sm" len="sm"/>
          </a:ln>
        </p:spPr>
      </p:cxnSp>
      <p:sp>
        <p:nvSpPr>
          <p:cNvPr id="31" name="Google Shape;31;p80"/>
          <p:cNvSpPr txBox="1">
            <a:spLocks noGrp="1"/>
          </p:cNvSpPr>
          <p:nvPr>
            <p:ph type="body" idx="1"/>
          </p:nvPr>
        </p:nvSpPr>
        <p:spPr>
          <a:xfrm>
            <a:off x="336109" y="476672"/>
            <a:ext cx="8783832" cy="342904"/>
          </a:xfrm>
          <a:prstGeom prst="rect">
            <a:avLst/>
          </a:prstGeom>
          <a:noFill/>
          <a:ln>
            <a:noFill/>
          </a:ln>
        </p:spPr>
        <p:txBody>
          <a:bodyPr spcFirstLastPara="1" wrap="square" lIns="34250" tIns="17125" rIns="34250" bIns="17125" anchor="t" anchorCtr="0">
            <a:noAutofit/>
          </a:bodyPr>
          <a:lstStyle>
            <a:lvl1pPr marL="228554" marR="0" lvl="0" indent="-114277" algn="l" rtl="0">
              <a:lnSpc>
                <a:spcPct val="85000"/>
              </a:lnSpc>
              <a:spcBef>
                <a:spcPts val="500"/>
              </a:spcBef>
              <a:spcAft>
                <a:spcPts val="0"/>
              </a:spcAft>
              <a:buClr>
                <a:schemeClr val="dk2"/>
              </a:buClr>
              <a:buSzPts val="5000"/>
              <a:buFont typeface="Karla"/>
              <a:buNone/>
              <a:defRPr sz="2500" b="1" i="0" u="none" strike="noStrike" cap="none">
                <a:solidFill>
                  <a:schemeClr val="dk2"/>
                </a:solidFill>
                <a:latin typeface="Karla"/>
                <a:ea typeface="Karla"/>
                <a:cs typeface="Karla"/>
                <a:sym typeface="Karla"/>
              </a:defRPr>
            </a:lvl1pPr>
            <a:lvl2pPr marL="457109" marR="0" lvl="1" indent="-190462" algn="l" rtl="0">
              <a:spcBef>
                <a:spcPts val="240"/>
              </a:spcBef>
              <a:spcAft>
                <a:spcPts val="0"/>
              </a:spcAft>
              <a:buClr>
                <a:srgbClr val="888888"/>
              </a:buClr>
              <a:buSzPts val="2400"/>
              <a:buFont typeface="Arial"/>
              <a:buChar char="–"/>
              <a:defRPr sz="1200" b="0" i="0" u="none" strike="noStrike" cap="none">
                <a:solidFill>
                  <a:srgbClr val="888888"/>
                </a:solidFill>
                <a:latin typeface="Arial"/>
                <a:ea typeface="Arial"/>
                <a:cs typeface="Arial"/>
                <a:sym typeface="Arial"/>
              </a:defRPr>
            </a:lvl2pPr>
            <a:lvl3pPr marL="685663" marR="0" lvl="2" indent="-190462" algn="l" rtl="0">
              <a:spcBef>
                <a:spcPts val="240"/>
              </a:spcBef>
              <a:spcAft>
                <a:spcPts val="0"/>
              </a:spcAft>
              <a:buClr>
                <a:srgbClr val="888888"/>
              </a:buClr>
              <a:buSzPts val="2400"/>
              <a:buFont typeface="Arial"/>
              <a:buChar char="•"/>
              <a:defRPr sz="1200" b="0" i="0" u="none" strike="noStrike" cap="none">
                <a:solidFill>
                  <a:srgbClr val="888888"/>
                </a:solidFill>
                <a:latin typeface="Arial"/>
                <a:ea typeface="Arial"/>
                <a:cs typeface="Arial"/>
                <a:sym typeface="Arial"/>
              </a:defRPr>
            </a:lvl3pPr>
            <a:lvl4pPr marL="914217" marR="0" lvl="3" indent="-190462" algn="l" rtl="0">
              <a:spcBef>
                <a:spcPts val="240"/>
              </a:spcBef>
              <a:spcAft>
                <a:spcPts val="0"/>
              </a:spcAft>
              <a:buClr>
                <a:srgbClr val="888888"/>
              </a:buClr>
              <a:buSzPts val="2400"/>
              <a:buFont typeface="Arial"/>
              <a:buChar char="–"/>
              <a:defRPr sz="1200" b="0" i="0" u="none" strike="noStrike" cap="none">
                <a:solidFill>
                  <a:srgbClr val="888888"/>
                </a:solidFill>
                <a:latin typeface="Arial"/>
                <a:ea typeface="Arial"/>
                <a:cs typeface="Arial"/>
                <a:sym typeface="Arial"/>
              </a:defRPr>
            </a:lvl4pPr>
            <a:lvl5pPr marL="1142771" marR="0" lvl="4" indent="-190462" algn="l" rtl="0">
              <a:spcBef>
                <a:spcPts val="240"/>
              </a:spcBef>
              <a:spcAft>
                <a:spcPts val="0"/>
              </a:spcAft>
              <a:buClr>
                <a:srgbClr val="888888"/>
              </a:buClr>
              <a:buSzPts val="2400"/>
              <a:buFont typeface="Arial"/>
              <a:buChar char="»"/>
              <a:defRPr sz="1200" b="0" i="0" u="none" strike="noStrike" cap="none">
                <a:solidFill>
                  <a:srgbClr val="888888"/>
                </a:solidFill>
                <a:latin typeface="Arial"/>
                <a:ea typeface="Arial"/>
                <a:cs typeface="Arial"/>
                <a:sym typeface="Arial"/>
              </a:defRPr>
            </a:lvl5pPr>
            <a:lvl6pPr marL="1371326" marR="0" lvl="5" indent="-249727" algn="l" rtl="0">
              <a:spcBef>
                <a:spcPts val="426"/>
              </a:spcBef>
              <a:spcAft>
                <a:spcPts val="0"/>
              </a:spcAft>
              <a:buClr>
                <a:schemeClr val="dk1"/>
              </a:buClr>
              <a:buSzPts val="4267"/>
              <a:buFont typeface="Arial"/>
              <a:buChar char="•"/>
              <a:defRPr sz="2133" b="0" i="0" u="none" strike="noStrike" cap="none">
                <a:solidFill>
                  <a:schemeClr val="dk1"/>
                </a:solidFill>
                <a:latin typeface="Arial"/>
                <a:ea typeface="Arial"/>
                <a:cs typeface="Arial"/>
                <a:sym typeface="Arial"/>
              </a:defRPr>
            </a:lvl6pPr>
            <a:lvl7pPr marL="1599880" marR="0" lvl="6" indent="-249727" algn="l" rtl="0">
              <a:spcBef>
                <a:spcPts val="426"/>
              </a:spcBef>
              <a:spcAft>
                <a:spcPts val="0"/>
              </a:spcAft>
              <a:buClr>
                <a:schemeClr val="dk1"/>
              </a:buClr>
              <a:buSzPts val="4267"/>
              <a:buFont typeface="Arial"/>
              <a:buChar char="•"/>
              <a:defRPr sz="2133" b="0" i="0" u="none" strike="noStrike" cap="none">
                <a:solidFill>
                  <a:schemeClr val="dk1"/>
                </a:solidFill>
                <a:latin typeface="Arial"/>
                <a:ea typeface="Arial"/>
                <a:cs typeface="Arial"/>
                <a:sym typeface="Arial"/>
              </a:defRPr>
            </a:lvl7pPr>
            <a:lvl8pPr marL="1828434" marR="0" lvl="7" indent="-249727" algn="l" rtl="0">
              <a:spcBef>
                <a:spcPts val="426"/>
              </a:spcBef>
              <a:spcAft>
                <a:spcPts val="0"/>
              </a:spcAft>
              <a:buClr>
                <a:schemeClr val="dk1"/>
              </a:buClr>
              <a:buSzPts val="4267"/>
              <a:buFont typeface="Arial"/>
              <a:buChar char="•"/>
              <a:defRPr sz="2133" b="0" i="0" u="none" strike="noStrike" cap="none">
                <a:solidFill>
                  <a:schemeClr val="dk1"/>
                </a:solidFill>
                <a:latin typeface="Arial"/>
                <a:ea typeface="Arial"/>
                <a:cs typeface="Arial"/>
                <a:sym typeface="Arial"/>
              </a:defRPr>
            </a:lvl8pPr>
            <a:lvl9pPr marL="2056989" marR="0" lvl="8" indent="-249727" algn="l" rtl="0">
              <a:spcBef>
                <a:spcPts val="426"/>
              </a:spcBef>
              <a:spcAft>
                <a:spcPts val="0"/>
              </a:spcAft>
              <a:buClr>
                <a:schemeClr val="dk1"/>
              </a:buClr>
              <a:buSzPts val="4267"/>
              <a:buFont typeface="Arial"/>
              <a:buChar char="•"/>
              <a:defRPr sz="2133" b="0" i="0" u="none" strike="noStrike" cap="none">
                <a:solidFill>
                  <a:schemeClr val="dk1"/>
                </a:solidFill>
                <a:latin typeface="Arial"/>
                <a:ea typeface="Arial"/>
                <a:cs typeface="Arial"/>
                <a:sym typeface="Arial"/>
              </a:defRPr>
            </a:lvl9pPr>
          </a:lstStyle>
          <a:p>
            <a:endParaRPr/>
          </a:p>
        </p:txBody>
      </p:sp>
      <p:sp>
        <p:nvSpPr>
          <p:cNvPr id="32" name="Google Shape;32;p80"/>
          <p:cNvSpPr txBox="1">
            <a:spLocks noGrp="1"/>
          </p:cNvSpPr>
          <p:nvPr>
            <p:ph type="body" idx="2"/>
          </p:nvPr>
        </p:nvSpPr>
        <p:spPr>
          <a:xfrm>
            <a:off x="336111" y="1304764"/>
            <a:ext cx="11519780" cy="4914488"/>
          </a:xfrm>
          <a:prstGeom prst="rect">
            <a:avLst/>
          </a:prstGeom>
          <a:noFill/>
          <a:ln>
            <a:noFill/>
          </a:ln>
        </p:spPr>
        <p:txBody>
          <a:bodyPr spcFirstLastPara="1" wrap="square" lIns="34250" tIns="17125" rIns="34250" bIns="17125" anchor="t" anchorCtr="0">
            <a:noAutofit/>
          </a:bodyPr>
          <a:lstStyle>
            <a:lvl1pPr marL="228554" marR="0" lvl="0" indent="-203159" algn="l" rtl="0">
              <a:spcBef>
                <a:spcPts val="280"/>
              </a:spcBef>
              <a:spcAft>
                <a:spcPts val="0"/>
              </a:spcAft>
              <a:buClr>
                <a:schemeClr val="dk1"/>
              </a:buClr>
              <a:buSzPts val="2800"/>
              <a:buFont typeface="Arial"/>
              <a:buChar char="•"/>
              <a:defRPr sz="1400" b="0" i="0" u="none" strike="noStrike" cap="none">
                <a:solidFill>
                  <a:schemeClr val="dk1"/>
                </a:solidFill>
                <a:latin typeface="Arial"/>
                <a:ea typeface="Arial"/>
                <a:cs typeface="Arial"/>
                <a:sym typeface="Arial"/>
              </a:defRPr>
            </a:lvl1pPr>
            <a:lvl2pPr marL="457109" marR="0" lvl="1" indent="-203159" algn="l" rtl="0">
              <a:spcBef>
                <a:spcPts val="280"/>
              </a:spcBef>
              <a:spcAft>
                <a:spcPts val="0"/>
              </a:spcAft>
              <a:buClr>
                <a:schemeClr val="dk2"/>
              </a:buClr>
              <a:buSzPts val="2800"/>
              <a:buFont typeface="Arial"/>
              <a:buChar char="–"/>
              <a:defRPr sz="1400" b="0" i="0" u="none" strike="noStrike" cap="none">
                <a:solidFill>
                  <a:schemeClr val="dk2"/>
                </a:solidFill>
                <a:latin typeface="Arial"/>
                <a:ea typeface="Arial"/>
                <a:cs typeface="Arial"/>
                <a:sym typeface="Arial"/>
              </a:defRPr>
            </a:lvl2pPr>
            <a:lvl3pPr marL="685663" marR="0" lvl="2" indent="-190462" algn="l" rtl="0">
              <a:lnSpc>
                <a:spcPct val="100000"/>
              </a:lnSpc>
              <a:spcBef>
                <a:spcPts val="240"/>
              </a:spcBef>
              <a:spcAft>
                <a:spcPts val="0"/>
              </a:spcAft>
              <a:buClr>
                <a:schemeClr val="dk1"/>
              </a:buClr>
              <a:buSzPts val="2400"/>
              <a:buFont typeface="Arial"/>
              <a:buChar char="•"/>
              <a:defRPr sz="1200" b="0" i="0" u="none" strike="noStrike" cap="none">
                <a:solidFill>
                  <a:schemeClr val="dk1"/>
                </a:solidFill>
                <a:latin typeface="Arial"/>
                <a:ea typeface="Arial"/>
                <a:cs typeface="Arial"/>
                <a:sym typeface="Arial"/>
              </a:defRPr>
            </a:lvl3pPr>
            <a:lvl4pPr marL="914217" marR="0" lvl="3" indent="-190462" algn="l" rtl="0">
              <a:spcBef>
                <a:spcPts val="240"/>
              </a:spcBef>
              <a:spcAft>
                <a:spcPts val="0"/>
              </a:spcAft>
              <a:buClr>
                <a:srgbClr val="888888"/>
              </a:buClr>
              <a:buSzPts val="2400"/>
              <a:buFont typeface="Arial"/>
              <a:buChar char="–"/>
              <a:defRPr sz="1200" b="0" i="0" u="none" strike="noStrike" cap="none">
                <a:solidFill>
                  <a:srgbClr val="888888"/>
                </a:solidFill>
                <a:latin typeface="Arial"/>
                <a:ea typeface="Arial"/>
                <a:cs typeface="Arial"/>
                <a:sym typeface="Arial"/>
              </a:defRPr>
            </a:lvl4pPr>
            <a:lvl5pPr marL="1142771" marR="0" lvl="4" indent="-190462" algn="l" rtl="0">
              <a:spcBef>
                <a:spcPts val="240"/>
              </a:spcBef>
              <a:spcAft>
                <a:spcPts val="0"/>
              </a:spcAft>
              <a:buClr>
                <a:srgbClr val="888888"/>
              </a:buClr>
              <a:buSzPts val="2400"/>
              <a:buFont typeface="Arial"/>
              <a:buChar char="»"/>
              <a:defRPr sz="1200" b="0" i="0" u="none" strike="noStrike" cap="none">
                <a:solidFill>
                  <a:srgbClr val="888888"/>
                </a:solidFill>
                <a:latin typeface="Arial"/>
                <a:ea typeface="Arial"/>
                <a:cs typeface="Arial"/>
                <a:sym typeface="Arial"/>
              </a:defRPr>
            </a:lvl5pPr>
            <a:lvl6pPr marL="1371326" marR="0" lvl="5" indent="-249727" algn="l" rtl="0">
              <a:spcBef>
                <a:spcPts val="426"/>
              </a:spcBef>
              <a:spcAft>
                <a:spcPts val="0"/>
              </a:spcAft>
              <a:buClr>
                <a:schemeClr val="dk1"/>
              </a:buClr>
              <a:buSzPts val="4267"/>
              <a:buFont typeface="Arial"/>
              <a:buChar char="•"/>
              <a:defRPr sz="2133" b="0" i="0" u="none" strike="noStrike" cap="none">
                <a:solidFill>
                  <a:schemeClr val="dk1"/>
                </a:solidFill>
                <a:latin typeface="Arial"/>
                <a:ea typeface="Arial"/>
                <a:cs typeface="Arial"/>
                <a:sym typeface="Arial"/>
              </a:defRPr>
            </a:lvl6pPr>
            <a:lvl7pPr marL="1599880" marR="0" lvl="6" indent="-249727" algn="l" rtl="0">
              <a:spcBef>
                <a:spcPts val="426"/>
              </a:spcBef>
              <a:spcAft>
                <a:spcPts val="0"/>
              </a:spcAft>
              <a:buClr>
                <a:schemeClr val="dk1"/>
              </a:buClr>
              <a:buSzPts val="4267"/>
              <a:buFont typeface="Arial"/>
              <a:buChar char="•"/>
              <a:defRPr sz="2133" b="0" i="0" u="none" strike="noStrike" cap="none">
                <a:solidFill>
                  <a:schemeClr val="dk1"/>
                </a:solidFill>
                <a:latin typeface="Arial"/>
                <a:ea typeface="Arial"/>
                <a:cs typeface="Arial"/>
                <a:sym typeface="Arial"/>
              </a:defRPr>
            </a:lvl7pPr>
            <a:lvl8pPr marL="1828434" marR="0" lvl="7" indent="-249727" algn="l" rtl="0">
              <a:spcBef>
                <a:spcPts val="426"/>
              </a:spcBef>
              <a:spcAft>
                <a:spcPts val="0"/>
              </a:spcAft>
              <a:buClr>
                <a:schemeClr val="dk1"/>
              </a:buClr>
              <a:buSzPts val="4267"/>
              <a:buFont typeface="Arial"/>
              <a:buChar char="•"/>
              <a:defRPr sz="2133" b="0" i="0" u="none" strike="noStrike" cap="none">
                <a:solidFill>
                  <a:schemeClr val="dk1"/>
                </a:solidFill>
                <a:latin typeface="Arial"/>
                <a:ea typeface="Arial"/>
                <a:cs typeface="Arial"/>
                <a:sym typeface="Arial"/>
              </a:defRPr>
            </a:lvl8pPr>
            <a:lvl9pPr marL="2056989" marR="0" lvl="8" indent="-249727" algn="l" rtl="0">
              <a:spcBef>
                <a:spcPts val="426"/>
              </a:spcBef>
              <a:spcAft>
                <a:spcPts val="0"/>
              </a:spcAft>
              <a:buClr>
                <a:schemeClr val="dk1"/>
              </a:buClr>
              <a:buSzPts val="4267"/>
              <a:buFont typeface="Arial"/>
              <a:buChar char="•"/>
              <a:defRPr sz="2133" b="0" i="0" u="none" strike="noStrike" cap="none">
                <a:solidFill>
                  <a:schemeClr val="dk1"/>
                </a:solidFill>
                <a:latin typeface="Arial"/>
                <a:ea typeface="Arial"/>
                <a:cs typeface="Arial"/>
                <a:sym typeface="Arial"/>
              </a:defRPr>
            </a:lvl9pPr>
          </a:lstStyle>
          <a:p>
            <a:endParaRPr/>
          </a:p>
        </p:txBody>
      </p:sp>
    </p:spTree>
    <p:extLst>
      <p:ext uri="{BB962C8B-B14F-4D97-AF65-F5344CB8AC3E}">
        <p14:creationId xmlns:p14="http://schemas.microsoft.com/office/powerpoint/2010/main" val="281969673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Sub Divider Slide">
    <p:spTree>
      <p:nvGrpSpPr>
        <p:cNvPr id="1" name=""/>
        <p:cNvGrpSpPr/>
        <p:nvPr/>
      </p:nvGrpSpPr>
      <p:grpSpPr>
        <a:xfrm>
          <a:off x="0" y="0"/>
          <a:ext cx="0" cy="0"/>
          <a:chOff x="0" y="0"/>
          <a:chExt cx="0" cy="0"/>
        </a:xfrm>
      </p:grpSpPr>
      <p:pic>
        <p:nvPicPr>
          <p:cNvPr id="6"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60000" contrast="-53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
        <p:nvSpPr>
          <p:cNvPr id="7"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5" name="Slide Number Placeholder 14"/>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E2ACF161-3639-4DB2-AA3B-4A41135AF63F}" type="slidenum">
              <a:rPr/>
              <a:pPr/>
              <a:t>‹#›</a:t>
            </a:fld>
            <a:endParaRPr/>
          </a:p>
        </p:txBody>
      </p:sp>
    </p:spTree>
    <p:extLst>
      <p:ext uri="{BB962C8B-B14F-4D97-AF65-F5344CB8AC3E}">
        <p14:creationId xmlns:p14="http://schemas.microsoft.com/office/powerpoint/2010/main" val="2421223312"/>
      </p:ext>
    </p:extLst>
  </p:cSld>
  <p:clrMapOvr>
    <a:masterClrMapping/>
  </p:clrMapOvr>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ab Slide">
    <p:spTree>
      <p:nvGrpSpPr>
        <p:cNvPr id="1" name=""/>
        <p:cNvGrpSpPr/>
        <p:nvPr/>
      </p:nvGrpSpPr>
      <p:grpSpPr>
        <a:xfrm>
          <a:off x="0" y="0"/>
          <a:ext cx="0" cy="0"/>
          <a:chOff x="0" y="0"/>
          <a:chExt cx="0" cy="0"/>
        </a:xfrm>
      </p:grpSpPr>
      <p:pic>
        <p:nvPicPr>
          <p:cNvPr id="7"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40000" contrast="-30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Tree>
    <p:extLst>
      <p:ext uri="{BB962C8B-B14F-4D97-AF65-F5344CB8AC3E}">
        <p14:creationId xmlns:p14="http://schemas.microsoft.com/office/powerpoint/2010/main" val="2711176308"/>
      </p:ext>
    </p:extLst>
  </p:cSld>
  <p:clrMapOvr>
    <a:masterClrMapping/>
  </p:clrMapOvr>
  <p:hf hdr="0" ftr="0" dt="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lstStyle/>
          <a:p>
            <a:r>
              <a:rPr lang="en-US" dirty="0"/>
              <a:t>Click to edit Master title style</a:t>
            </a:r>
          </a:p>
        </p:txBody>
      </p:sp>
      <p:sp>
        <p:nvSpPr>
          <p:cNvPr id="4"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5"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6"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1" name="Slide Number Placeholder 10"/>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645EB43A-5775-4200-8846-86C8FD92F8B7}" type="slidenum">
              <a:rPr/>
              <a:pPr/>
              <a:t>‹#›</a:t>
            </a:fld>
            <a:endParaRPr/>
          </a:p>
        </p:txBody>
      </p:sp>
    </p:spTree>
    <p:extLst>
      <p:ext uri="{BB962C8B-B14F-4D97-AF65-F5344CB8AC3E}">
        <p14:creationId xmlns:p14="http://schemas.microsoft.com/office/powerpoint/2010/main" val="9826713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507488" y="2465776"/>
            <a:ext cx="6761019"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507489" y="2960238"/>
            <a:ext cx="6761019"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507488" y="4248374"/>
            <a:ext cx="4416136" cy="458096"/>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p:nvGrpSpPr>
        <p:grpSpPr bwMode="auto">
          <a:xfrm>
            <a:off x="1220321" y="1888191"/>
            <a:ext cx="7262091" cy="1984842"/>
            <a:chOff x="1288" y="1521"/>
            <a:chExt cx="3774"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353"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4" cstate="print"/>
          <a:stretch>
            <a:fillRect/>
          </a:stretch>
        </p:blipFill>
        <p:spPr>
          <a:xfrm>
            <a:off x="1108364" y="829236"/>
            <a:ext cx="2888896" cy="392621"/>
          </a:xfrm>
          <a:prstGeom prst="rect">
            <a:avLst/>
          </a:prstGeom>
        </p:spPr>
      </p:pic>
      <p:sp>
        <p:nvSpPr>
          <p:cNvPr id="10" name="ClientLogo" hidden="1"/>
          <p:cNvSpPr>
            <a:spLocks noChangeArrowheads="1"/>
          </p:cNvSpPr>
          <p:nvPr userDrawn="1">
            <p:custDataLst>
              <p:tags r:id="rId2"/>
            </p:custDataLst>
          </p:nvPr>
        </p:nvSpPr>
        <p:spPr bwMode="auto">
          <a:xfrm>
            <a:off x="8027873" y="892269"/>
            <a:ext cx="3325091" cy="806824"/>
          </a:xfrm>
          <a:prstGeom prst="rect">
            <a:avLst/>
          </a:prstGeom>
          <a:solidFill>
            <a:srgbClr val="FEDF87"/>
          </a:solidFill>
          <a:ln w="12700">
            <a:solidFill>
              <a:srgbClr val="FF0000"/>
            </a:solidFill>
            <a:prstDash val="solid"/>
            <a:miter lim="800000"/>
            <a:headEnd/>
            <a:tailEnd/>
          </a:ln>
          <a:effectLst/>
        </p:spPr>
        <p:txBody>
          <a:bodyPr wrap="square" lIns="0" tIns="49235" rIns="32823" bIns="0" anchor="t"/>
          <a:lstStyle/>
          <a:p>
            <a:pPr algn="ctr" fontAlgn="base">
              <a:spcBef>
                <a:spcPct val="0"/>
              </a:spcBef>
              <a:spcAft>
                <a:spcPct val="0"/>
              </a:spcAft>
            </a:pPr>
            <a:r>
              <a:rPr lang="en-US" sz="1100" b="1" dirty="0">
                <a:solidFill>
                  <a:srgbClr val="FF0000"/>
                </a:solidFill>
                <a:cs typeface="Arial" charset="0"/>
              </a:rPr>
              <a:t>PB Cover Logo Placeholder </a:t>
            </a:r>
            <a:br>
              <a:rPr lang="en-US" sz="1100" dirty="0">
                <a:solidFill>
                  <a:srgbClr val="FF0000"/>
                </a:solidFill>
                <a:cs typeface="Arial" charset="0"/>
              </a:rPr>
            </a:br>
            <a:r>
              <a:rPr lang="en-US" sz="1100" dirty="0">
                <a:solidFill>
                  <a:srgbClr val="FF0000"/>
                </a:solidFill>
                <a:cs typeface="Arial" charset="0"/>
              </a:rPr>
              <a:t>Delete this box if you see it on a slide, but DO NOT REMOVE this box from the slide layout. </a:t>
            </a:r>
          </a:p>
        </p:txBody>
      </p:sp>
    </p:spTree>
    <p:extLst>
      <p:ext uri="{BB962C8B-B14F-4D97-AF65-F5344CB8AC3E}">
        <p14:creationId xmlns:p14="http://schemas.microsoft.com/office/powerpoint/2010/main" val="25483822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2835" y="1989526"/>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2835" y="2483988"/>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a:t>Click to edit Master subtitle style</a:t>
            </a:r>
            <a:endParaRPr lang="en-US" dirty="0"/>
          </a:p>
        </p:txBody>
      </p:sp>
      <p:sp>
        <p:nvSpPr>
          <p:cNvPr id="12" name="Text Placeholder 11"/>
          <p:cNvSpPr>
            <a:spLocks noGrp="1"/>
          </p:cNvSpPr>
          <p:nvPr>
            <p:ph type="body" sz="quarter" idx="10" hasCustomPrompt="1"/>
          </p:nvPr>
        </p:nvSpPr>
        <p:spPr>
          <a:xfrm>
            <a:off x="1252833" y="3772125"/>
            <a:ext cx="4416136" cy="463699"/>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userDrawn="1"/>
        </p:nvGrpSpPr>
        <p:grpSpPr bwMode="auto">
          <a:xfrm>
            <a:off x="1029194" y="1411941"/>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3"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11993917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2" name="plhTOCTitle"/>
          <p:cNvSpPr>
            <a:spLocks noGrp="1"/>
          </p:cNvSpPr>
          <p:nvPr>
            <p:ph type="title"/>
          </p:nvPr>
        </p:nvSpPr>
        <p:spPr/>
        <p:txBody>
          <a:bodyPr/>
          <a:lstStyle/>
          <a:p>
            <a:r>
              <a:rPr lang="en-US"/>
              <a:t>Click to edit Master title style</a:t>
            </a:r>
            <a:endParaRPr lang="en-US" dirty="0"/>
          </a:p>
        </p:txBody>
      </p:sp>
      <p:sp>
        <p:nvSpPr>
          <p:cNvPr id="5" name="plhTOCBody"/>
          <p:cNvSpPr>
            <a:spLocks noGrp="1"/>
          </p:cNvSpPr>
          <p:nvPr>
            <p:ph type="body" sz="quarter" idx="10" hasCustomPrompt="1"/>
          </p:nvPr>
        </p:nvSpPr>
        <p:spPr/>
        <p:txBody>
          <a:bodyPr/>
          <a:lstStyle>
            <a:lvl1pPr marL="615437" indent="-615437">
              <a:lnSpc>
                <a:spcPct val="155000"/>
              </a:lnSpc>
              <a:spcBef>
                <a:spcPts val="0"/>
              </a:spcBef>
              <a:buFont typeface="+mj-lt"/>
              <a:buAutoNum type="arabicPeriod"/>
              <a:tabLst>
                <a:tab pos="7739974" algn="r"/>
              </a:tabLst>
              <a:defRPr/>
            </a:lvl1pPr>
            <a:lvl2pPr marL="1230874" indent="-615437">
              <a:lnSpc>
                <a:spcPct val="155000"/>
              </a:lnSpc>
              <a:spcBef>
                <a:spcPts val="0"/>
              </a:spcBef>
              <a:buSzPct val="100000"/>
              <a:buFont typeface="+mj-lt"/>
              <a:buAutoNum type="alphaUcPeriod"/>
              <a:tabLst>
                <a:tab pos="7739974" algn="r"/>
              </a:tabLst>
              <a:defRPr/>
            </a:lvl2pPr>
            <a:lvl3pPr marL="1846311" indent="-615437">
              <a:lnSpc>
                <a:spcPct val="155000"/>
              </a:lnSpc>
              <a:spcBef>
                <a:spcPts val="0"/>
              </a:spcBef>
              <a:buFont typeface="+mj-lt"/>
              <a:buAutoNum type="romanLcPeriod"/>
              <a:tabLst>
                <a:tab pos="7739974" algn="r"/>
              </a:tabLst>
              <a:defRPr baseline="0"/>
            </a:lvl3pPr>
            <a:lvl4pPr marL="1230874" indent="-615437">
              <a:lnSpc>
                <a:spcPct val="155000"/>
              </a:lnSpc>
              <a:spcBef>
                <a:spcPts val="0"/>
              </a:spcBef>
              <a:buNone/>
              <a:tabLst>
                <a:tab pos="7739974" algn="r"/>
              </a:tabLst>
              <a:defRPr/>
            </a:lvl4pPr>
            <a:lvl5pPr marL="1230874" indent="-615437">
              <a:lnSpc>
                <a:spcPct val="155000"/>
              </a:lnSpc>
              <a:spcBef>
                <a:spcPts val="0"/>
              </a:spcBef>
              <a:buFont typeface="+mj-lt"/>
              <a:buAutoNum type="alphaUcPeriod"/>
              <a:tabLst>
                <a:tab pos="7739974" algn="r"/>
              </a:tabLst>
              <a:defRPr/>
            </a:lvl5pPr>
            <a:lvl6pPr marL="1846311" indent="-615437">
              <a:lnSpc>
                <a:spcPct val="155000"/>
              </a:lnSpc>
              <a:spcBef>
                <a:spcPts val="0"/>
              </a:spcBef>
              <a:buSzPct val="100000"/>
              <a:buFont typeface="+mj-lt"/>
              <a:buAutoNum type="romanLcPeriod"/>
              <a:tabLst>
                <a:tab pos="7739974" algn="r"/>
              </a:tabLst>
              <a:defRPr baseline="0"/>
            </a:lvl6pPr>
            <a:lvl7pPr marL="0" indent="0">
              <a:buNone/>
              <a:defRPr/>
            </a:lvl7pPr>
          </a:lstStyle>
          <a:p>
            <a:pPr lvl="0"/>
            <a:r>
              <a:rPr lang="en-US" dirty="0"/>
              <a:t>Primary Sections</a:t>
            </a:r>
          </a:p>
          <a:p>
            <a:pPr lvl="1"/>
            <a:r>
              <a:rPr lang="en-US" dirty="0"/>
              <a:t>Sub-Sections</a:t>
            </a:r>
          </a:p>
          <a:p>
            <a:pPr lvl="2"/>
            <a:r>
              <a:rPr lang="en-US" dirty="0"/>
              <a:t>Tertiary Sections</a:t>
            </a:r>
          </a:p>
          <a:p>
            <a:pPr lvl="6"/>
            <a:r>
              <a:rPr lang="en-US" dirty="0"/>
              <a:t>________________________________________________________________________________________</a:t>
            </a:r>
          </a:p>
          <a:p>
            <a:pPr lvl="3"/>
            <a:r>
              <a:rPr lang="en-US" dirty="0"/>
              <a:t>Appendices</a:t>
            </a:r>
          </a:p>
          <a:p>
            <a:pPr lvl="4"/>
            <a:r>
              <a:rPr lang="en-US" dirty="0"/>
              <a:t>Appendices Sections</a:t>
            </a:r>
          </a:p>
          <a:p>
            <a:pPr lvl="5"/>
            <a:r>
              <a:rPr lang="en-US" dirty="0"/>
              <a:t>Appendices Sub-Sections</a:t>
            </a:r>
          </a:p>
          <a:p>
            <a:pPr lvl="5"/>
            <a:endParaRPr lang="en-US" dirty="0"/>
          </a:p>
        </p:txBody>
      </p:sp>
    </p:spTree>
    <p:extLst>
      <p:ext uri="{BB962C8B-B14F-4D97-AF65-F5344CB8AC3E}">
        <p14:creationId xmlns:p14="http://schemas.microsoft.com/office/powerpoint/2010/main" val="20741700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5475" y="3766495"/>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5475" y="4260957"/>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255473" y="4631191"/>
            <a:ext cx="4416136" cy="411457"/>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pic>
        <p:nvPicPr>
          <p:cNvPr id="10" name="Picture 9"/>
          <p:cNvPicPr>
            <a:picLocks noChangeAspect="1" noChangeArrowheads="1"/>
          </p:cNvPicPr>
          <p:nvPr userDrawn="1"/>
        </p:nvPicPr>
        <p:blipFill>
          <a:blip r:embed="rId3" cstate="print"/>
          <a:srcRect/>
          <a:stretch>
            <a:fillRect/>
          </a:stretch>
        </p:blipFill>
        <p:spPr bwMode="auto">
          <a:xfrm>
            <a:off x="1016001" y="1562527"/>
            <a:ext cx="7571847" cy="1679831"/>
          </a:xfrm>
          <a:prstGeom prst="rect">
            <a:avLst/>
          </a:prstGeom>
          <a:noFill/>
          <a:ln w="9525">
            <a:noFill/>
            <a:miter lim="800000"/>
            <a:headEnd/>
            <a:tailEnd/>
          </a:ln>
          <a:effectLst/>
        </p:spPr>
      </p:pic>
      <p:grpSp>
        <p:nvGrpSpPr>
          <p:cNvPr id="2" name="Group 201"/>
          <p:cNvGrpSpPr>
            <a:grpSpLocks/>
          </p:cNvGrpSpPr>
          <p:nvPr userDrawn="1"/>
        </p:nvGrpSpPr>
        <p:grpSpPr bwMode="auto">
          <a:xfrm>
            <a:off x="1031834" y="1410020"/>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11"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4" name="BarclaysLogo" descr="Standard_Cover.bmp"/>
          <p:cNvPicPr>
            <a:picLocks noChangeAspect="1"/>
          </p:cNvPicPr>
          <p:nvPr userDrawn="1"/>
        </p:nvPicPr>
        <p:blipFill>
          <a:blip r:embed="rId4"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7445244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plhTitle"/>
          <p:cNvSpPr>
            <a:spLocks noGrp="1"/>
          </p:cNvSpPr>
          <p:nvPr>
            <p:ph type="title"/>
          </p:nvPr>
        </p:nvSpPr>
        <p:spPr>
          <a:xfrm>
            <a:off x="507998" y="337075"/>
            <a:ext cx="11176001" cy="470647"/>
          </a:xfrm>
        </p:spPr>
        <p:txBody>
          <a:bodyPr lIns="0" rIns="0"/>
          <a:lstStyle>
            <a:lvl1pPr>
              <a:defRPr sz="2400">
                <a:latin typeface="+mj-lt"/>
                <a:cs typeface="Calibri" pitchFamily="34" charset="0"/>
              </a:defRPr>
            </a:lvl1pPr>
          </a:lstStyle>
          <a:p>
            <a:r>
              <a:rPr lang="en-US" dirty="0"/>
              <a:t>Click to edit Master title style</a:t>
            </a:r>
          </a:p>
        </p:txBody>
      </p:sp>
      <p:sp>
        <p:nvSpPr>
          <p:cNvPr id="12" name="plhSubheader"/>
          <p:cNvSpPr>
            <a:spLocks noGrp="1"/>
          </p:cNvSpPr>
          <p:nvPr>
            <p:ph type="body" sz="quarter" idx="13" hasCustomPrompt="1"/>
          </p:nvPr>
        </p:nvSpPr>
        <p:spPr>
          <a:xfrm>
            <a:off x="508000" y="819150"/>
            <a:ext cx="11176001" cy="336176"/>
          </a:xfrm>
          <a:noFill/>
          <a:ln w="9525">
            <a:noFill/>
            <a:miter lim="800000"/>
            <a:headEnd/>
            <a:tailEnd/>
          </a:ln>
          <a:effectLst/>
        </p:spPr>
        <p:txBody>
          <a:bodyPr lIns="0" tIns="0" rIns="0" bIns="0"/>
          <a:lstStyle>
            <a:lvl1pPr marL="0" indent="0" algn="l" rtl="0" fontAlgn="base">
              <a:spcBef>
                <a:spcPct val="0"/>
              </a:spcBef>
              <a:spcAft>
                <a:spcPct val="0"/>
              </a:spcAft>
              <a:buNone/>
              <a:defRPr lang="en-US" sz="1400" b="1" kern="1200" dirty="0" smtClean="0">
                <a:solidFill>
                  <a:srgbClr val="7E8083"/>
                </a:solidFill>
                <a:latin typeface="+mj-lt"/>
                <a:ea typeface="+mn-ea"/>
                <a:cs typeface="Calibri" pitchFamily="34" charset="0"/>
              </a:defRPr>
            </a:lvl1pPr>
            <a:lvl2pPr algn="l" rtl="0" fontAlgn="base">
              <a:spcBef>
                <a:spcPct val="0"/>
              </a:spcBef>
              <a:spcAft>
                <a:spcPct val="0"/>
              </a:spcAft>
              <a:buNone/>
              <a:defRPr lang="en-US" sz="1400" b="1" kern="1200" dirty="0" smtClean="0">
                <a:solidFill>
                  <a:schemeClr val="tx1"/>
                </a:solidFill>
                <a:latin typeface="Arial" charset="0"/>
                <a:ea typeface="+mn-ea"/>
                <a:cs typeface="Arial" charset="0"/>
              </a:defRPr>
            </a:lvl2pPr>
            <a:lvl3pPr algn="l" rtl="0" fontAlgn="base">
              <a:spcBef>
                <a:spcPct val="0"/>
              </a:spcBef>
              <a:spcAft>
                <a:spcPct val="0"/>
              </a:spcAft>
              <a:buNone/>
              <a:defRPr lang="en-US" sz="1400" b="1" kern="1200" dirty="0" smtClean="0">
                <a:solidFill>
                  <a:schemeClr val="tx1"/>
                </a:solidFill>
                <a:latin typeface="Arial" charset="0"/>
                <a:ea typeface="+mn-ea"/>
                <a:cs typeface="Arial" charset="0"/>
              </a:defRPr>
            </a:lvl3pPr>
            <a:lvl4pPr algn="l" rtl="0" fontAlgn="base">
              <a:spcBef>
                <a:spcPct val="0"/>
              </a:spcBef>
              <a:spcAft>
                <a:spcPct val="0"/>
              </a:spcAft>
              <a:buNone/>
              <a:defRPr lang="en-US" sz="1400" b="1" kern="1200" dirty="0" smtClean="0">
                <a:solidFill>
                  <a:schemeClr val="tx1"/>
                </a:solidFill>
                <a:latin typeface="Arial" charset="0"/>
                <a:ea typeface="+mn-ea"/>
                <a:cs typeface="Arial" charset="0"/>
              </a:defRPr>
            </a:lvl4pPr>
            <a:lvl5pPr algn="l" rtl="0" fontAlgn="base">
              <a:spcBef>
                <a:spcPct val="0"/>
              </a:spcBef>
              <a:spcAft>
                <a:spcPct val="0"/>
              </a:spcAft>
              <a:buNone/>
              <a:defRPr lang="en-US" sz="1400" b="1" kern="1200" dirty="0">
                <a:solidFill>
                  <a:schemeClr val="tx1"/>
                </a:solidFill>
                <a:latin typeface="Arial" charset="0"/>
                <a:ea typeface="+mn-ea"/>
                <a:cs typeface="Arial" charset="0"/>
              </a:defRPr>
            </a:lvl5pPr>
          </a:lstStyle>
          <a:p>
            <a:pPr lvl="0"/>
            <a:r>
              <a:rPr lang="en-US" dirty="0"/>
              <a:t>Sub-Header: Enter your optional sub-heading here </a:t>
            </a:r>
          </a:p>
          <a:p>
            <a:pPr lvl="0"/>
            <a:endParaRPr lang="en-US" dirty="0"/>
          </a:p>
        </p:txBody>
      </p:sp>
      <p:sp>
        <p:nvSpPr>
          <p:cNvPr id="7" name="plhBody"/>
          <p:cNvSpPr>
            <a:spLocks noGrp="1"/>
          </p:cNvSpPr>
          <p:nvPr>
            <p:ph type="body" sz="quarter" idx="16"/>
          </p:nvPr>
        </p:nvSpPr>
        <p:spPr>
          <a:xfrm>
            <a:off x="508000" y="1333949"/>
            <a:ext cx="11176001" cy="4582758"/>
          </a:xfrm>
        </p:spPr>
        <p:txBody>
          <a:bodyPr/>
          <a:lstStyle>
            <a:lvl1pPr>
              <a:buClr>
                <a:schemeClr val="bg2"/>
              </a:buClr>
              <a:defRPr sz="1300">
                <a:latin typeface="+mn-lt"/>
                <a:cs typeface="Calibri" pitchFamily="34" charset="0"/>
              </a:defRPr>
            </a:lvl1pPr>
            <a:lvl2pPr>
              <a:buClr>
                <a:schemeClr val="bg2"/>
              </a:buClr>
              <a:defRPr sz="1300">
                <a:latin typeface="+mn-lt"/>
                <a:cs typeface="Calibri" pitchFamily="34" charset="0"/>
              </a:defRPr>
            </a:lvl2pPr>
            <a:lvl3pPr>
              <a:buClr>
                <a:schemeClr val="bg2"/>
              </a:buClr>
              <a:defRPr sz="1300">
                <a:latin typeface="+mn-lt"/>
                <a:cs typeface="Calibri" pitchFamily="34" charset="0"/>
              </a:defRPr>
            </a:lvl3pPr>
            <a:lvl4pPr>
              <a:buClr>
                <a:schemeClr val="bg2"/>
              </a:buClr>
              <a:defRPr sz="1300">
                <a:latin typeface="+mn-lt"/>
                <a:cs typeface="Calibri" pitchFamily="34" charset="0"/>
              </a:defRPr>
            </a:lvl4pPr>
            <a:lvl5pPr>
              <a:buClr>
                <a:schemeClr val="bg2"/>
              </a:buClr>
              <a:defRPr sz="1300">
                <a:latin typeface="+mn-lt"/>
                <a:cs typeface="Calibri" pitchFamily="34" charset="0"/>
              </a:defRPr>
            </a:lvl5pPr>
            <a:lvl6pPr>
              <a:defRPr/>
            </a:lvl6pPr>
            <a:lvl7pPr>
              <a:defRPr/>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7" name="Slide Number Placeholder 16"/>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7BC01EA4-3BC1-4101-9AC2-FD6B853D97D7}" type="slidenum">
              <a:rPr/>
              <a:pPr/>
              <a:t>‹#›</a:t>
            </a:fld>
            <a:endParaRPr/>
          </a:p>
        </p:txBody>
      </p:sp>
    </p:spTree>
    <p:extLst>
      <p:ext uri="{BB962C8B-B14F-4D97-AF65-F5344CB8AC3E}">
        <p14:creationId xmlns:p14="http://schemas.microsoft.com/office/powerpoint/2010/main" val="1232982677"/>
      </p:ext>
    </p:extLst>
  </p:cSld>
  <p:clrMapOvr>
    <a:masterClrMapping/>
  </p:clrMapOvr>
  <p:hf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p:cSld name="Tab Slide">
    <p:spTree>
      <p:nvGrpSpPr>
        <p:cNvPr id="1" name=""/>
        <p:cNvGrpSpPr/>
        <p:nvPr/>
      </p:nvGrpSpPr>
      <p:grpSpPr>
        <a:xfrm>
          <a:off x="0" y="0"/>
          <a:ext cx="0" cy="0"/>
          <a:chOff x="0" y="0"/>
          <a:chExt cx="0" cy="0"/>
        </a:xfrm>
      </p:grpSpPr>
      <p:pic>
        <p:nvPicPr>
          <p:cNvPr id="7"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40000" contrast="-30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Tree>
    <p:extLst>
      <p:ext uri="{BB962C8B-B14F-4D97-AF65-F5344CB8AC3E}">
        <p14:creationId xmlns:p14="http://schemas.microsoft.com/office/powerpoint/2010/main" val="2208702846"/>
      </p:ext>
    </p:extLst>
  </p:cSld>
  <p:clrMapOvr>
    <a:masterClrMapping/>
  </p:clrMapOvr>
  <p:hf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Sub Divider Slide">
    <p:spTree>
      <p:nvGrpSpPr>
        <p:cNvPr id="1" name=""/>
        <p:cNvGrpSpPr/>
        <p:nvPr/>
      </p:nvGrpSpPr>
      <p:grpSpPr>
        <a:xfrm>
          <a:off x="0" y="0"/>
          <a:ext cx="0" cy="0"/>
          <a:chOff x="0" y="0"/>
          <a:chExt cx="0" cy="0"/>
        </a:xfrm>
      </p:grpSpPr>
      <p:pic>
        <p:nvPicPr>
          <p:cNvPr id="6"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60000" contrast="-53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
        <p:nvSpPr>
          <p:cNvPr id="7"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5" name="Slide Number Placeholder 14"/>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E2ACF161-3639-4DB2-AA3B-4A41135AF63F}" type="slidenum">
              <a:rPr/>
              <a:pPr/>
              <a:t>‹#›</a:t>
            </a:fld>
            <a:endParaRPr/>
          </a:p>
        </p:txBody>
      </p:sp>
    </p:spTree>
    <p:extLst>
      <p:ext uri="{BB962C8B-B14F-4D97-AF65-F5344CB8AC3E}">
        <p14:creationId xmlns:p14="http://schemas.microsoft.com/office/powerpoint/2010/main" val="3895464525"/>
      </p:ext>
    </p:extLst>
  </p:cSld>
  <p:clrMapOvr>
    <a:masterClrMapping/>
  </p:clrMapOvr>
  <p:hf hdr="0" ftr="0" dt="0"/>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lstStyle/>
          <a:p>
            <a:r>
              <a:rPr lang="en-US" dirty="0"/>
              <a:t>Click to edit Master title style</a:t>
            </a:r>
          </a:p>
        </p:txBody>
      </p:sp>
      <p:sp>
        <p:nvSpPr>
          <p:cNvPr id="4"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5"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6"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1" name="Slide Number Placeholder 10"/>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645EB43A-5775-4200-8846-86C8FD92F8B7}" type="slidenum">
              <a:rPr/>
              <a:pPr/>
              <a:t>‹#›</a:t>
            </a:fld>
            <a:endParaRPr/>
          </a:p>
        </p:txBody>
      </p:sp>
    </p:spTree>
    <p:extLst>
      <p:ext uri="{BB962C8B-B14F-4D97-AF65-F5344CB8AC3E}">
        <p14:creationId xmlns:p14="http://schemas.microsoft.com/office/powerpoint/2010/main" val="92425337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507488" y="2465776"/>
            <a:ext cx="6761019"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507489" y="2960238"/>
            <a:ext cx="6761019"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507488" y="4248374"/>
            <a:ext cx="4416136" cy="458096"/>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p:nvGrpSpPr>
        <p:grpSpPr bwMode="auto">
          <a:xfrm>
            <a:off x="1220321" y="1888191"/>
            <a:ext cx="7262091" cy="1984842"/>
            <a:chOff x="1288" y="1521"/>
            <a:chExt cx="3774"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353"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4" cstate="print"/>
          <a:stretch>
            <a:fillRect/>
          </a:stretch>
        </p:blipFill>
        <p:spPr>
          <a:xfrm>
            <a:off x="1108364" y="829236"/>
            <a:ext cx="2888896" cy="392621"/>
          </a:xfrm>
          <a:prstGeom prst="rect">
            <a:avLst/>
          </a:prstGeom>
        </p:spPr>
      </p:pic>
      <p:sp>
        <p:nvSpPr>
          <p:cNvPr id="10" name="ClientLogo" hidden="1"/>
          <p:cNvSpPr>
            <a:spLocks noChangeArrowheads="1"/>
          </p:cNvSpPr>
          <p:nvPr userDrawn="1">
            <p:custDataLst>
              <p:tags r:id="rId2"/>
            </p:custDataLst>
          </p:nvPr>
        </p:nvSpPr>
        <p:spPr bwMode="auto">
          <a:xfrm>
            <a:off x="8027873" y="892269"/>
            <a:ext cx="3325091" cy="806824"/>
          </a:xfrm>
          <a:prstGeom prst="rect">
            <a:avLst/>
          </a:prstGeom>
          <a:solidFill>
            <a:srgbClr val="FEDF87"/>
          </a:solidFill>
          <a:ln w="12700">
            <a:solidFill>
              <a:srgbClr val="FF0000"/>
            </a:solidFill>
            <a:prstDash val="solid"/>
            <a:miter lim="800000"/>
            <a:headEnd/>
            <a:tailEnd/>
          </a:ln>
          <a:effectLst/>
        </p:spPr>
        <p:txBody>
          <a:bodyPr wrap="square" lIns="0" tIns="49235" rIns="32823" bIns="0" anchor="t"/>
          <a:lstStyle/>
          <a:p>
            <a:pPr algn="ctr" fontAlgn="base">
              <a:spcBef>
                <a:spcPct val="0"/>
              </a:spcBef>
              <a:spcAft>
                <a:spcPct val="0"/>
              </a:spcAft>
            </a:pPr>
            <a:r>
              <a:rPr lang="en-US" sz="1100" b="1" dirty="0">
                <a:solidFill>
                  <a:srgbClr val="FF0000"/>
                </a:solidFill>
                <a:cs typeface="Arial" charset="0"/>
              </a:rPr>
              <a:t>PB Cover Logo Placeholder </a:t>
            </a:r>
            <a:br>
              <a:rPr lang="en-US" sz="1100" dirty="0">
                <a:solidFill>
                  <a:srgbClr val="FF0000"/>
                </a:solidFill>
                <a:cs typeface="Arial" charset="0"/>
              </a:rPr>
            </a:br>
            <a:r>
              <a:rPr lang="en-US" sz="1100" dirty="0">
                <a:solidFill>
                  <a:srgbClr val="FF0000"/>
                </a:solidFill>
                <a:cs typeface="Arial" charset="0"/>
              </a:rPr>
              <a:t>Delete this box if you see it on a slide, but DO NOT REMOVE this box from the slide layout. </a:t>
            </a:r>
          </a:p>
        </p:txBody>
      </p:sp>
    </p:spTree>
    <p:extLst>
      <p:ext uri="{BB962C8B-B14F-4D97-AF65-F5344CB8AC3E}">
        <p14:creationId xmlns:p14="http://schemas.microsoft.com/office/powerpoint/2010/main" val="389764873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Sub Divider Slide">
    <p:spTree>
      <p:nvGrpSpPr>
        <p:cNvPr id="1" name=""/>
        <p:cNvGrpSpPr/>
        <p:nvPr/>
      </p:nvGrpSpPr>
      <p:grpSpPr>
        <a:xfrm>
          <a:off x="0" y="0"/>
          <a:ext cx="0" cy="0"/>
          <a:chOff x="0" y="0"/>
          <a:chExt cx="0" cy="0"/>
        </a:xfrm>
      </p:grpSpPr>
      <p:pic>
        <p:nvPicPr>
          <p:cNvPr id="6"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60000" contrast="-53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
        <p:nvSpPr>
          <p:cNvPr id="7"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5" name="Slide Number Placeholder 14"/>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E2ACF161-3639-4DB2-AA3B-4A41135AF63F}" type="slidenum">
              <a:rPr/>
              <a:pPr/>
              <a:t>‹#›</a:t>
            </a:fld>
            <a:endParaRPr/>
          </a:p>
        </p:txBody>
      </p:sp>
    </p:spTree>
    <p:extLst>
      <p:ext uri="{BB962C8B-B14F-4D97-AF65-F5344CB8AC3E}">
        <p14:creationId xmlns:p14="http://schemas.microsoft.com/office/powerpoint/2010/main" val="1360604659"/>
      </p:ext>
    </p:extLst>
  </p:cSld>
  <p:clrMapOvr>
    <a:masterClrMapping/>
  </p:clrMapOvr>
  <p:hf hdr="0" ft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2835" y="1989526"/>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2835" y="2483988"/>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a:t>Click to edit Master subtitle style</a:t>
            </a:r>
            <a:endParaRPr lang="en-US" dirty="0"/>
          </a:p>
        </p:txBody>
      </p:sp>
      <p:sp>
        <p:nvSpPr>
          <p:cNvPr id="12" name="Text Placeholder 11"/>
          <p:cNvSpPr>
            <a:spLocks noGrp="1"/>
          </p:cNvSpPr>
          <p:nvPr>
            <p:ph type="body" sz="quarter" idx="10" hasCustomPrompt="1"/>
          </p:nvPr>
        </p:nvSpPr>
        <p:spPr>
          <a:xfrm>
            <a:off x="1252833" y="3772125"/>
            <a:ext cx="4416136" cy="463699"/>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userDrawn="1"/>
        </p:nvGrpSpPr>
        <p:grpSpPr bwMode="auto">
          <a:xfrm>
            <a:off x="1029194" y="1411941"/>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3"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405936182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2" name="plhTOCTitle"/>
          <p:cNvSpPr>
            <a:spLocks noGrp="1"/>
          </p:cNvSpPr>
          <p:nvPr>
            <p:ph type="title"/>
          </p:nvPr>
        </p:nvSpPr>
        <p:spPr/>
        <p:txBody>
          <a:bodyPr/>
          <a:lstStyle/>
          <a:p>
            <a:r>
              <a:rPr lang="en-US"/>
              <a:t>Click to edit Master title style</a:t>
            </a:r>
            <a:endParaRPr lang="en-US" dirty="0"/>
          </a:p>
        </p:txBody>
      </p:sp>
      <p:sp>
        <p:nvSpPr>
          <p:cNvPr id="5" name="plhTOCBody"/>
          <p:cNvSpPr>
            <a:spLocks noGrp="1"/>
          </p:cNvSpPr>
          <p:nvPr>
            <p:ph type="body" sz="quarter" idx="10" hasCustomPrompt="1"/>
          </p:nvPr>
        </p:nvSpPr>
        <p:spPr/>
        <p:txBody>
          <a:bodyPr/>
          <a:lstStyle>
            <a:lvl1pPr marL="615437" indent="-615437">
              <a:lnSpc>
                <a:spcPct val="155000"/>
              </a:lnSpc>
              <a:spcBef>
                <a:spcPts val="0"/>
              </a:spcBef>
              <a:buFont typeface="+mj-lt"/>
              <a:buAutoNum type="arabicPeriod"/>
              <a:tabLst>
                <a:tab pos="7739974" algn="r"/>
              </a:tabLst>
              <a:defRPr/>
            </a:lvl1pPr>
            <a:lvl2pPr marL="1230874" indent="-615437">
              <a:lnSpc>
                <a:spcPct val="155000"/>
              </a:lnSpc>
              <a:spcBef>
                <a:spcPts val="0"/>
              </a:spcBef>
              <a:buSzPct val="100000"/>
              <a:buFont typeface="+mj-lt"/>
              <a:buAutoNum type="alphaUcPeriod"/>
              <a:tabLst>
                <a:tab pos="7739974" algn="r"/>
              </a:tabLst>
              <a:defRPr/>
            </a:lvl2pPr>
            <a:lvl3pPr marL="1846311" indent="-615437">
              <a:lnSpc>
                <a:spcPct val="155000"/>
              </a:lnSpc>
              <a:spcBef>
                <a:spcPts val="0"/>
              </a:spcBef>
              <a:buFont typeface="+mj-lt"/>
              <a:buAutoNum type="romanLcPeriod"/>
              <a:tabLst>
                <a:tab pos="7739974" algn="r"/>
              </a:tabLst>
              <a:defRPr baseline="0"/>
            </a:lvl3pPr>
            <a:lvl4pPr marL="1230874" indent="-615437">
              <a:lnSpc>
                <a:spcPct val="155000"/>
              </a:lnSpc>
              <a:spcBef>
                <a:spcPts val="0"/>
              </a:spcBef>
              <a:buNone/>
              <a:tabLst>
                <a:tab pos="7739974" algn="r"/>
              </a:tabLst>
              <a:defRPr/>
            </a:lvl4pPr>
            <a:lvl5pPr marL="1230874" indent="-615437">
              <a:lnSpc>
                <a:spcPct val="155000"/>
              </a:lnSpc>
              <a:spcBef>
                <a:spcPts val="0"/>
              </a:spcBef>
              <a:buFont typeface="+mj-lt"/>
              <a:buAutoNum type="alphaUcPeriod"/>
              <a:tabLst>
                <a:tab pos="7739974" algn="r"/>
              </a:tabLst>
              <a:defRPr/>
            </a:lvl5pPr>
            <a:lvl6pPr marL="1846311" indent="-615437">
              <a:lnSpc>
                <a:spcPct val="155000"/>
              </a:lnSpc>
              <a:spcBef>
                <a:spcPts val="0"/>
              </a:spcBef>
              <a:buSzPct val="100000"/>
              <a:buFont typeface="+mj-lt"/>
              <a:buAutoNum type="romanLcPeriod"/>
              <a:tabLst>
                <a:tab pos="7739974" algn="r"/>
              </a:tabLst>
              <a:defRPr baseline="0"/>
            </a:lvl6pPr>
            <a:lvl7pPr marL="0" indent="0">
              <a:buNone/>
              <a:defRPr/>
            </a:lvl7pPr>
          </a:lstStyle>
          <a:p>
            <a:pPr lvl="0"/>
            <a:r>
              <a:rPr lang="en-US" dirty="0"/>
              <a:t>Primary Sections</a:t>
            </a:r>
          </a:p>
          <a:p>
            <a:pPr lvl="1"/>
            <a:r>
              <a:rPr lang="en-US" dirty="0"/>
              <a:t>Sub-Sections</a:t>
            </a:r>
          </a:p>
          <a:p>
            <a:pPr lvl="2"/>
            <a:r>
              <a:rPr lang="en-US" dirty="0"/>
              <a:t>Tertiary Sections</a:t>
            </a:r>
          </a:p>
          <a:p>
            <a:pPr lvl="6"/>
            <a:r>
              <a:rPr lang="en-US" dirty="0"/>
              <a:t>________________________________________________________________________________________</a:t>
            </a:r>
          </a:p>
          <a:p>
            <a:pPr lvl="3"/>
            <a:r>
              <a:rPr lang="en-US" dirty="0"/>
              <a:t>Appendices</a:t>
            </a:r>
          </a:p>
          <a:p>
            <a:pPr lvl="4"/>
            <a:r>
              <a:rPr lang="en-US" dirty="0"/>
              <a:t>Appendices Sections</a:t>
            </a:r>
          </a:p>
          <a:p>
            <a:pPr lvl="5"/>
            <a:r>
              <a:rPr lang="en-US" dirty="0"/>
              <a:t>Appendices Sub-Sections</a:t>
            </a:r>
          </a:p>
          <a:p>
            <a:pPr lvl="5"/>
            <a:endParaRPr lang="en-US" dirty="0"/>
          </a:p>
        </p:txBody>
      </p:sp>
    </p:spTree>
    <p:extLst>
      <p:ext uri="{BB962C8B-B14F-4D97-AF65-F5344CB8AC3E}">
        <p14:creationId xmlns:p14="http://schemas.microsoft.com/office/powerpoint/2010/main" val="95986195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5475" y="3766495"/>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5475" y="4260957"/>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255473" y="4631191"/>
            <a:ext cx="4416136" cy="411457"/>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pic>
        <p:nvPicPr>
          <p:cNvPr id="10" name="Picture 9"/>
          <p:cNvPicPr>
            <a:picLocks noChangeAspect="1" noChangeArrowheads="1"/>
          </p:cNvPicPr>
          <p:nvPr userDrawn="1"/>
        </p:nvPicPr>
        <p:blipFill>
          <a:blip r:embed="rId3" cstate="print"/>
          <a:srcRect/>
          <a:stretch>
            <a:fillRect/>
          </a:stretch>
        </p:blipFill>
        <p:spPr bwMode="auto">
          <a:xfrm>
            <a:off x="1016001" y="1562527"/>
            <a:ext cx="7571847" cy="1679831"/>
          </a:xfrm>
          <a:prstGeom prst="rect">
            <a:avLst/>
          </a:prstGeom>
          <a:noFill/>
          <a:ln w="9525">
            <a:noFill/>
            <a:miter lim="800000"/>
            <a:headEnd/>
            <a:tailEnd/>
          </a:ln>
          <a:effectLst/>
        </p:spPr>
      </p:pic>
      <p:grpSp>
        <p:nvGrpSpPr>
          <p:cNvPr id="2" name="Group 201"/>
          <p:cNvGrpSpPr>
            <a:grpSpLocks/>
          </p:cNvGrpSpPr>
          <p:nvPr userDrawn="1"/>
        </p:nvGrpSpPr>
        <p:grpSpPr bwMode="auto">
          <a:xfrm>
            <a:off x="1031834" y="1410020"/>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11"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4" name="BarclaysLogo" descr="Standard_Cover.bmp"/>
          <p:cNvPicPr>
            <a:picLocks noChangeAspect="1"/>
          </p:cNvPicPr>
          <p:nvPr userDrawn="1"/>
        </p:nvPicPr>
        <p:blipFill>
          <a:blip r:embed="rId4"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34188093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plhTitle"/>
          <p:cNvSpPr>
            <a:spLocks noGrp="1"/>
          </p:cNvSpPr>
          <p:nvPr>
            <p:ph type="title"/>
          </p:nvPr>
        </p:nvSpPr>
        <p:spPr>
          <a:xfrm>
            <a:off x="507998" y="337075"/>
            <a:ext cx="11176001" cy="470647"/>
          </a:xfrm>
        </p:spPr>
        <p:txBody>
          <a:bodyPr lIns="0" rIns="0"/>
          <a:lstStyle>
            <a:lvl1pPr>
              <a:defRPr sz="2400">
                <a:latin typeface="+mj-lt"/>
                <a:cs typeface="Calibri" pitchFamily="34" charset="0"/>
              </a:defRPr>
            </a:lvl1pPr>
          </a:lstStyle>
          <a:p>
            <a:r>
              <a:rPr lang="en-US" dirty="0"/>
              <a:t>Click to edit Master title style</a:t>
            </a:r>
          </a:p>
        </p:txBody>
      </p:sp>
      <p:sp>
        <p:nvSpPr>
          <p:cNvPr id="12" name="plhSubheader"/>
          <p:cNvSpPr>
            <a:spLocks noGrp="1"/>
          </p:cNvSpPr>
          <p:nvPr>
            <p:ph type="body" sz="quarter" idx="13" hasCustomPrompt="1"/>
          </p:nvPr>
        </p:nvSpPr>
        <p:spPr>
          <a:xfrm>
            <a:off x="508000" y="819150"/>
            <a:ext cx="11176001" cy="336176"/>
          </a:xfrm>
          <a:noFill/>
          <a:ln w="9525">
            <a:noFill/>
            <a:miter lim="800000"/>
            <a:headEnd/>
            <a:tailEnd/>
          </a:ln>
          <a:effectLst/>
        </p:spPr>
        <p:txBody>
          <a:bodyPr lIns="0" tIns="0" rIns="0" bIns="0"/>
          <a:lstStyle>
            <a:lvl1pPr marL="0" indent="0" algn="l" rtl="0" fontAlgn="base">
              <a:spcBef>
                <a:spcPct val="0"/>
              </a:spcBef>
              <a:spcAft>
                <a:spcPct val="0"/>
              </a:spcAft>
              <a:buNone/>
              <a:defRPr lang="en-US" sz="1400" b="1" kern="1200" dirty="0" smtClean="0">
                <a:solidFill>
                  <a:srgbClr val="7E8083"/>
                </a:solidFill>
                <a:latin typeface="+mj-lt"/>
                <a:ea typeface="+mn-ea"/>
                <a:cs typeface="Calibri" pitchFamily="34" charset="0"/>
              </a:defRPr>
            </a:lvl1pPr>
            <a:lvl2pPr algn="l" rtl="0" fontAlgn="base">
              <a:spcBef>
                <a:spcPct val="0"/>
              </a:spcBef>
              <a:spcAft>
                <a:spcPct val="0"/>
              </a:spcAft>
              <a:buNone/>
              <a:defRPr lang="en-US" sz="1400" b="1" kern="1200" dirty="0" smtClean="0">
                <a:solidFill>
                  <a:schemeClr val="tx1"/>
                </a:solidFill>
                <a:latin typeface="Arial" charset="0"/>
                <a:ea typeface="+mn-ea"/>
                <a:cs typeface="Arial" charset="0"/>
              </a:defRPr>
            </a:lvl2pPr>
            <a:lvl3pPr algn="l" rtl="0" fontAlgn="base">
              <a:spcBef>
                <a:spcPct val="0"/>
              </a:spcBef>
              <a:spcAft>
                <a:spcPct val="0"/>
              </a:spcAft>
              <a:buNone/>
              <a:defRPr lang="en-US" sz="1400" b="1" kern="1200" dirty="0" smtClean="0">
                <a:solidFill>
                  <a:schemeClr val="tx1"/>
                </a:solidFill>
                <a:latin typeface="Arial" charset="0"/>
                <a:ea typeface="+mn-ea"/>
                <a:cs typeface="Arial" charset="0"/>
              </a:defRPr>
            </a:lvl3pPr>
            <a:lvl4pPr algn="l" rtl="0" fontAlgn="base">
              <a:spcBef>
                <a:spcPct val="0"/>
              </a:spcBef>
              <a:spcAft>
                <a:spcPct val="0"/>
              </a:spcAft>
              <a:buNone/>
              <a:defRPr lang="en-US" sz="1400" b="1" kern="1200" dirty="0" smtClean="0">
                <a:solidFill>
                  <a:schemeClr val="tx1"/>
                </a:solidFill>
                <a:latin typeface="Arial" charset="0"/>
                <a:ea typeface="+mn-ea"/>
                <a:cs typeface="Arial" charset="0"/>
              </a:defRPr>
            </a:lvl4pPr>
            <a:lvl5pPr algn="l" rtl="0" fontAlgn="base">
              <a:spcBef>
                <a:spcPct val="0"/>
              </a:spcBef>
              <a:spcAft>
                <a:spcPct val="0"/>
              </a:spcAft>
              <a:buNone/>
              <a:defRPr lang="en-US" sz="1400" b="1" kern="1200" dirty="0">
                <a:solidFill>
                  <a:schemeClr val="tx1"/>
                </a:solidFill>
                <a:latin typeface="Arial" charset="0"/>
                <a:ea typeface="+mn-ea"/>
                <a:cs typeface="Arial" charset="0"/>
              </a:defRPr>
            </a:lvl5pPr>
          </a:lstStyle>
          <a:p>
            <a:pPr lvl="0"/>
            <a:r>
              <a:rPr lang="en-US" dirty="0"/>
              <a:t>Sub-Header: Enter your optional sub-heading here </a:t>
            </a:r>
          </a:p>
          <a:p>
            <a:pPr lvl="0"/>
            <a:endParaRPr lang="en-US" dirty="0"/>
          </a:p>
        </p:txBody>
      </p:sp>
      <p:sp>
        <p:nvSpPr>
          <p:cNvPr id="7" name="plhBody"/>
          <p:cNvSpPr>
            <a:spLocks noGrp="1"/>
          </p:cNvSpPr>
          <p:nvPr>
            <p:ph type="body" sz="quarter" idx="16"/>
          </p:nvPr>
        </p:nvSpPr>
        <p:spPr>
          <a:xfrm>
            <a:off x="508000" y="1333949"/>
            <a:ext cx="11176001" cy="4582758"/>
          </a:xfrm>
        </p:spPr>
        <p:txBody>
          <a:bodyPr/>
          <a:lstStyle>
            <a:lvl1pPr>
              <a:buClr>
                <a:schemeClr val="bg2"/>
              </a:buClr>
              <a:defRPr sz="1300">
                <a:latin typeface="+mn-lt"/>
                <a:cs typeface="Calibri" pitchFamily="34" charset="0"/>
              </a:defRPr>
            </a:lvl1pPr>
            <a:lvl2pPr>
              <a:buClr>
                <a:schemeClr val="bg2"/>
              </a:buClr>
              <a:defRPr sz="1300">
                <a:latin typeface="+mn-lt"/>
                <a:cs typeface="Calibri" pitchFamily="34" charset="0"/>
              </a:defRPr>
            </a:lvl2pPr>
            <a:lvl3pPr>
              <a:buClr>
                <a:schemeClr val="bg2"/>
              </a:buClr>
              <a:defRPr sz="1300">
                <a:latin typeface="+mn-lt"/>
                <a:cs typeface="Calibri" pitchFamily="34" charset="0"/>
              </a:defRPr>
            </a:lvl3pPr>
            <a:lvl4pPr>
              <a:buClr>
                <a:schemeClr val="bg2"/>
              </a:buClr>
              <a:defRPr sz="1300">
                <a:latin typeface="+mn-lt"/>
                <a:cs typeface="Calibri" pitchFamily="34" charset="0"/>
              </a:defRPr>
            </a:lvl4pPr>
            <a:lvl5pPr>
              <a:buClr>
                <a:schemeClr val="bg2"/>
              </a:buClr>
              <a:defRPr sz="1300">
                <a:latin typeface="+mn-lt"/>
                <a:cs typeface="Calibri" pitchFamily="34" charset="0"/>
              </a:defRPr>
            </a:lvl5pPr>
            <a:lvl6pPr>
              <a:defRPr/>
            </a:lvl6pPr>
            <a:lvl7pPr>
              <a:defRPr/>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7" name="Slide Number Placeholder 16"/>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7BC01EA4-3BC1-4101-9AC2-FD6B853D97D7}" type="slidenum">
              <a:rPr/>
              <a:pPr/>
              <a:t>‹#›</a:t>
            </a:fld>
            <a:endParaRPr/>
          </a:p>
        </p:txBody>
      </p:sp>
    </p:spTree>
    <p:extLst>
      <p:ext uri="{BB962C8B-B14F-4D97-AF65-F5344CB8AC3E}">
        <p14:creationId xmlns:p14="http://schemas.microsoft.com/office/powerpoint/2010/main" val="2409997826"/>
      </p:ext>
    </p:extLst>
  </p:cSld>
  <p:clrMapOvr>
    <a:masterClrMapping/>
  </p:clrMapOvr>
  <p:hf hdr="0" ftr="0" dt="0"/>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ab Slide">
    <p:spTree>
      <p:nvGrpSpPr>
        <p:cNvPr id="1" name=""/>
        <p:cNvGrpSpPr/>
        <p:nvPr/>
      </p:nvGrpSpPr>
      <p:grpSpPr>
        <a:xfrm>
          <a:off x="0" y="0"/>
          <a:ext cx="0" cy="0"/>
          <a:chOff x="0" y="0"/>
          <a:chExt cx="0" cy="0"/>
        </a:xfrm>
      </p:grpSpPr>
      <p:pic>
        <p:nvPicPr>
          <p:cNvPr id="7"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40000" contrast="-30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Tree>
    <p:extLst>
      <p:ext uri="{BB962C8B-B14F-4D97-AF65-F5344CB8AC3E}">
        <p14:creationId xmlns:p14="http://schemas.microsoft.com/office/powerpoint/2010/main" val="1024598024"/>
      </p:ext>
    </p:extLst>
  </p:cSld>
  <p:clrMapOvr>
    <a:masterClrMapping/>
  </p:clrMapOvr>
  <p:hf hdr="0" ftr="0" dt="0"/>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Sub Divider Slide">
    <p:spTree>
      <p:nvGrpSpPr>
        <p:cNvPr id="1" name=""/>
        <p:cNvGrpSpPr/>
        <p:nvPr/>
      </p:nvGrpSpPr>
      <p:grpSpPr>
        <a:xfrm>
          <a:off x="0" y="0"/>
          <a:ext cx="0" cy="0"/>
          <a:chOff x="0" y="0"/>
          <a:chExt cx="0" cy="0"/>
        </a:xfrm>
      </p:grpSpPr>
      <p:pic>
        <p:nvPicPr>
          <p:cNvPr id="6"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60000" contrast="-53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
        <p:nvSpPr>
          <p:cNvPr id="7"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5" name="Slide Number Placeholder 14"/>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E2ACF161-3639-4DB2-AA3B-4A41135AF63F}" type="slidenum">
              <a:rPr/>
              <a:pPr/>
              <a:t>‹#›</a:t>
            </a:fld>
            <a:endParaRPr/>
          </a:p>
        </p:txBody>
      </p:sp>
    </p:spTree>
    <p:extLst>
      <p:ext uri="{BB962C8B-B14F-4D97-AF65-F5344CB8AC3E}">
        <p14:creationId xmlns:p14="http://schemas.microsoft.com/office/powerpoint/2010/main" val="261997920"/>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lstStyle/>
          <a:p>
            <a:r>
              <a:rPr lang="en-US" dirty="0"/>
              <a:t>Click to edit Master title style</a:t>
            </a:r>
          </a:p>
        </p:txBody>
      </p:sp>
      <p:sp>
        <p:nvSpPr>
          <p:cNvPr id="4"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5"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6"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1" name="Slide Number Placeholder 10"/>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645EB43A-5775-4200-8846-86C8FD92F8B7}" type="slidenum">
              <a:rPr/>
              <a:pPr/>
              <a:t>‹#›</a:t>
            </a:fld>
            <a:endParaRPr/>
          </a:p>
        </p:txBody>
      </p:sp>
    </p:spTree>
    <p:extLst>
      <p:ext uri="{BB962C8B-B14F-4D97-AF65-F5344CB8AC3E}">
        <p14:creationId xmlns:p14="http://schemas.microsoft.com/office/powerpoint/2010/main" val="1761331482"/>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507488" y="2465776"/>
            <a:ext cx="6761019"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507489" y="2960238"/>
            <a:ext cx="6761019"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507488" y="4248374"/>
            <a:ext cx="4416136" cy="458096"/>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p:nvGrpSpPr>
        <p:grpSpPr bwMode="auto">
          <a:xfrm>
            <a:off x="1220321" y="1888191"/>
            <a:ext cx="7262091" cy="1984842"/>
            <a:chOff x="1288" y="1521"/>
            <a:chExt cx="3774"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353"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4" cstate="print"/>
          <a:stretch>
            <a:fillRect/>
          </a:stretch>
        </p:blipFill>
        <p:spPr>
          <a:xfrm>
            <a:off x="1108364" y="829236"/>
            <a:ext cx="2888896" cy="392621"/>
          </a:xfrm>
          <a:prstGeom prst="rect">
            <a:avLst/>
          </a:prstGeom>
        </p:spPr>
      </p:pic>
      <p:sp>
        <p:nvSpPr>
          <p:cNvPr id="10" name="ClientLogo" hidden="1"/>
          <p:cNvSpPr>
            <a:spLocks noChangeArrowheads="1"/>
          </p:cNvSpPr>
          <p:nvPr userDrawn="1">
            <p:custDataLst>
              <p:tags r:id="rId2"/>
            </p:custDataLst>
          </p:nvPr>
        </p:nvSpPr>
        <p:spPr bwMode="auto">
          <a:xfrm>
            <a:off x="8027873" y="892269"/>
            <a:ext cx="3325091" cy="806824"/>
          </a:xfrm>
          <a:prstGeom prst="rect">
            <a:avLst/>
          </a:prstGeom>
          <a:solidFill>
            <a:srgbClr val="FEDF87"/>
          </a:solidFill>
          <a:ln w="12700">
            <a:solidFill>
              <a:srgbClr val="FF0000"/>
            </a:solidFill>
            <a:prstDash val="solid"/>
            <a:miter lim="800000"/>
            <a:headEnd/>
            <a:tailEnd/>
          </a:ln>
          <a:effectLst/>
        </p:spPr>
        <p:txBody>
          <a:bodyPr wrap="square" lIns="0" tIns="49235" rIns="32823" bIns="0" anchor="t"/>
          <a:lstStyle/>
          <a:p>
            <a:pPr algn="ctr" fontAlgn="base">
              <a:spcBef>
                <a:spcPct val="0"/>
              </a:spcBef>
              <a:spcAft>
                <a:spcPct val="0"/>
              </a:spcAft>
            </a:pPr>
            <a:r>
              <a:rPr lang="en-US" sz="1100" b="1" dirty="0">
                <a:solidFill>
                  <a:srgbClr val="FF0000"/>
                </a:solidFill>
                <a:cs typeface="Arial" charset="0"/>
              </a:rPr>
              <a:t>PB Cover Logo Placeholder </a:t>
            </a:r>
            <a:br>
              <a:rPr lang="en-US" sz="1100" dirty="0">
                <a:solidFill>
                  <a:srgbClr val="FF0000"/>
                </a:solidFill>
                <a:cs typeface="Arial" charset="0"/>
              </a:rPr>
            </a:br>
            <a:r>
              <a:rPr lang="en-US" sz="1100" dirty="0">
                <a:solidFill>
                  <a:srgbClr val="FF0000"/>
                </a:solidFill>
                <a:cs typeface="Arial" charset="0"/>
              </a:rPr>
              <a:t>Delete this box if you see it on a slide, but DO NOT REMOVE this box from the slide layout. </a:t>
            </a:r>
          </a:p>
        </p:txBody>
      </p:sp>
    </p:spTree>
    <p:extLst>
      <p:ext uri="{BB962C8B-B14F-4D97-AF65-F5344CB8AC3E}">
        <p14:creationId xmlns:p14="http://schemas.microsoft.com/office/powerpoint/2010/main" val="3585501443"/>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2835" y="1989526"/>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2835" y="2483988"/>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a:t>Click to edit Master subtitle style</a:t>
            </a:r>
            <a:endParaRPr lang="en-US" dirty="0"/>
          </a:p>
        </p:txBody>
      </p:sp>
      <p:sp>
        <p:nvSpPr>
          <p:cNvPr id="12" name="Text Placeholder 11"/>
          <p:cNvSpPr>
            <a:spLocks noGrp="1"/>
          </p:cNvSpPr>
          <p:nvPr>
            <p:ph type="body" sz="quarter" idx="10" hasCustomPrompt="1"/>
          </p:nvPr>
        </p:nvSpPr>
        <p:spPr>
          <a:xfrm>
            <a:off x="1252833" y="3772125"/>
            <a:ext cx="4416136" cy="463699"/>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userDrawn="1"/>
        </p:nvGrpSpPr>
        <p:grpSpPr bwMode="auto">
          <a:xfrm>
            <a:off x="1029194" y="1411941"/>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3"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424265503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2" name="plhTOCTitle"/>
          <p:cNvSpPr>
            <a:spLocks noGrp="1"/>
          </p:cNvSpPr>
          <p:nvPr>
            <p:ph type="title"/>
          </p:nvPr>
        </p:nvSpPr>
        <p:spPr/>
        <p:txBody>
          <a:bodyPr/>
          <a:lstStyle/>
          <a:p>
            <a:r>
              <a:rPr lang="en-US"/>
              <a:t>Click to edit Master title style</a:t>
            </a:r>
            <a:endParaRPr lang="en-US" dirty="0"/>
          </a:p>
        </p:txBody>
      </p:sp>
      <p:sp>
        <p:nvSpPr>
          <p:cNvPr id="5" name="plhTOCBody"/>
          <p:cNvSpPr>
            <a:spLocks noGrp="1"/>
          </p:cNvSpPr>
          <p:nvPr>
            <p:ph type="body" sz="quarter" idx="10" hasCustomPrompt="1"/>
          </p:nvPr>
        </p:nvSpPr>
        <p:spPr/>
        <p:txBody>
          <a:bodyPr/>
          <a:lstStyle>
            <a:lvl1pPr marL="615437" indent="-615437">
              <a:lnSpc>
                <a:spcPct val="155000"/>
              </a:lnSpc>
              <a:spcBef>
                <a:spcPts val="0"/>
              </a:spcBef>
              <a:buFont typeface="+mj-lt"/>
              <a:buAutoNum type="arabicPeriod"/>
              <a:tabLst>
                <a:tab pos="7739974" algn="r"/>
              </a:tabLst>
              <a:defRPr/>
            </a:lvl1pPr>
            <a:lvl2pPr marL="1230874" indent="-615437">
              <a:lnSpc>
                <a:spcPct val="155000"/>
              </a:lnSpc>
              <a:spcBef>
                <a:spcPts val="0"/>
              </a:spcBef>
              <a:buSzPct val="100000"/>
              <a:buFont typeface="+mj-lt"/>
              <a:buAutoNum type="alphaUcPeriod"/>
              <a:tabLst>
                <a:tab pos="7739974" algn="r"/>
              </a:tabLst>
              <a:defRPr/>
            </a:lvl2pPr>
            <a:lvl3pPr marL="1846311" indent="-615437">
              <a:lnSpc>
                <a:spcPct val="155000"/>
              </a:lnSpc>
              <a:spcBef>
                <a:spcPts val="0"/>
              </a:spcBef>
              <a:buFont typeface="+mj-lt"/>
              <a:buAutoNum type="romanLcPeriod"/>
              <a:tabLst>
                <a:tab pos="7739974" algn="r"/>
              </a:tabLst>
              <a:defRPr baseline="0"/>
            </a:lvl3pPr>
            <a:lvl4pPr marL="1230874" indent="-615437">
              <a:lnSpc>
                <a:spcPct val="155000"/>
              </a:lnSpc>
              <a:spcBef>
                <a:spcPts val="0"/>
              </a:spcBef>
              <a:buNone/>
              <a:tabLst>
                <a:tab pos="7739974" algn="r"/>
              </a:tabLst>
              <a:defRPr/>
            </a:lvl4pPr>
            <a:lvl5pPr marL="1230874" indent="-615437">
              <a:lnSpc>
                <a:spcPct val="155000"/>
              </a:lnSpc>
              <a:spcBef>
                <a:spcPts val="0"/>
              </a:spcBef>
              <a:buFont typeface="+mj-lt"/>
              <a:buAutoNum type="alphaUcPeriod"/>
              <a:tabLst>
                <a:tab pos="7739974" algn="r"/>
              </a:tabLst>
              <a:defRPr/>
            </a:lvl5pPr>
            <a:lvl6pPr marL="1846311" indent="-615437">
              <a:lnSpc>
                <a:spcPct val="155000"/>
              </a:lnSpc>
              <a:spcBef>
                <a:spcPts val="0"/>
              </a:spcBef>
              <a:buSzPct val="100000"/>
              <a:buFont typeface="+mj-lt"/>
              <a:buAutoNum type="romanLcPeriod"/>
              <a:tabLst>
                <a:tab pos="7739974" algn="r"/>
              </a:tabLst>
              <a:defRPr baseline="0"/>
            </a:lvl6pPr>
            <a:lvl7pPr marL="0" indent="0">
              <a:buNone/>
              <a:defRPr/>
            </a:lvl7pPr>
          </a:lstStyle>
          <a:p>
            <a:pPr lvl="0"/>
            <a:r>
              <a:rPr lang="en-US" dirty="0"/>
              <a:t>Primary Sections</a:t>
            </a:r>
          </a:p>
          <a:p>
            <a:pPr lvl="1"/>
            <a:r>
              <a:rPr lang="en-US" dirty="0"/>
              <a:t>Sub-Sections</a:t>
            </a:r>
          </a:p>
          <a:p>
            <a:pPr lvl="2"/>
            <a:r>
              <a:rPr lang="en-US" dirty="0"/>
              <a:t>Tertiary Sections</a:t>
            </a:r>
          </a:p>
          <a:p>
            <a:pPr lvl="6"/>
            <a:r>
              <a:rPr lang="en-US" dirty="0"/>
              <a:t>________________________________________________________________________________________</a:t>
            </a:r>
          </a:p>
          <a:p>
            <a:pPr lvl="3"/>
            <a:r>
              <a:rPr lang="en-US" dirty="0"/>
              <a:t>Appendices</a:t>
            </a:r>
          </a:p>
          <a:p>
            <a:pPr lvl="4"/>
            <a:r>
              <a:rPr lang="en-US" dirty="0"/>
              <a:t>Appendices Sections</a:t>
            </a:r>
          </a:p>
          <a:p>
            <a:pPr lvl="5"/>
            <a:r>
              <a:rPr lang="en-US" dirty="0"/>
              <a:t>Appendices Sub-Sections</a:t>
            </a:r>
          </a:p>
          <a:p>
            <a:pPr lvl="5"/>
            <a:endParaRPr lang="en-US" dirty="0"/>
          </a:p>
        </p:txBody>
      </p:sp>
    </p:spTree>
    <p:extLst>
      <p:ext uri="{BB962C8B-B14F-4D97-AF65-F5344CB8AC3E}">
        <p14:creationId xmlns:p14="http://schemas.microsoft.com/office/powerpoint/2010/main" val="379324956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lstStyle/>
          <a:p>
            <a:r>
              <a:rPr lang="en-US" dirty="0"/>
              <a:t>Click to edit Master title style</a:t>
            </a:r>
          </a:p>
        </p:txBody>
      </p:sp>
      <p:sp>
        <p:nvSpPr>
          <p:cNvPr id="4"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5"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6"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1" name="Slide Number Placeholder 10"/>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645EB43A-5775-4200-8846-86C8FD92F8B7}" type="slidenum">
              <a:rPr/>
              <a:pPr/>
              <a:t>‹#›</a:t>
            </a:fld>
            <a:endParaRPr/>
          </a:p>
        </p:txBody>
      </p:sp>
    </p:spTree>
    <p:extLst>
      <p:ext uri="{BB962C8B-B14F-4D97-AF65-F5344CB8AC3E}">
        <p14:creationId xmlns:p14="http://schemas.microsoft.com/office/powerpoint/2010/main" val="183594810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5475" y="3766495"/>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5475" y="4260957"/>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255473" y="4631191"/>
            <a:ext cx="4416136" cy="411457"/>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pic>
        <p:nvPicPr>
          <p:cNvPr id="10" name="Picture 9"/>
          <p:cNvPicPr>
            <a:picLocks noChangeAspect="1" noChangeArrowheads="1"/>
          </p:cNvPicPr>
          <p:nvPr userDrawn="1"/>
        </p:nvPicPr>
        <p:blipFill>
          <a:blip r:embed="rId3" cstate="print"/>
          <a:srcRect/>
          <a:stretch>
            <a:fillRect/>
          </a:stretch>
        </p:blipFill>
        <p:spPr bwMode="auto">
          <a:xfrm>
            <a:off x="1016001" y="1562527"/>
            <a:ext cx="7571847" cy="1679831"/>
          </a:xfrm>
          <a:prstGeom prst="rect">
            <a:avLst/>
          </a:prstGeom>
          <a:noFill/>
          <a:ln w="9525">
            <a:noFill/>
            <a:miter lim="800000"/>
            <a:headEnd/>
            <a:tailEnd/>
          </a:ln>
          <a:effectLst/>
        </p:spPr>
      </p:pic>
      <p:grpSp>
        <p:nvGrpSpPr>
          <p:cNvPr id="2" name="Group 201"/>
          <p:cNvGrpSpPr>
            <a:grpSpLocks/>
          </p:cNvGrpSpPr>
          <p:nvPr userDrawn="1"/>
        </p:nvGrpSpPr>
        <p:grpSpPr bwMode="auto">
          <a:xfrm>
            <a:off x="1031834" y="1410020"/>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11"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4" name="BarclaysLogo" descr="Standard_Cover.bmp"/>
          <p:cNvPicPr>
            <a:picLocks noChangeAspect="1"/>
          </p:cNvPicPr>
          <p:nvPr userDrawn="1"/>
        </p:nvPicPr>
        <p:blipFill>
          <a:blip r:embed="rId4"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112582761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plhTitle"/>
          <p:cNvSpPr>
            <a:spLocks noGrp="1"/>
          </p:cNvSpPr>
          <p:nvPr>
            <p:ph type="title"/>
          </p:nvPr>
        </p:nvSpPr>
        <p:spPr>
          <a:xfrm>
            <a:off x="507998" y="337075"/>
            <a:ext cx="11176001" cy="470647"/>
          </a:xfrm>
        </p:spPr>
        <p:txBody>
          <a:bodyPr lIns="0" rIns="0"/>
          <a:lstStyle>
            <a:lvl1pPr>
              <a:defRPr sz="2400">
                <a:latin typeface="+mj-lt"/>
                <a:cs typeface="Calibri" pitchFamily="34" charset="0"/>
              </a:defRPr>
            </a:lvl1pPr>
          </a:lstStyle>
          <a:p>
            <a:r>
              <a:rPr lang="en-US" dirty="0"/>
              <a:t>Click to edit Master title style</a:t>
            </a:r>
          </a:p>
        </p:txBody>
      </p:sp>
      <p:sp>
        <p:nvSpPr>
          <p:cNvPr id="12" name="plhSubheader"/>
          <p:cNvSpPr>
            <a:spLocks noGrp="1"/>
          </p:cNvSpPr>
          <p:nvPr>
            <p:ph type="body" sz="quarter" idx="13" hasCustomPrompt="1"/>
          </p:nvPr>
        </p:nvSpPr>
        <p:spPr>
          <a:xfrm>
            <a:off x="508000" y="819150"/>
            <a:ext cx="11176001" cy="336176"/>
          </a:xfrm>
          <a:noFill/>
          <a:ln w="9525">
            <a:noFill/>
            <a:miter lim="800000"/>
            <a:headEnd/>
            <a:tailEnd/>
          </a:ln>
          <a:effectLst/>
        </p:spPr>
        <p:txBody>
          <a:bodyPr lIns="0" tIns="0" rIns="0" bIns="0"/>
          <a:lstStyle>
            <a:lvl1pPr marL="0" indent="0" algn="l" rtl="0" fontAlgn="base">
              <a:spcBef>
                <a:spcPct val="0"/>
              </a:spcBef>
              <a:spcAft>
                <a:spcPct val="0"/>
              </a:spcAft>
              <a:buNone/>
              <a:defRPr lang="en-US" sz="1400" b="1" kern="1200" dirty="0" smtClean="0">
                <a:solidFill>
                  <a:srgbClr val="7E8083"/>
                </a:solidFill>
                <a:latin typeface="+mj-lt"/>
                <a:ea typeface="+mn-ea"/>
                <a:cs typeface="Calibri" pitchFamily="34" charset="0"/>
              </a:defRPr>
            </a:lvl1pPr>
            <a:lvl2pPr algn="l" rtl="0" fontAlgn="base">
              <a:spcBef>
                <a:spcPct val="0"/>
              </a:spcBef>
              <a:spcAft>
                <a:spcPct val="0"/>
              </a:spcAft>
              <a:buNone/>
              <a:defRPr lang="en-US" sz="1400" b="1" kern="1200" dirty="0" smtClean="0">
                <a:solidFill>
                  <a:schemeClr val="tx1"/>
                </a:solidFill>
                <a:latin typeface="Arial" charset="0"/>
                <a:ea typeface="+mn-ea"/>
                <a:cs typeface="Arial" charset="0"/>
              </a:defRPr>
            </a:lvl2pPr>
            <a:lvl3pPr algn="l" rtl="0" fontAlgn="base">
              <a:spcBef>
                <a:spcPct val="0"/>
              </a:spcBef>
              <a:spcAft>
                <a:spcPct val="0"/>
              </a:spcAft>
              <a:buNone/>
              <a:defRPr lang="en-US" sz="1400" b="1" kern="1200" dirty="0" smtClean="0">
                <a:solidFill>
                  <a:schemeClr val="tx1"/>
                </a:solidFill>
                <a:latin typeface="Arial" charset="0"/>
                <a:ea typeface="+mn-ea"/>
                <a:cs typeface="Arial" charset="0"/>
              </a:defRPr>
            </a:lvl3pPr>
            <a:lvl4pPr algn="l" rtl="0" fontAlgn="base">
              <a:spcBef>
                <a:spcPct val="0"/>
              </a:spcBef>
              <a:spcAft>
                <a:spcPct val="0"/>
              </a:spcAft>
              <a:buNone/>
              <a:defRPr lang="en-US" sz="1400" b="1" kern="1200" dirty="0" smtClean="0">
                <a:solidFill>
                  <a:schemeClr val="tx1"/>
                </a:solidFill>
                <a:latin typeface="Arial" charset="0"/>
                <a:ea typeface="+mn-ea"/>
                <a:cs typeface="Arial" charset="0"/>
              </a:defRPr>
            </a:lvl4pPr>
            <a:lvl5pPr algn="l" rtl="0" fontAlgn="base">
              <a:spcBef>
                <a:spcPct val="0"/>
              </a:spcBef>
              <a:spcAft>
                <a:spcPct val="0"/>
              </a:spcAft>
              <a:buNone/>
              <a:defRPr lang="en-US" sz="1400" b="1" kern="1200" dirty="0">
                <a:solidFill>
                  <a:schemeClr val="tx1"/>
                </a:solidFill>
                <a:latin typeface="Arial" charset="0"/>
                <a:ea typeface="+mn-ea"/>
                <a:cs typeface="Arial" charset="0"/>
              </a:defRPr>
            </a:lvl5pPr>
          </a:lstStyle>
          <a:p>
            <a:pPr lvl="0"/>
            <a:r>
              <a:rPr lang="en-US" dirty="0"/>
              <a:t>Sub-Header: Enter your optional sub-heading here </a:t>
            </a:r>
          </a:p>
          <a:p>
            <a:pPr lvl="0"/>
            <a:endParaRPr lang="en-US" dirty="0"/>
          </a:p>
        </p:txBody>
      </p:sp>
      <p:sp>
        <p:nvSpPr>
          <p:cNvPr id="7" name="plhBody"/>
          <p:cNvSpPr>
            <a:spLocks noGrp="1"/>
          </p:cNvSpPr>
          <p:nvPr>
            <p:ph type="body" sz="quarter" idx="16"/>
          </p:nvPr>
        </p:nvSpPr>
        <p:spPr>
          <a:xfrm>
            <a:off x="508000" y="1333949"/>
            <a:ext cx="11176001" cy="4582758"/>
          </a:xfrm>
        </p:spPr>
        <p:txBody>
          <a:bodyPr/>
          <a:lstStyle>
            <a:lvl1pPr>
              <a:buClr>
                <a:schemeClr val="bg2"/>
              </a:buClr>
              <a:defRPr sz="1300">
                <a:latin typeface="+mn-lt"/>
                <a:cs typeface="Calibri" pitchFamily="34" charset="0"/>
              </a:defRPr>
            </a:lvl1pPr>
            <a:lvl2pPr>
              <a:buClr>
                <a:schemeClr val="bg2"/>
              </a:buClr>
              <a:defRPr sz="1300">
                <a:latin typeface="+mn-lt"/>
                <a:cs typeface="Calibri" pitchFamily="34" charset="0"/>
              </a:defRPr>
            </a:lvl2pPr>
            <a:lvl3pPr>
              <a:buClr>
                <a:schemeClr val="bg2"/>
              </a:buClr>
              <a:defRPr sz="1300">
                <a:latin typeface="+mn-lt"/>
                <a:cs typeface="Calibri" pitchFamily="34" charset="0"/>
              </a:defRPr>
            </a:lvl3pPr>
            <a:lvl4pPr>
              <a:buClr>
                <a:schemeClr val="bg2"/>
              </a:buClr>
              <a:defRPr sz="1300">
                <a:latin typeface="+mn-lt"/>
                <a:cs typeface="Calibri" pitchFamily="34" charset="0"/>
              </a:defRPr>
            </a:lvl4pPr>
            <a:lvl5pPr>
              <a:buClr>
                <a:schemeClr val="bg2"/>
              </a:buClr>
              <a:defRPr sz="1300">
                <a:latin typeface="+mn-lt"/>
                <a:cs typeface="Calibri" pitchFamily="34" charset="0"/>
              </a:defRPr>
            </a:lvl5pPr>
            <a:lvl6pPr>
              <a:defRPr/>
            </a:lvl6pPr>
            <a:lvl7pPr>
              <a:defRPr/>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7" name="Slide Number Placeholder 16"/>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7BC01EA4-3BC1-4101-9AC2-FD6B853D97D7}" type="slidenum">
              <a:rPr/>
              <a:pPr/>
              <a:t>‹#›</a:t>
            </a:fld>
            <a:endParaRPr/>
          </a:p>
        </p:txBody>
      </p:sp>
    </p:spTree>
    <p:extLst>
      <p:ext uri="{BB962C8B-B14F-4D97-AF65-F5344CB8AC3E}">
        <p14:creationId xmlns:p14="http://schemas.microsoft.com/office/powerpoint/2010/main" val="2760239413"/>
      </p:ext>
    </p:extLst>
  </p:cSld>
  <p:clrMapOvr>
    <a:masterClrMapping/>
  </p:clrMapOvr>
  <p:hf hdr="0" ftr="0" dt="0"/>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ab Slide">
    <p:spTree>
      <p:nvGrpSpPr>
        <p:cNvPr id="1" name=""/>
        <p:cNvGrpSpPr/>
        <p:nvPr/>
      </p:nvGrpSpPr>
      <p:grpSpPr>
        <a:xfrm>
          <a:off x="0" y="0"/>
          <a:ext cx="0" cy="0"/>
          <a:chOff x="0" y="0"/>
          <a:chExt cx="0" cy="0"/>
        </a:xfrm>
      </p:grpSpPr>
      <p:pic>
        <p:nvPicPr>
          <p:cNvPr id="7"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40000" contrast="-30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Tree>
    <p:extLst>
      <p:ext uri="{BB962C8B-B14F-4D97-AF65-F5344CB8AC3E}">
        <p14:creationId xmlns:p14="http://schemas.microsoft.com/office/powerpoint/2010/main" val="415632831"/>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Sub Divider Slide">
    <p:spTree>
      <p:nvGrpSpPr>
        <p:cNvPr id="1" name=""/>
        <p:cNvGrpSpPr/>
        <p:nvPr/>
      </p:nvGrpSpPr>
      <p:grpSpPr>
        <a:xfrm>
          <a:off x="0" y="0"/>
          <a:ext cx="0" cy="0"/>
          <a:chOff x="0" y="0"/>
          <a:chExt cx="0" cy="0"/>
        </a:xfrm>
      </p:grpSpPr>
      <p:pic>
        <p:nvPicPr>
          <p:cNvPr id="6"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60000" contrast="-53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
        <p:nvSpPr>
          <p:cNvPr id="7"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5" name="Slide Number Placeholder 14"/>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E2ACF161-3639-4DB2-AA3B-4A41135AF63F}" type="slidenum">
              <a:rPr/>
              <a:pPr/>
              <a:t>‹#›</a:t>
            </a:fld>
            <a:endParaRPr/>
          </a:p>
        </p:txBody>
      </p:sp>
    </p:spTree>
    <p:extLst>
      <p:ext uri="{BB962C8B-B14F-4D97-AF65-F5344CB8AC3E}">
        <p14:creationId xmlns:p14="http://schemas.microsoft.com/office/powerpoint/2010/main" val="1757723357"/>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lstStyle/>
          <a:p>
            <a:r>
              <a:rPr lang="en-US" dirty="0"/>
              <a:t>Click to edit Master title style</a:t>
            </a:r>
          </a:p>
        </p:txBody>
      </p:sp>
      <p:sp>
        <p:nvSpPr>
          <p:cNvPr id="4"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5"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6"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1" name="Slide Number Placeholder 10"/>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645EB43A-5775-4200-8846-86C8FD92F8B7}" type="slidenum">
              <a:rPr/>
              <a:pPr/>
              <a:t>‹#›</a:t>
            </a:fld>
            <a:endParaRPr/>
          </a:p>
        </p:txBody>
      </p:sp>
    </p:spTree>
    <p:extLst>
      <p:ext uri="{BB962C8B-B14F-4D97-AF65-F5344CB8AC3E}">
        <p14:creationId xmlns:p14="http://schemas.microsoft.com/office/powerpoint/2010/main" val="3780692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507488" y="2465776"/>
            <a:ext cx="6761019"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507489" y="2960238"/>
            <a:ext cx="6761019"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507488" y="4248374"/>
            <a:ext cx="4416136" cy="458096"/>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p:nvGrpSpPr>
        <p:grpSpPr bwMode="auto">
          <a:xfrm>
            <a:off x="1220321" y="1888191"/>
            <a:ext cx="7262091" cy="1984842"/>
            <a:chOff x="1288" y="1521"/>
            <a:chExt cx="3774"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353"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4" cstate="print"/>
          <a:stretch>
            <a:fillRect/>
          </a:stretch>
        </p:blipFill>
        <p:spPr>
          <a:xfrm>
            <a:off x="1108364" y="829236"/>
            <a:ext cx="2888896" cy="392621"/>
          </a:xfrm>
          <a:prstGeom prst="rect">
            <a:avLst/>
          </a:prstGeom>
        </p:spPr>
      </p:pic>
      <p:sp>
        <p:nvSpPr>
          <p:cNvPr id="10" name="ClientLogo" hidden="1"/>
          <p:cNvSpPr>
            <a:spLocks noChangeArrowheads="1"/>
          </p:cNvSpPr>
          <p:nvPr userDrawn="1">
            <p:custDataLst>
              <p:tags r:id="rId2"/>
            </p:custDataLst>
          </p:nvPr>
        </p:nvSpPr>
        <p:spPr bwMode="auto">
          <a:xfrm>
            <a:off x="8027873" y="892269"/>
            <a:ext cx="3325091" cy="806824"/>
          </a:xfrm>
          <a:prstGeom prst="rect">
            <a:avLst/>
          </a:prstGeom>
          <a:solidFill>
            <a:srgbClr val="FEDF87"/>
          </a:solidFill>
          <a:ln w="12700">
            <a:solidFill>
              <a:srgbClr val="FF0000"/>
            </a:solidFill>
            <a:prstDash val="solid"/>
            <a:miter lim="800000"/>
            <a:headEnd/>
            <a:tailEnd/>
          </a:ln>
          <a:effectLst/>
        </p:spPr>
        <p:txBody>
          <a:bodyPr wrap="square" lIns="0" tIns="49235" rIns="32823" bIns="0" anchor="t"/>
          <a:lstStyle/>
          <a:p>
            <a:pPr algn="ctr" fontAlgn="base">
              <a:spcBef>
                <a:spcPct val="0"/>
              </a:spcBef>
              <a:spcAft>
                <a:spcPct val="0"/>
              </a:spcAft>
            </a:pPr>
            <a:r>
              <a:rPr lang="en-US" sz="1100" b="1" dirty="0">
                <a:solidFill>
                  <a:srgbClr val="FF0000"/>
                </a:solidFill>
                <a:cs typeface="Arial" charset="0"/>
              </a:rPr>
              <a:t>PB Cover Logo Placeholder </a:t>
            </a:r>
            <a:br>
              <a:rPr lang="en-US" sz="1100" dirty="0">
                <a:solidFill>
                  <a:srgbClr val="FF0000"/>
                </a:solidFill>
                <a:cs typeface="Arial" charset="0"/>
              </a:rPr>
            </a:br>
            <a:r>
              <a:rPr lang="en-US" sz="1100" dirty="0">
                <a:solidFill>
                  <a:srgbClr val="FF0000"/>
                </a:solidFill>
                <a:cs typeface="Arial" charset="0"/>
              </a:rPr>
              <a:t>Delete this box if you see it on a slide, but DO NOT REMOVE this box from the slide layout. </a:t>
            </a:r>
          </a:p>
        </p:txBody>
      </p:sp>
    </p:spTree>
    <p:extLst>
      <p:ext uri="{BB962C8B-B14F-4D97-AF65-F5344CB8AC3E}">
        <p14:creationId xmlns:p14="http://schemas.microsoft.com/office/powerpoint/2010/main" val="188105078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2835" y="1989526"/>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2835" y="2483988"/>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a:t>Click to edit Master subtitle style</a:t>
            </a:r>
            <a:endParaRPr lang="en-US" dirty="0"/>
          </a:p>
        </p:txBody>
      </p:sp>
      <p:sp>
        <p:nvSpPr>
          <p:cNvPr id="12" name="Text Placeholder 11"/>
          <p:cNvSpPr>
            <a:spLocks noGrp="1"/>
          </p:cNvSpPr>
          <p:nvPr>
            <p:ph type="body" sz="quarter" idx="10" hasCustomPrompt="1"/>
          </p:nvPr>
        </p:nvSpPr>
        <p:spPr>
          <a:xfrm>
            <a:off x="1252833" y="3772125"/>
            <a:ext cx="4416136" cy="463699"/>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userDrawn="1"/>
        </p:nvGrpSpPr>
        <p:grpSpPr bwMode="auto">
          <a:xfrm>
            <a:off x="1029194" y="1411941"/>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3"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38299965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2" name="plhTOCTitle"/>
          <p:cNvSpPr>
            <a:spLocks noGrp="1"/>
          </p:cNvSpPr>
          <p:nvPr>
            <p:ph type="title"/>
          </p:nvPr>
        </p:nvSpPr>
        <p:spPr/>
        <p:txBody>
          <a:bodyPr/>
          <a:lstStyle/>
          <a:p>
            <a:r>
              <a:rPr lang="en-US"/>
              <a:t>Click to edit Master title style</a:t>
            </a:r>
            <a:endParaRPr lang="en-US" dirty="0"/>
          </a:p>
        </p:txBody>
      </p:sp>
      <p:sp>
        <p:nvSpPr>
          <p:cNvPr id="5" name="plhTOCBody"/>
          <p:cNvSpPr>
            <a:spLocks noGrp="1"/>
          </p:cNvSpPr>
          <p:nvPr>
            <p:ph type="body" sz="quarter" idx="10" hasCustomPrompt="1"/>
          </p:nvPr>
        </p:nvSpPr>
        <p:spPr/>
        <p:txBody>
          <a:bodyPr/>
          <a:lstStyle>
            <a:lvl1pPr marL="615437" indent="-615437">
              <a:lnSpc>
                <a:spcPct val="155000"/>
              </a:lnSpc>
              <a:spcBef>
                <a:spcPts val="0"/>
              </a:spcBef>
              <a:buFont typeface="+mj-lt"/>
              <a:buAutoNum type="arabicPeriod"/>
              <a:tabLst>
                <a:tab pos="7739974" algn="r"/>
              </a:tabLst>
              <a:defRPr/>
            </a:lvl1pPr>
            <a:lvl2pPr marL="1230874" indent="-615437">
              <a:lnSpc>
                <a:spcPct val="155000"/>
              </a:lnSpc>
              <a:spcBef>
                <a:spcPts val="0"/>
              </a:spcBef>
              <a:buSzPct val="100000"/>
              <a:buFont typeface="+mj-lt"/>
              <a:buAutoNum type="alphaUcPeriod"/>
              <a:tabLst>
                <a:tab pos="7739974" algn="r"/>
              </a:tabLst>
              <a:defRPr/>
            </a:lvl2pPr>
            <a:lvl3pPr marL="1846311" indent="-615437">
              <a:lnSpc>
                <a:spcPct val="155000"/>
              </a:lnSpc>
              <a:spcBef>
                <a:spcPts val="0"/>
              </a:spcBef>
              <a:buFont typeface="+mj-lt"/>
              <a:buAutoNum type="romanLcPeriod"/>
              <a:tabLst>
                <a:tab pos="7739974" algn="r"/>
              </a:tabLst>
              <a:defRPr baseline="0"/>
            </a:lvl3pPr>
            <a:lvl4pPr marL="1230874" indent="-615437">
              <a:lnSpc>
                <a:spcPct val="155000"/>
              </a:lnSpc>
              <a:spcBef>
                <a:spcPts val="0"/>
              </a:spcBef>
              <a:buNone/>
              <a:tabLst>
                <a:tab pos="7739974" algn="r"/>
              </a:tabLst>
              <a:defRPr/>
            </a:lvl4pPr>
            <a:lvl5pPr marL="1230874" indent="-615437">
              <a:lnSpc>
                <a:spcPct val="155000"/>
              </a:lnSpc>
              <a:spcBef>
                <a:spcPts val="0"/>
              </a:spcBef>
              <a:buFont typeface="+mj-lt"/>
              <a:buAutoNum type="alphaUcPeriod"/>
              <a:tabLst>
                <a:tab pos="7739974" algn="r"/>
              </a:tabLst>
              <a:defRPr/>
            </a:lvl5pPr>
            <a:lvl6pPr marL="1846311" indent="-615437">
              <a:lnSpc>
                <a:spcPct val="155000"/>
              </a:lnSpc>
              <a:spcBef>
                <a:spcPts val="0"/>
              </a:spcBef>
              <a:buSzPct val="100000"/>
              <a:buFont typeface="+mj-lt"/>
              <a:buAutoNum type="romanLcPeriod"/>
              <a:tabLst>
                <a:tab pos="7739974" algn="r"/>
              </a:tabLst>
              <a:defRPr baseline="0"/>
            </a:lvl6pPr>
            <a:lvl7pPr marL="0" indent="0">
              <a:buNone/>
              <a:defRPr/>
            </a:lvl7pPr>
          </a:lstStyle>
          <a:p>
            <a:pPr lvl="0"/>
            <a:r>
              <a:rPr lang="en-US" dirty="0"/>
              <a:t>Primary Sections</a:t>
            </a:r>
          </a:p>
          <a:p>
            <a:pPr lvl="1"/>
            <a:r>
              <a:rPr lang="en-US" dirty="0"/>
              <a:t>Sub-Sections</a:t>
            </a:r>
          </a:p>
          <a:p>
            <a:pPr lvl="2"/>
            <a:r>
              <a:rPr lang="en-US" dirty="0"/>
              <a:t>Tertiary Sections</a:t>
            </a:r>
          </a:p>
          <a:p>
            <a:pPr lvl="6"/>
            <a:r>
              <a:rPr lang="en-US" dirty="0"/>
              <a:t>________________________________________________________________________________________</a:t>
            </a:r>
          </a:p>
          <a:p>
            <a:pPr lvl="3"/>
            <a:r>
              <a:rPr lang="en-US" dirty="0"/>
              <a:t>Appendices</a:t>
            </a:r>
          </a:p>
          <a:p>
            <a:pPr lvl="4"/>
            <a:r>
              <a:rPr lang="en-US" dirty="0"/>
              <a:t>Appendices Sections</a:t>
            </a:r>
          </a:p>
          <a:p>
            <a:pPr lvl="5"/>
            <a:r>
              <a:rPr lang="en-US" dirty="0"/>
              <a:t>Appendices Sub-Sections</a:t>
            </a:r>
          </a:p>
          <a:p>
            <a:pPr lvl="5"/>
            <a:endParaRPr lang="en-US" dirty="0"/>
          </a:p>
        </p:txBody>
      </p:sp>
    </p:spTree>
    <p:extLst>
      <p:ext uri="{BB962C8B-B14F-4D97-AF65-F5344CB8AC3E}">
        <p14:creationId xmlns:p14="http://schemas.microsoft.com/office/powerpoint/2010/main" val="21696804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5475" y="3766495"/>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5475" y="4260957"/>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255473" y="4631191"/>
            <a:ext cx="4416136" cy="411457"/>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pic>
        <p:nvPicPr>
          <p:cNvPr id="10" name="Picture 9"/>
          <p:cNvPicPr>
            <a:picLocks noChangeAspect="1" noChangeArrowheads="1"/>
          </p:cNvPicPr>
          <p:nvPr userDrawn="1"/>
        </p:nvPicPr>
        <p:blipFill>
          <a:blip r:embed="rId3" cstate="print"/>
          <a:srcRect/>
          <a:stretch>
            <a:fillRect/>
          </a:stretch>
        </p:blipFill>
        <p:spPr bwMode="auto">
          <a:xfrm>
            <a:off x="1016001" y="1562527"/>
            <a:ext cx="7571847" cy="1679831"/>
          </a:xfrm>
          <a:prstGeom prst="rect">
            <a:avLst/>
          </a:prstGeom>
          <a:noFill/>
          <a:ln w="9525">
            <a:noFill/>
            <a:miter lim="800000"/>
            <a:headEnd/>
            <a:tailEnd/>
          </a:ln>
          <a:effectLst/>
        </p:spPr>
      </p:pic>
      <p:grpSp>
        <p:nvGrpSpPr>
          <p:cNvPr id="2" name="Group 201"/>
          <p:cNvGrpSpPr>
            <a:grpSpLocks/>
          </p:cNvGrpSpPr>
          <p:nvPr userDrawn="1"/>
        </p:nvGrpSpPr>
        <p:grpSpPr bwMode="auto">
          <a:xfrm>
            <a:off x="1031834" y="1410020"/>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11"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4" name="BarclaysLogo" descr="Standard_Cover.bmp"/>
          <p:cNvPicPr>
            <a:picLocks noChangeAspect="1"/>
          </p:cNvPicPr>
          <p:nvPr userDrawn="1"/>
        </p:nvPicPr>
        <p:blipFill>
          <a:blip r:embed="rId4"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212789014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plhTitle"/>
          <p:cNvSpPr>
            <a:spLocks noGrp="1"/>
          </p:cNvSpPr>
          <p:nvPr>
            <p:ph type="title"/>
          </p:nvPr>
        </p:nvSpPr>
        <p:spPr>
          <a:xfrm>
            <a:off x="507998" y="337075"/>
            <a:ext cx="11176001" cy="470647"/>
          </a:xfrm>
        </p:spPr>
        <p:txBody>
          <a:bodyPr lIns="0" rIns="0"/>
          <a:lstStyle>
            <a:lvl1pPr>
              <a:defRPr sz="2400">
                <a:latin typeface="+mj-lt"/>
                <a:cs typeface="Calibri" pitchFamily="34" charset="0"/>
              </a:defRPr>
            </a:lvl1pPr>
          </a:lstStyle>
          <a:p>
            <a:r>
              <a:rPr lang="en-US" dirty="0"/>
              <a:t>Click to edit Master title style</a:t>
            </a:r>
          </a:p>
        </p:txBody>
      </p:sp>
      <p:sp>
        <p:nvSpPr>
          <p:cNvPr id="12" name="plhSubheader"/>
          <p:cNvSpPr>
            <a:spLocks noGrp="1"/>
          </p:cNvSpPr>
          <p:nvPr>
            <p:ph type="body" sz="quarter" idx="13" hasCustomPrompt="1"/>
          </p:nvPr>
        </p:nvSpPr>
        <p:spPr>
          <a:xfrm>
            <a:off x="508000" y="819150"/>
            <a:ext cx="11176001" cy="336176"/>
          </a:xfrm>
          <a:noFill/>
          <a:ln w="9525">
            <a:noFill/>
            <a:miter lim="800000"/>
            <a:headEnd/>
            <a:tailEnd/>
          </a:ln>
          <a:effectLst/>
        </p:spPr>
        <p:txBody>
          <a:bodyPr lIns="0" tIns="0" rIns="0" bIns="0"/>
          <a:lstStyle>
            <a:lvl1pPr marL="0" indent="0" algn="l" rtl="0" fontAlgn="base">
              <a:spcBef>
                <a:spcPct val="0"/>
              </a:spcBef>
              <a:spcAft>
                <a:spcPct val="0"/>
              </a:spcAft>
              <a:buNone/>
              <a:defRPr lang="en-US" sz="1400" b="1" kern="1200" dirty="0" smtClean="0">
                <a:solidFill>
                  <a:srgbClr val="7E8083"/>
                </a:solidFill>
                <a:latin typeface="+mj-lt"/>
                <a:ea typeface="+mn-ea"/>
                <a:cs typeface="Calibri" pitchFamily="34" charset="0"/>
              </a:defRPr>
            </a:lvl1pPr>
            <a:lvl2pPr algn="l" rtl="0" fontAlgn="base">
              <a:spcBef>
                <a:spcPct val="0"/>
              </a:spcBef>
              <a:spcAft>
                <a:spcPct val="0"/>
              </a:spcAft>
              <a:buNone/>
              <a:defRPr lang="en-US" sz="1400" b="1" kern="1200" dirty="0" smtClean="0">
                <a:solidFill>
                  <a:schemeClr val="tx1"/>
                </a:solidFill>
                <a:latin typeface="Arial" charset="0"/>
                <a:ea typeface="+mn-ea"/>
                <a:cs typeface="Arial" charset="0"/>
              </a:defRPr>
            </a:lvl2pPr>
            <a:lvl3pPr algn="l" rtl="0" fontAlgn="base">
              <a:spcBef>
                <a:spcPct val="0"/>
              </a:spcBef>
              <a:spcAft>
                <a:spcPct val="0"/>
              </a:spcAft>
              <a:buNone/>
              <a:defRPr lang="en-US" sz="1400" b="1" kern="1200" dirty="0" smtClean="0">
                <a:solidFill>
                  <a:schemeClr val="tx1"/>
                </a:solidFill>
                <a:latin typeface="Arial" charset="0"/>
                <a:ea typeface="+mn-ea"/>
                <a:cs typeface="Arial" charset="0"/>
              </a:defRPr>
            </a:lvl3pPr>
            <a:lvl4pPr algn="l" rtl="0" fontAlgn="base">
              <a:spcBef>
                <a:spcPct val="0"/>
              </a:spcBef>
              <a:spcAft>
                <a:spcPct val="0"/>
              </a:spcAft>
              <a:buNone/>
              <a:defRPr lang="en-US" sz="1400" b="1" kern="1200" dirty="0" smtClean="0">
                <a:solidFill>
                  <a:schemeClr val="tx1"/>
                </a:solidFill>
                <a:latin typeface="Arial" charset="0"/>
                <a:ea typeface="+mn-ea"/>
                <a:cs typeface="Arial" charset="0"/>
              </a:defRPr>
            </a:lvl4pPr>
            <a:lvl5pPr algn="l" rtl="0" fontAlgn="base">
              <a:spcBef>
                <a:spcPct val="0"/>
              </a:spcBef>
              <a:spcAft>
                <a:spcPct val="0"/>
              </a:spcAft>
              <a:buNone/>
              <a:defRPr lang="en-US" sz="1400" b="1" kern="1200" dirty="0">
                <a:solidFill>
                  <a:schemeClr val="tx1"/>
                </a:solidFill>
                <a:latin typeface="Arial" charset="0"/>
                <a:ea typeface="+mn-ea"/>
                <a:cs typeface="Arial" charset="0"/>
              </a:defRPr>
            </a:lvl5pPr>
          </a:lstStyle>
          <a:p>
            <a:pPr lvl="0"/>
            <a:r>
              <a:rPr lang="en-US" dirty="0"/>
              <a:t>Sub-Header: Enter your optional sub-heading here </a:t>
            </a:r>
          </a:p>
          <a:p>
            <a:pPr lvl="0"/>
            <a:endParaRPr lang="en-US" dirty="0"/>
          </a:p>
        </p:txBody>
      </p:sp>
      <p:sp>
        <p:nvSpPr>
          <p:cNvPr id="7" name="plhBody"/>
          <p:cNvSpPr>
            <a:spLocks noGrp="1"/>
          </p:cNvSpPr>
          <p:nvPr>
            <p:ph type="body" sz="quarter" idx="16"/>
          </p:nvPr>
        </p:nvSpPr>
        <p:spPr>
          <a:xfrm>
            <a:off x="508000" y="1333949"/>
            <a:ext cx="11176001" cy="4582758"/>
          </a:xfrm>
        </p:spPr>
        <p:txBody>
          <a:bodyPr/>
          <a:lstStyle>
            <a:lvl1pPr>
              <a:buClr>
                <a:schemeClr val="bg2"/>
              </a:buClr>
              <a:defRPr sz="1300">
                <a:latin typeface="+mn-lt"/>
                <a:cs typeface="Calibri" pitchFamily="34" charset="0"/>
              </a:defRPr>
            </a:lvl1pPr>
            <a:lvl2pPr>
              <a:buClr>
                <a:schemeClr val="bg2"/>
              </a:buClr>
              <a:defRPr sz="1300">
                <a:latin typeface="+mn-lt"/>
                <a:cs typeface="Calibri" pitchFamily="34" charset="0"/>
              </a:defRPr>
            </a:lvl2pPr>
            <a:lvl3pPr>
              <a:buClr>
                <a:schemeClr val="bg2"/>
              </a:buClr>
              <a:defRPr sz="1300">
                <a:latin typeface="+mn-lt"/>
                <a:cs typeface="Calibri" pitchFamily="34" charset="0"/>
              </a:defRPr>
            </a:lvl3pPr>
            <a:lvl4pPr>
              <a:buClr>
                <a:schemeClr val="bg2"/>
              </a:buClr>
              <a:defRPr sz="1300">
                <a:latin typeface="+mn-lt"/>
                <a:cs typeface="Calibri" pitchFamily="34" charset="0"/>
              </a:defRPr>
            </a:lvl4pPr>
            <a:lvl5pPr>
              <a:buClr>
                <a:schemeClr val="bg2"/>
              </a:buClr>
              <a:defRPr sz="1300">
                <a:latin typeface="+mn-lt"/>
                <a:cs typeface="Calibri" pitchFamily="34" charset="0"/>
              </a:defRPr>
            </a:lvl5pPr>
            <a:lvl6pPr>
              <a:defRPr/>
            </a:lvl6pPr>
            <a:lvl7pPr>
              <a:defRPr/>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7" name="Slide Number Placeholder 16"/>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7BC01EA4-3BC1-4101-9AC2-FD6B853D97D7}" type="slidenum">
              <a:rPr/>
              <a:pPr/>
              <a:t>‹#›</a:t>
            </a:fld>
            <a:endParaRPr/>
          </a:p>
        </p:txBody>
      </p:sp>
    </p:spTree>
    <p:extLst>
      <p:ext uri="{BB962C8B-B14F-4D97-AF65-F5344CB8AC3E}">
        <p14:creationId xmlns:p14="http://schemas.microsoft.com/office/powerpoint/2010/main" val="1700978534"/>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507488" y="2465776"/>
            <a:ext cx="6761019"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507489" y="2960238"/>
            <a:ext cx="6761019"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507488" y="4248374"/>
            <a:ext cx="4416136" cy="458096"/>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p:nvGrpSpPr>
        <p:grpSpPr bwMode="auto">
          <a:xfrm>
            <a:off x="1220321" y="1888191"/>
            <a:ext cx="7262091" cy="1984842"/>
            <a:chOff x="1288" y="1521"/>
            <a:chExt cx="3774"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353"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4" cstate="print"/>
          <a:stretch>
            <a:fillRect/>
          </a:stretch>
        </p:blipFill>
        <p:spPr>
          <a:xfrm>
            <a:off x="1108364" y="829236"/>
            <a:ext cx="2888896" cy="392621"/>
          </a:xfrm>
          <a:prstGeom prst="rect">
            <a:avLst/>
          </a:prstGeom>
        </p:spPr>
      </p:pic>
      <p:sp>
        <p:nvSpPr>
          <p:cNvPr id="10" name="ClientLogo" hidden="1"/>
          <p:cNvSpPr>
            <a:spLocks noChangeArrowheads="1"/>
          </p:cNvSpPr>
          <p:nvPr userDrawn="1">
            <p:custDataLst>
              <p:tags r:id="rId2"/>
            </p:custDataLst>
          </p:nvPr>
        </p:nvSpPr>
        <p:spPr bwMode="auto">
          <a:xfrm>
            <a:off x="8027873" y="892269"/>
            <a:ext cx="3325091" cy="806824"/>
          </a:xfrm>
          <a:prstGeom prst="rect">
            <a:avLst/>
          </a:prstGeom>
          <a:solidFill>
            <a:srgbClr val="FEDF87"/>
          </a:solidFill>
          <a:ln w="12700">
            <a:solidFill>
              <a:srgbClr val="FF0000"/>
            </a:solidFill>
            <a:prstDash val="solid"/>
            <a:miter lim="800000"/>
            <a:headEnd/>
            <a:tailEnd/>
          </a:ln>
          <a:effectLst/>
        </p:spPr>
        <p:txBody>
          <a:bodyPr wrap="square" lIns="0" tIns="49235" rIns="32823" bIns="0" anchor="t"/>
          <a:lstStyle/>
          <a:p>
            <a:pPr algn="ctr" fontAlgn="base">
              <a:spcBef>
                <a:spcPct val="0"/>
              </a:spcBef>
              <a:spcAft>
                <a:spcPct val="0"/>
              </a:spcAft>
            </a:pPr>
            <a:r>
              <a:rPr lang="en-US" sz="1100" b="1" dirty="0">
                <a:solidFill>
                  <a:srgbClr val="FF0000"/>
                </a:solidFill>
                <a:cs typeface="Arial" charset="0"/>
              </a:rPr>
              <a:t>PB Cover Logo Placeholder </a:t>
            </a:r>
            <a:br>
              <a:rPr lang="en-US" sz="1100" dirty="0">
                <a:solidFill>
                  <a:srgbClr val="FF0000"/>
                </a:solidFill>
                <a:cs typeface="Arial" charset="0"/>
              </a:rPr>
            </a:br>
            <a:r>
              <a:rPr lang="en-US" sz="1100" dirty="0">
                <a:solidFill>
                  <a:srgbClr val="FF0000"/>
                </a:solidFill>
                <a:cs typeface="Arial" charset="0"/>
              </a:rPr>
              <a:t>Delete this box if you see it on a slide, but DO NOT REMOVE this box from the slide layout. </a:t>
            </a:r>
          </a:p>
        </p:txBody>
      </p:sp>
    </p:spTree>
    <p:extLst>
      <p:ext uri="{BB962C8B-B14F-4D97-AF65-F5344CB8AC3E}">
        <p14:creationId xmlns:p14="http://schemas.microsoft.com/office/powerpoint/2010/main" val="1921104092"/>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p:cSld name="Tab Slide">
    <p:spTree>
      <p:nvGrpSpPr>
        <p:cNvPr id="1" name=""/>
        <p:cNvGrpSpPr/>
        <p:nvPr/>
      </p:nvGrpSpPr>
      <p:grpSpPr>
        <a:xfrm>
          <a:off x="0" y="0"/>
          <a:ext cx="0" cy="0"/>
          <a:chOff x="0" y="0"/>
          <a:chExt cx="0" cy="0"/>
        </a:xfrm>
      </p:grpSpPr>
      <p:pic>
        <p:nvPicPr>
          <p:cNvPr id="7"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40000" contrast="-30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Tree>
    <p:extLst>
      <p:ext uri="{BB962C8B-B14F-4D97-AF65-F5344CB8AC3E}">
        <p14:creationId xmlns:p14="http://schemas.microsoft.com/office/powerpoint/2010/main" val="1771496006"/>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Sub Divider Slide">
    <p:spTree>
      <p:nvGrpSpPr>
        <p:cNvPr id="1" name=""/>
        <p:cNvGrpSpPr/>
        <p:nvPr/>
      </p:nvGrpSpPr>
      <p:grpSpPr>
        <a:xfrm>
          <a:off x="0" y="0"/>
          <a:ext cx="0" cy="0"/>
          <a:chOff x="0" y="0"/>
          <a:chExt cx="0" cy="0"/>
        </a:xfrm>
      </p:grpSpPr>
      <p:pic>
        <p:nvPicPr>
          <p:cNvPr id="6"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60000" contrast="-53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
        <p:nvSpPr>
          <p:cNvPr id="7"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5" name="Slide Number Placeholder 14"/>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E2ACF161-3639-4DB2-AA3B-4A41135AF63F}" type="slidenum">
              <a:rPr/>
              <a:pPr/>
              <a:t>‹#›</a:t>
            </a:fld>
            <a:endParaRPr/>
          </a:p>
        </p:txBody>
      </p:sp>
    </p:spTree>
    <p:extLst>
      <p:ext uri="{BB962C8B-B14F-4D97-AF65-F5344CB8AC3E}">
        <p14:creationId xmlns:p14="http://schemas.microsoft.com/office/powerpoint/2010/main" val="1893739234"/>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lstStyle/>
          <a:p>
            <a:r>
              <a:rPr lang="en-US" dirty="0"/>
              <a:t>Click to edit Master title style</a:t>
            </a:r>
          </a:p>
        </p:txBody>
      </p:sp>
      <p:sp>
        <p:nvSpPr>
          <p:cNvPr id="4"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5"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6"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1" name="Slide Number Placeholder 10"/>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645EB43A-5775-4200-8846-86C8FD92F8B7}" type="slidenum">
              <a:rPr/>
              <a:pPr/>
              <a:t>‹#›</a:t>
            </a:fld>
            <a:endParaRPr/>
          </a:p>
        </p:txBody>
      </p:sp>
    </p:spTree>
    <p:extLst>
      <p:ext uri="{BB962C8B-B14F-4D97-AF65-F5344CB8AC3E}">
        <p14:creationId xmlns:p14="http://schemas.microsoft.com/office/powerpoint/2010/main" val="343057453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507488" y="2465776"/>
            <a:ext cx="6761019"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507489" y="2960238"/>
            <a:ext cx="6761019"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507488" y="4248374"/>
            <a:ext cx="4416136" cy="458096"/>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p:nvGrpSpPr>
        <p:grpSpPr bwMode="auto">
          <a:xfrm>
            <a:off x="1220321" y="1888191"/>
            <a:ext cx="7262091" cy="1984842"/>
            <a:chOff x="1288" y="1521"/>
            <a:chExt cx="3774"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353"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4" cstate="print"/>
          <a:stretch>
            <a:fillRect/>
          </a:stretch>
        </p:blipFill>
        <p:spPr>
          <a:xfrm>
            <a:off x="1108364" y="829236"/>
            <a:ext cx="2888896" cy="392621"/>
          </a:xfrm>
          <a:prstGeom prst="rect">
            <a:avLst/>
          </a:prstGeom>
        </p:spPr>
      </p:pic>
      <p:sp>
        <p:nvSpPr>
          <p:cNvPr id="10" name="ClientLogo" hidden="1"/>
          <p:cNvSpPr>
            <a:spLocks noChangeArrowheads="1"/>
          </p:cNvSpPr>
          <p:nvPr userDrawn="1">
            <p:custDataLst>
              <p:tags r:id="rId2"/>
            </p:custDataLst>
          </p:nvPr>
        </p:nvSpPr>
        <p:spPr bwMode="auto">
          <a:xfrm>
            <a:off x="8027873" y="892269"/>
            <a:ext cx="3325091" cy="806824"/>
          </a:xfrm>
          <a:prstGeom prst="rect">
            <a:avLst/>
          </a:prstGeom>
          <a:solidFill>
            <a:srgbClr val="FEDF87"/>
          </a:solidFill>
          <a:ln w="12700">
            <a:solidFill>
              <a:srgbClr val="FF0000"/>
            </a:solidFill>
            <a:prstDash val="solid"/>
            <a:miter lim="800000"/>
            <a:headEnd/>
            <a:tailEnd/>
          </a:ln>
          <a:effectLst/>
        </p:spPr>
        <p:txBody>
          <a:bodyPr wrap="square" lIns="0" tIns="49235" rIns="32823" bIns="0" anchor="t"/>
          <a:lstStyle/>
          <a:p>
            <a:pPr algn="ctr" fontAlgn="base">
              <a:spcBef>
                <a:spcPct val="0"/>
              </a:spcBef>
              <a:spcAft>
                <a:spcPct val="0"/>
              </a:spcAft>
            </a:pPr>
            <a:r>
              <a:rPr lang="en-US" sz="1100" b="1" dirty="0">
                <a:solidFill>
                  <a:srgbClr val="FF0000"/>
                </a:solidFill>
                <a:cs typeface="Arial" charset="0"/>
              </a:rPr>
              <a:t>PB Cover Logo Placeholder </a:t>
            </a:r>
            <a:br>
              <a:rPr lang="en-US" sz="1100" dirty="0">
                <a:solidFill>
                  <a:srgbClr val="FF0000"/>
                </a:solidFill>
                <a:cs typeface="Arial" charset="0"/>
              </a:rPr>
            </a:br>
            <a:r>
              <a:rPr lang="en-US" sz="1100" dirty="0">
                <a:solidFill>
                  <a:srgbClr val="FF0000"/>
                </a:solidFill>
                <a:cs typeface="Arial" charset="0"/>
              </a:rPr>
              <a:t>Delete this box if you see it on a slide, but DO NOT REMOVE this box from the slide layout. </a:t>
            </a:r>
          </a:p>
        </p:txBody>
      </p:sp>
    </p:spTree>
    <p:extLst>
      <p:ext uri="{BB962C8B-B14F-4D97-AF65-F5344CB8AC3E}">
        <p14:creationId xmlns:p14="http://schemas.microsoft.com/office/powerpoint/2010/main" val="395488981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2835" y="1989526"/>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2835" y="2483988"/>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a:t>Click to edit Master subtitle style</a:t>
            </a:r>
            <a:endParaRPr lang="en-US" dirty="0"/>
          </a:p>
        </p:txBody>
      </p:sp>
      <p:sp>
        <p:nvSpPr>
          <p:cNvPr id="12" name="Text Placeholder 11"/>
          <p:cNvSpPr>
            <a:spLocks noGrp="1"/>
          </p:cNvSpPr>
          <p:nvPr>
            <p:ph type="body" sz="quarter" idx="10" hasCustomPrompt="1"/>
          </p:nvPr>
        </p:nvSpPr>
        <p:spPr>
          <a:xfrm>
            <a:off x="1252833" y="3772125"/>
            <a:ext cx="4416136" cy="463699"/>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userDrawn="1"/>
        </p:nvGrpSpPr>
        <p:grpSpPr bwMode="auto">
          <a:xfrm>
            <a:off x="1029194" y="1411941"/>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3"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2293892846"/>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2" name="plhTOCTitle"/>
          <p:cNvSpPr>
            <a:spLocks noGrp="1"/>
          </p:cNvSpPr>
          <p:nvPr>
            <p:ph type="title"/>
          </p:nvPr>
        </p:nvSpPr>
        <p:spPr/>
        <p:txBody>
          <a:bodyPr/>
          <a:lstStyle/>
          <a:p>
            <a:r>
              <a:rPr lang="en-US"/>
              <a:t>Click to edit Master title style</a:t>
            </a:r>
            <a:endParaRPr lang="en-US" dirty="0"/>
          </a:p>
        </p:txBody>
      </p:sp>
      <p:sp>
        <p:nvSpPr>
          <p:cNvPr id="5" name="plhTOCBody"/>
          <p:cNvSpPr>
            <a:spLocks noGrp="1"/>
          </p:cNvSpPr>
          <p:nvPr>
            <p:ph type="body" sz="quarter" idx="10" hasCustomPrompt="1"/>
          </p:nvPr>
        </p:nvSpPr>
        <p:spPr/>
        <p:txBody>
          <a:bodyPr/>
          <a:lstStyle>
            <a:lvl1pPr marL="615437" indent="-615437">
              <a:lnSpc>
                <a:spcPct val="155000"/>
              </a:lnSpc>
              <a:spcBef>
                <a:spcPts val="0"/>
              </a:spcBef>
              <a:buFont typeface="+mj-lt"/>
              <a:buAutoNum type="arabicPeriod"/>
              <a:tabLst>
                <a:tab pos="7739974" algn="r"/>
              </a:tabLst>
              <a:defRPr/>
            </a:lvl1pPr>
            <a:lvl2pPr marL="1230874" indent="-615437">
              <a:lnSpc>
                <a:spcPct val="155000"/>
              </a:lnSpc>
              <a:spcBef>
                <a:spcPts val="0"/>
              </a:spcBef>
              <a:buSzPct val="100000"/>
              <a:buFont typeface="+mj-lt"/>
              <a:buAutoNum type="alphaUcPeriod"/>
              <a:tabLst>
                <a:tab pos="7739974" algn="r"/>
              </a:tabLst>
              <a:defRPr/>
            </a:lvl2pPr>
            <a:lvl3pPr marL="1846311" indent="-615437">
              <a:lnSpc>
                <a:spcPct val="155000"/>
              </a:lnSpc>
              <a:spcBef>
                <a:spcPts val="0"/>
              </a:spcBef>
              <a:buFont typeface="+mj-lt"/>
              <a:buAutoNum type="romanLcPeriod"/>
              <a:tabLst>
                <a:tab pos="7739974" algn="r"/>
              </a:tabLst>
              <a:defRPr baseline="0"/>
            </a:lvl3pPr>
            <a:lvl4pPr marL="1230874" indent="-615437">
              <a:lnSpc>
                <a:spcPct val="155000"/>
              </a:lnSpc>
              <a:spcBef>
                <a:spcPts val="0"/>
              </a:spcBef>
              <a:buNone/>
              <a:tabLst>
                <a:tab pos="7739974" algn="r"/>
              </a:tabLst>
              <a:defRPr/>
            </a:lvl4pPr>
            <a:lvl5pPr marL="1230874" indent="-615437">
              <a:lnSpc>
                <a:spcPct val="155000"/>
              </a:lnSpc>
              <a:spcBef>
                <a:spcPts val="0"/>
              </a:spcBef>
              <a:buFont typeface="+mj-lt"/>
              <a:buAutoNum type="alphaUcPeriod"/>
              <a:tabLst>
                <a:tab pos="7739974" algn="r"/>
              </a:tabLst>
              <a:defRPr/>
            </a:lvl5pPr>
            <a:lvl6pPr marL="1846311" indent="-615437">
              <a:lnSpc>
                <a:spcPct val="155000"/>
              </a:lnSpc>
              <a:spcBef>
                <a:spcPts val="0"/>
              </a:spcBef>
              <a:buSzPct val="100000"/>
              <a:buFont typeface="+mj-lt"/>
              <a:buAutoNum type="romanLcPeriod"/>
              <a:tabLst>
                <a:tab pos="7739974" algn="r"/>
              </a:tabLst>
              <a:defRPr baseline="0"/>
            </a:lvl6pPr>
            <a:lvl7pPr marL="0" indent="0">
              <a:buNone/>
              <a:defRPr/>
            </a:lvl7pPr>
          </a:lstStyle>
          <a:p>
            <a:pPr lvl="0"/>
            <a:r>
              <a:rPr lang="en-US" dirty="0"/>
              <a:t>Primary Sections</a:t>
            </a:r>
          </a:p>
          <a:p>
            <a:pPr lvl="1"/>
            <a:r>
              <a:rPr lang="en-US" dirty="0"/>
              <a:t>Sub-Sections</a:t>
            </a:r>
          </a:p>
          <a:p>
            <a:pPr lvl="2"/>
            <a:r>
              <a:rPr lang="en-US" dirty="0"/>
              <a:t>Tertiary Sections</a:t>
            </a:r>
          </a:p>
          <a:p>
            <a:pPr lvl="6"/>
            <a:r>
              <a:rPr lang="en-US" dirty="0"/>
              <a:t>________________________________________________________________________________________</a:t>
            </a:r>
          </a:p>
          <a:p>
            <a:pPr lvl="3"/>
            <a:r>
              <a:rPr lang="en-US" dirty="0"/>
              <a:t>Appendices</a:t>
            </a:r>
          </a:p>
          <a:p>
            <a:pPr lvl="4"/>
            <a:r>
              <a:rPr lang="en-US" dirty="0"/>
              <a:t>Appendices Sections</a:t>
            </a:r>
          </a:p>
          <a:p>
            <a:pPr lvl="5"/>
            <a:r>
              <a:rPr lang="en-US" dirty="0"/>
              <a:t>Appendices Sub-Sections</a:t>
            </a:r>
          </a:p>
          <a:p>
            <a:pPr lvl="5"/>
            <a:endParaRPr lang="en-US" dirty="0"/>
          </a:p>
        </p:txBody>
      </p:sp>
    </p:spTree>
    <p:extLst>
      <p:ext uri="{BB962C8B-B14F-4D97-AF65-F5344CB8AC3E}">
        <p14:creationId xmlns:p14="http://schemas.microsoft.com/office/powerpoint/2010/main" val="2819725225"/>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5475" y="3766495"/>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5475" y="4260957"/>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255473" y="4631191"/>
            <a:ext cx="4416136" cy="411457"/>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pic>
        <p:nvPicPr>
          <p:cNvPr id="10" name="Picture 9"/>
          <p:cNvPicPr>
            <a:picLocks noChangeAspect="1" noChangeArrowheads="1"/>
          </p:cNvPicPr>
          <p:nvPr userDrawn="1"/>
        </p:nvPicPr>
        <p:blipFill>
          <a:blip r:embed="rId3" cstate="print"/>
          <a:srcRect/>
          <a:stretch>
            <a:fillRect/>
          </a:stretch>
        </p:blipFill>
        <p:spPr bwMode="auto">
          <a:xfrm>
            <a:off x="1016001" y="1562527"/>
            <a:ext cx="7571847" cy="1679831"/>
          </a:xfrm>
          <a:prstGeom prst="rect">
            <a:avLst/>
          </a:prstGeom>
          <a:noFill/>
          <a:ln w="9525">
            <a:noFill/>
            <a:miter lim="800000"/>
            <a:headEnd/>
            <a:tailEnd/>
          </a:ln>
          <a:effectLst/>
        </p:spPr>
      </p:pic>
      <p:grpSp>
        <p:nvGrpSpPr>
          <p:cNvPr id="2" name="Group 201"/>
          <p:cNvGrpSpPr>
            <a:grpSpLocks/>
          </p:cNvGrpSpPr>
          <p:nvPr userDrawn="1"/>
        </p:nvGrpSpPr>
        <p:grpSpPr bwMode="auto">
          <a:xfrm>
            <a:off x="1031834" y="1410020"/>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11"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4" name="BarclaysLogo" descr="Standard_Cover.bmp"/>
          <p:cNvPicPr>
            <a:picLocks noChangeAspect="1"/>
          </p:cNvPicPr>
          <p:nvPr userDrawn="1"/>
        </p:nvPicPr>
        <p:blipFill>
          <a:blip r:embed="rId4"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410842194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plhTitle"/>
          <p:cNvSpPr>
            <a:spLocks noGrp="1"/>
          </p:cNvSpPr>
          <p:nvPr>
            <p:ph type="title"/>
          </p:nvPr>
        </p:nvSpPr>
        <p:spPr>
          <a:xfrm>
            <a:off x="507998" y="337075"/>
            <a:ext cx="11176001" cy="470647"/>
          </a:xfrm>
        </p:spPr>
        <p:txBody>
          <a:bodyPr lIns="0" rIns="0"/>
          <a:lstStyle>
            <a:lvl1pPr>
              <a:defRPr sz="2400">
                <a:latin typeface="+mj-lt"/>
                <a:cs typeface="Calibri" pitchFamily="34" charset="0"/>
              </a:defRPr>
            </a:lvl1pPr>
          </a:lstStyle>
          <a:p>
            <a:r>
              <a:rPr lang="en-US" dirty="0"/>
              <a:t>Click to edit Master title style</a:t>
            </a:r>
          </a:p>
        </p:txBody>
      </p:sp>
      <p:sp>
        <p:nvSpPr>
          <p:cNvPr id="12" name="plhSubheader"/>
          <p:cNvSpPr>
            <a:spLocks noGrp="1"/>
          </p:cNvSpPr>
          <p:nvPr>
            <p:ph type="body" sz="quarter" idx="13" hasCustomPrompt="1"/>
          </p:nvPr>
        </p:nvSpPr>
        <p:spPr>
          <a:xfrm>
            <a:off x="508000" y="819150"/>
            <a:ext cx="11176001" cy="336176"/>
          </a:xfrm>
          <a:noFill/>
          <a:ln w="9525">
            <a:noFill/>
            <a:miter lim="800000"/>
            <a:headEnd/>
            <a:tailEnd/>
          </a:ln>
          <a:effectLst/>
        </p:spPr>
        <p:txBody>
          <a:bodyPr lIns="0" tIns="0" rIns="0" bIns="0"/>
          <a:lstStyle>
            <a:lvl1pPr marL="0" indent="0" algn="l" rtl="0" fontAlgn="base">
              <a:spcBef>
                <a:spcPct val="0"/>
              </a:spcBef>
              <a:spcAft>
                <a:spcPct val="0"/>
              </a:spcAft>
              <a:buNone/>
              <a:defRPr lang="en-US" sz="1400" b="1" kern="1200" dirty="0" smtClean="0">
                <a:solidFill>
                  <a:srgbClr val="7E8083"/>
                </a:solidFill>
                <a:latin typeface="+mj-lt"/>
                <a:ea typeface="+mn-ea"/>
                <a:cs typeface="Calibri" pitchFamily="34" charset="0"/>
              </a:defRPr>
            </a:lvl1pPr>
            <a:lvl2pPr algn="l" rtl="0" fontAlgn="base">
              <a:spcBef>
                <a:spcPct val="0"/>
              </a:spcBef>
              <a:spcAft>
                <a:spcPct val="0"/>
              </a:spcAft>
              <a:buNone/>
              <a:defRPr lang="en-US" sz="1400" b="1" kern="1200" dirty="0" smtClean="0">
                <a:solidFill>
                  <a:schemeClr val="tx1"/>
                </a:solidFill>
                <a:latin typeface="Arial" charset="0"/>
                <a:ea typeface="+mn-ea"/>
                <a:cs typeface="Arial" charset="0"/>
              </a:defRPr>
            </a:lvl2pPr>
            <a:lvl3pPr algn="l" rtl="0" fontAlgn="base">
              <a:spcBef>
                <a:spcPct val="0"/>
              </a:spcBef>
              <a:spcAft>
                <a:spcPct val="0"/>
              </a:spcAft>
              <a:buNone/>
              <a:defRPr lang="en-US" sz="1400" b="1" kern="1200" dirty="0" smtClean="0">
                <a:solidFill>
                  <a:schemeClr val="tx1"/>
                </a:solidFill>
                <a:latin typeface="Arial" charset="0"/>
                <a:ea typeface="+mn-ea"/>
                <a:cs typeface="Arial" charset="0"/>
              </a:defRPr>
            </a:lvl3pPr>
            <a:lvl4pPr algn="l" rtl="0" fontAlgn="base">
              <a:spcBef>
                <a:spcPct val="0"/>
              </a:spcBef>
              <a:spcAft>
                <a:spcPct val="0"/>
              </a:spcAft>
              <a:buNone/>
              <a:defRPr lang="en-US" sz="1400" b="1" kern="1200" dirty="0" smtClean="0">
                <a:solidFill>
                  <a:schemeClr val="tx1"/>
                </a:solidFill>
                <a:latin typeface="Arial" charset="0"/>
                <a:ea typeface="+mn-ea"/>
                <a:cs typeface="Arial" charset="0"/>
              </a:defRPr>
            </a:lvl4pPr>
            <a:lvl5pPr algn="l" rtl="0" fontAlgn="base">
              <a:spcBef>
                <a:spcPct val="0"/>
              </a:spcBef>
              <a:spcAft>
                <a:spcPct val="0"/>
              </a:spcAft>
              <a:buNone/>
              <a:defRPr lang="en-US" sz="1400" b="1" kern="1200" dirty="0">
                <a:solidFill>
                  <a:schemeClr val="tx1"/>
                </a:solidFill>
                <a:latin typeface="Arial" charset="0"/>
                <a:ea typeface="+mn-ea"/>
                <a:cs typeface="Arial" charset="0"/>
              </a:defRPr>
            </a:lvl5pPr>
          </a:lstStyle>
          <a:p>
            <a:pPr lvl="0"/>
            <a:r>
              <a:rPr lang="en-US" dirty="0"/>
              <a:t>Sub-Header: Enter your optional sub-heading here </a:t>
            </a:r>
          </a:p>
          <a:p>
            <a:pPr lvl="0"/>
            <a:endParaRPr lang="en-US" dirty="0"/>
          </a:p>
        </p:txBody>
      </p:sp>
      <p:sp>
        <p:nvSpPr>
          <p:cNvPr id="7" name="plhBody"/>
          <p:cNvSpPr>
            <a:spLocks noGrp="1"/>
          </p:cNvSpPr>
          <p:nvPr>
            <p:ph type="body" sz="quarter" idx="16"/>
          </p:nvPr>
        </p:nvSpPr>
        <p:spPr>
          <a:xfrm>
            <a:off x="508000" y="1333949"/>
            <a:ext cx="11176001" cy="4582758"/>
          </a:xfrm>
        </p:spPr>
        <p:txBody>
          <a:bodyPr/>
          <a:lstStyle>
            <a:lvl1pPr>
              <a:buClr>
                <a:schemeClr val="bg2"/>
              </a:buClr>
              <a:defRPr sz="1300">
                <a:latin typeface="+mn-lt"/>
                <a:cs typeface="Calibri" pitchFamily="34" charset="0"/>
              </a:defRPr>
            </a:lvl1pPr>
            <a:lvl2pPr>
              <a:buClr>
                <a:schemeClr val="bg2"/>
              </a:buClr>
              <a:defRPr sz="1300">
                <a:latin typeface="+mn-lt"/>
                <a:cs typeface="Calibri" pitchFamily="34" charset="0"/>
              </a:defRPr>
            </a:lvl2pPr>
            <a:lvl3pPr>
              <a:buClr>
                <a:schemeClr val="bg2"/>
              </a:buClr>
              <a:defRPr sz="1300">
                <a:latin typeface="+mn-lt"/>
                <a:cs typeface="Calibri" pitchFamily="34" charset="0"/>
              </a:defRPr>
            </a:lvl3pPr>
            <a:lvl4pPr>
              <a:buClr>
                <a:schemeClr val="bg2"/>
              </a:buClr>
              <a:defRPr sz="1300">
                <a:latin typeface="+mn-lt"/>
                <a:cs typeface="Calibri" pitchFamily="34" charset="0"/>
              </a:defRPr>
            </a:lvl4pPr>
            <a:lvl5pPr>
              <a:buClr>
                <a:schemeClr val="bg2"/>
              </a:buClr>
              <a:defRPr sz="1300">
                <a:latin typeface="+mn-lt"/>
                <a:cs typeface="Calibri" pitchFamily="34" charset="0"/>
              </a:defRPr>
            </a:lvl5pPr>
            <a:lvl6pPr>
              <a:defRPr/>
            </a:lvl6pPr>
            <a:lvl7pPr>
              <a:defRPr/>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7" name="Slide Number Placeholder 16"/>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7BC01EA4-3BC1-4101-9AC2-FD6B853D97D7}" type="slidenum">
              <a:rPr/>
              <a:pPr/>
              <a:t>‹#›</a:t>
            </a:fld>
            <a:endParaRPr/>
          </a:p>
        </p:txBody>
      </p:sp>
    </p:spTree>
    <p:extLst>
      <p:ext uri="{BB962C8B-B14F-4D97-AF65-F5344CB8AC3E}">
        <p14:creationId xmlns:p14="http://schemas.microsoft.com/office/powerpoint/2010/main" val="4140840595"/>
      </p:ext>
    </p:extLst>
  </p:cSld>
  <p:clrMapOvr>
    <a:masterClrMapping/>
  </p:clrMapOvr>
  <p:hf hdr="0" ftr="0" dt="0"/>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p:cSld name="Tab Slide">
    <p:spTree>
      <p:nvGrpSpPr>
        <p:cNvPr id="1" name=""/>
        <p:cNvGrpSpPr/>
        <p:nvPr/>
      </p:nvGrpSpPr>
      <p:grpSpPr>
        <a:xfrm>
          <a:off x="0" y="0"/>
          <a:ext cx="0" cy="0"/>
          <a:chOff x="0" y="0"/>
          <a:chExt cx="0" cy="0"/>
        </a:xfrm>
      </p:grpSpPr>
      <p:pic>
        <p:nvPicPr>
          <p:cNvPr id="7"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40000" contrast="-30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Tree>
    <p:extLst>
      <p:ext uri="{BB962C8B-B14F-4D97-AF65-F5344CB8AC3E}">
        <p14:creationId xmlns:p14="http://schemas.microsoft.com/office/powerpoint/2010/main" val="4194046636"/>
      </p:ext>
    </p:extLst>
  </p:cSld>
  <p:clrMapOvr>
    <a:masterClrMapping/>
  </p:clrMapOvr>
  <p:hf hdr="0" ftr="0" dt="0"/>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Sub Divider Slide">
    <p:spTree>
      <p:nvGrpSpPr>
        <p:cNvPr id="1" name=""/>
        <p:cNvGrpSpPr/>
        <p:nvPr/>
      </p:nvGrpSpPr>
      <p:grpSpPr>
        <a:xfrm>
          <a:off x="0" y="0"/>
          <a:ext cx="0" cy="0"/>
          <a:chOff x="0" y="0"/>
          <a:chExt cx="0" cy="0"/>
        </a:xfrm>
      </p:grpSpPr>
      <p:pic>
        <p:nvPicPr>
          <p:cNvPr id="6"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60000" contrast="-53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
        <p:nvSpPr>
          <p:cNvPr id="7"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5" name="Slide Number Placeholder 14"/>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E2ACF161-3639-4DB2-AA3B-4A41135AF63F}" type="slidenum">
              <a:rPr/>
              <a:pPr/>
              <a:t>‹#›</a:t>
            </a:fld>
            <a:endParaRPr/>
          </a:p>
        </p:txBody>
      </p:sp>
    </p:spTree>
    <p:extLst>
      <p:ext uri="{BB962C8B-B14F-4D97-AF65-F5344CB8AC3E}">
        <p14:creationId xmlns:p14="http://schemas.microsoft.com/office/powerpoint/2010/main" val="3052002973"/>
      </p:ext>
    </p:extLst>
  </p:cSld>
  <p:clrMapOvr>
    <a:masterClrMapping/>
  </p:clrMapOvr>
  <p:hf hdr="0" ft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2835" y="1989526"/>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2835" y="2483988"/>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a:t>Click to edit Master subtitle style</a:t>
            </a:r>
            <a:endParaRPr lang="en-US" dirty="0"/>
          </a:p>
        </p:txBody>
      </p:sp>
      <p:sp>
        <p:nvSpPr>
          <p:cNvPr id="12" name="Text Placeholder 11"/>
          <p:cNvSpPr>
            <a:spLocks noGrp="1"/>
          </p:cNvSpPr>
          <p:nvPr>
            <p:ph type="body" sz="quarter" idx="10" hasCustomPrompt="1"/>
          </p:nvPr>
        </p:nvSpPr>
        <p:spPr>
          <a:xfrm>
            <a:off x="1252833" y="3772125"/>
            <a:ext cx="4416136" cy="463699"/>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userDrawn="1"/>
        </p:nvGrpSpPr>
        <p:grpSpPr bwMode="auto">
          <a:xfrm>
            <a:off x="1029194" y="1411941"/>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3"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4264691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lstStyle/>
          <a:p>
            <a:r>
              <a:rPr lang="en-US" dirty="0"/>
              <a:t>Click to edit Master title style</a:t>
            </a:r>
          </a:p>
        </p:txBody>
      </p:sp>
      <p:sp>
        <p:nvSpPr>
          <p:cNvPr id="4"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5"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6"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1" name="Slide Number Placeholder 10"/>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645EB43A-5775-4200-8846-86C8FD92F8B7}" type="slidenum">
              <a:rPr/>
              <a:pPr/>
              <a:t>‹#›</a:t>
            </a:fld>
            <a:endParaRPr/>
          </a:p>
        </p:txBody>
      </p:sp>
    </p:spTree>
    <p:extLst>
      <p:ext uri="{BB962C8B-B14F-4D97-AF65-F5344CB8AC3E}">
        <p14:creationId xmlns:p14="http://schemas.microsoft.com/office/powerpoint/2010/main" val="116060280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507488" y="2465776"/>
            <a:ext cx="6761019"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507489" y="2960238"/>
            <a:ext cx="6761019"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507488" y="4248374"/>
            <a:ext cx="4416136" cy="458096"/>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p:nvGrpSpPr>
        <p:grpSpPr bwMode="auto">
          <a:xfrm>
            <a:off x="1220321" y="1888191"/>
            <a:ext cx="7262091" cy="1984842"/>
            <a:chOff x="1288" y="1521"/>
            <a:chExt cx="3774"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353"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4" cstate="print"/>
          <a:stretch>
            <a:fillRect/>
          </a:stretch>
        </p:blipFill>
        <p:spPr>
          <a:xfrm>
            <a:off x="1108364" y="829236"/>
            <a:ext cx="2888896" cy="392621"/>
          </a:xfrm>
          <a:prstGeom prst="rect">
            <a:avLst/>
          </a:prstGeom>
        </p:spPr>
      </p:pic>
      <p:sp>
        <p:nvSpPr>
          <p:cNvPr id="10" name="ClientLogo" hidden="1"/>
          <p:cNvSpPr>
            <a:spLocks noChangeArrowheads="1"/>
          </p:cNvSpPr>
          <p:nvPr userDrawn="1">
            <p:custDataLst>
              <p:tags r:id="rId2"/>
            </p:custDataLst>
          </p:nvPr>
        </p:nvSpPr>
        <p:spPr bwMode="auto">
          <a:xfrm>
            <a:off x="8027873" y="892269"/>
            <a:ext cx="3325091" cy="806824"/>
          </a:xfrm>
          <a:prstGeom prst="rect">
            <a:avLst/>
          </a:prstGeom>
          <a:solidFill>
            <a:srgbClr val="FEDF87"/>
          </a:solidFill>
          <a:ln w="12700">
            <a:solidFill>
              <a:srgbClr val="FF0000"/>
            </a:solidFill>
            <a:prstDash val="solid"/>
            <a:miter lim="800000"/>
            <a:headEnd/>
            <a:tailEnd/>
          </a:ln>
          <a:effectLst/>
        </p:spPr>
        <p:txBody>
          <a:bodyPr wrap="square" lIns="0" tIns="49235" rIns="32823" bIns="0" anchor="t"/>
          <a:lstStyle/>
          <a:p>
            <a:pPr algn="ctr" fontAlgn="base">
              <a:spcBef>
                <a:spcPct val="0"/>
              </a:spcBef>
              <a:spcAft>
                <a:spcPct val="0"/>
              </a:spcAft>
            </a:pPr>
            <a:r>
              <a:rPr lang="en-US" sz="1100" b="1" dirty="0">
                <a:solidFill>
                  <a:srgbClr val="FF0000"/>
                </a:solidFill>
                <a:cs typeface="Arial" charset="0"/>
              </a:rPr>
              <a:t>PB Cover Logo Placeholder </a:t>
            </a:r>
            <a:br>
              <a:rPr lang="en-US" sz="1100" dirty="0">
                <a:solidFill>
                  <a:srgbClr val="FF0000"/>
                </a:solidFill>
                <a:cs typeface="Arial" charset="0"/>
              </a:rPr>
            </a:br>
            <a:r>
              <a:rPr lang="en-US" sz="1100" dirty="0">
                <a:solidFill>
                  <a:srgbClr val="FF0000"/>
                </a:solidFill>
                <a:cs typeface="Arial" charset="0"/>
              </a:rPr>
              <a:t>Delete this box if you see it on a slide, but DO NOT REMOVE this box from the slide layout. </a:t>
            </a:r>
          </a:p>
        </p:txBody>
      </p:sp>
    </p:spTree>
    <p:extLst>
      <p:ext uri="{BB962C8B-B14F-4D97-AF65-F5344CB8AC3E}">
        <p14:creationId xmlns:p14="http://schemas.microsoft.com/office/powerpoint/2010/main" val="224638957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2835" y="1989526"/>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2835" y="2483988"/>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a:t>Click to edit Master subtitle style</a:t>
            </a:r>
            <a:endParaRPr lang="en-US" dirty="0"/>
          </a:p>
        </p:txBody>
      </p:sp>
      <p:sp>
        <p:nvSpPr>
          <p:cNvPr id="12" name="Text Placeholder 11"/>
          <p:cNvSpPr>
            <a:spLocks noGrp="1"/>
          </p:cNvSpPr>
          <p:nvPr>
            <p:ph type="body" sz="quarter" idx="10" hasCustomPrompt="1"/>
          </p:nvPr>
        </p:nvSpPr>
        <p:spPr>
          <a:xfrm>
            <a:off x="1252833" y="3772125"/>
            <a:ext cx="4416136" cy="463699"/>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userDrawn="1"/>
        </p:nvGrpSpPr>
        <p:grpSpPr bwMode="auto">
          <a:xfrm>
            <a:off x="1029194" y="1411941"/>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3"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426143277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2" name="plhTOCTitle"/>
          <p:cNvSpPr>
            <a:spLocks noGrp="1"/>
          </p:cNvSpPr>
          <p:nvPr>
            <p:ph type="title"/>
          </p:nvPr>
        </p:nvSpPr>
        <p:spPr/>
        <p:txBody>
          <a:bodyPr/>
          <a:lstStyle/>
          <a:p>
            <a:r>
              <a:rPr lang="en-US"/>
              <a:t>Click to edit Master title style</a:t>
            </a:r>
            <a:endParaRPr lang="en-US" dirty="0"/>
          </a:p>
        </p:txBody>
      </p:sp>
      <p:sp>
        <p:nvSpPr>
          <p:cNvPr id="5" name="plhTOCBody"/>
          <p:cNvSpPr>
            <a:spLocks noGrp="1"/>
          </p:cNvSpPr>
          <p:nvPr>
            <p:ph type="body" sz="quarter" idx="10" hasCustomPrompt="1"/>
          </p:nvPr>
        </p:nvSpPr>
        <p:spPr/>
        <p:txBody>
          <a:bodyPr/>
          <a:lstStyle>
            <a:lvl1pPr marL="615437" indent="-615437">
              <a:lnSpc>
                <a:spcPct val="155000"/>
              </a:lnSpc>
              <a:spcBef>
                <a:spcPts val="0"/>
              </a:spcBef>
              <a:buFont typeface="+mj-lt"/>
              <a:buAutoNum type="arabicPeriod"/>
              <a:tabLst>
                <a:tab pos="7739974" algn="r"/>
              </a:tabLst>
              <a:defRPr/>
            </a:lvl1pPr>
            <a:lvl2pPr marL="1230874" indent="-615437">
              <a:lnSpc>
                <a:spcPct val="155000"/>
              </a:lnSpc>
              <a:spcBef>
                <a:spcPts val="0"/>
              </a:spcBef>
              <a:buSzPct val="100000"/>
              <a:buFont typeface="+mj-lt"/>
              <a:buAutoNum type="alphaUcPeriod"/>
              <a:tabLst>
                <a:tab pos="7739974" algn="r"/>
              </a:tabLst>
              <a:defRPr/>
            </a:lvl2pPr>
            <a:lvl3pPr marL="1846311" indent="-615437">
              <a:lnSpc>
                <a:spcPct val="155000"/>
              </a:lnSpc>
              <a:spcBef>
                <a:spcPts val="0"/>
              </a:spcBef>
              <a:buFont typeface="+mj-lt"/>
              <a:buAutoNum type="romanLcPeriod"/>
              <a:tabLst>
                <a:tab pos="7739974" algn="r"/>
              </a:tabLst>
              <a:defRPr baseline="0"/>
            </a:lvl3pPr>
            <a:lvl4pPr marL="1230874" indent="-615437">
              <a:lnSpc>
                <a:spcPct val="155000"/>
              </a:lnSpc>
              <a:spcBef>
                <a:spcPts val="0"/>
              </a:spcBef>
              <a:buNone/>
              <a:tabLst>
                <a:tab pos="7739974" algn="r"/>
              </a:tabLst>
              <a:defRPr/>
            </a:lvl4pPr>
            <a:lvl5pPr marL="1230874" indent="-615437">
              <a:lnSpc>
                <a:spcPct val="155000"/>
              </a:lnSpc>
              <a:spcBef>
                <a:spcPts val="0"/>
              </a:spcBef>
              <a:buFont typeface="+mj-lt"/>
              <a:buAutoNum type="alphaUcPeriod"/>
              <a:tabLst>
                <a:tab pos="7739974" algn="r"/>
              </a:tabLst>
              <a:defRPr/>
            </a:lvl5pPr>
            <a:lvl6pPr marL="1846311" indent="-615437">
              <a:lnSpc>
                <a:spcPct val="155000"/>
              </a:lnSpc>
              <a:spcBef>
                <a:spcPts val="0"/>
              </a:spcBef>
              <a:buSzPct val="100000"/>
              <a:buFont typeface="+mj-lt"/>
              <a:buAutoNum type="romanLcPeriod"/>
              <a:tabLst>
                <a:tab pos="7739974" algn="r"/>
              </a:tabLst>
              <a:defRPr baseline="0"/>
            </a:lvl6pPr>
            <a:lvl7pPr marL="0" indent="0">
              <a:buNone/>
              <a:defRPr/>
            </a:lvl7pPr>
          </a:lstStyle>
          <a:p>
            <a:pPr lvl="0"/>
            <a:r>
              <a:rPr lang="en-US" dirty="0"/>
              <a:t>Primary Sections</a:t>
            </a:r>
          </a:p>
          <a:p>
            <a:pPr lvl="1"/>
            <a:r>
              <a:rPr lang="en-US" dirty="0"/>
              <a:t>Sub-Sections</a:t>
            </a:r>
          </a:p>
          <a:p>
            <a:pPr lvl="2"/>
            <a:r>
              <a:rPr lang="en-US" dirty="0"/>
              <a:t>Tertiary Sections</a:t>
            </a:r>
          </a:p>
          <a:p>
            <a:pPr lvl="6"/>
            <a:r>
              <a:rPr lang="en-US" dirty="0"/>
              <a:t>________________________________________________________________________________________</a:t>
            </a:r>
          </a:p>
          <a:p>
            <a:pPr lvl="3"/>
            <a:r>
              <a:rPr lang="en-US" dirty="0"/>
              <a:t>Appendices</a:t>
            </a:r>
          </a:p>
          <a:p>
            <a:pPr lvl="4"/>
            <a:r>
              <a:rPr lang="en-US" dirty="0"/>
              <a:t>Appendices Sections</a:t>
            </a:r>
          </a:p>
          <a:p>
            <a:pPr lvl="5"/>
            <a:r>
              <a:rPr lang="en-US" dirty="0"/>
              <a:t>Appendices Sub-Sections</a:t>
            </a:r>
          </a:p>
          <a:p>
            <a:pPr lvl="5"/>
            <a:endParaRPr lang="en-US" dirty="0"/>
          </a:p>
        </p:txBody>
      </p:sp>
    </p:spTree>
    <p:extLst>
      <p:ext uri="{BB962C8B-B14F-4D97-AF65-F5344CB8AC3E}">
        <p14:creationId xmlns:p14="http://schemas.microsoft.com/office/powerpoint/2010/main" val="383932426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5475" y="3766495"/>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5475" y="4260957"/>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255473" y="4631191"/>
            <a:ext cx="4416136" cy="411457"/>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pic>
        <p:nvPicPr>
          <p:cNvPr id="10" name="Picture 9"/>
          <p:cNvPicPr>
            <a:picLocks noChangeAspect="1" noChangeArrowheads="1"/>
          </p:cNvPicPr>
          <p:nvPr userDrawn="1"/>
        </p:nvPicPr>
        <p:blipFill>
          <a:blip r:embed="rId3" cstate="print"/>
          <a:srcRect/>
          <a:stretch>
            <a:fillRect/>
          </a:stretch>
        </p:blipFill>
        <p:spPr bwMode="auto">
          <a:xfrm>
            <a:off x="1016001" y="1562527"/>
            <a:ext cx="7571847" cy="1679831"/>
          </a:xfrm>
          <a:prstGeom prst="rect">
            <a:avLst/>
          </a:prstGeom>
          <a:noFill/>
          <a:ln w="9525">
            <a:noFill/>
            <a:miter lim="800000"/>
            <a:headEnd/>
            <a:tailEnd/>
          </a:ln>
          <a:effectLst/>
        </p:spPr>
      </p:pic>
      <p:grpSp>
        <p:nvGrpSpPr>
          <p:cNvPr id="2" name="Group 201"/>
          <p:cNvGrpSpPr>
            <a:grpSpLocks/>
          </p:cNvGrpSpPr>
          <p:nvPr userDrawn="1"/>
        </p:nvGrpSpPr>
        <p:grpSpPr bwMode="auto">
          <a:xfrm>
            <a:off x="1031834" y="1410020"/>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11"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4" name="BarclaysLogo" descr="Standard_Cover.bmp"/>
          <p:cNvPicPr>
            <a:picLocks noChangeAspect="1"/>
          </p:cNvPicPr>
          <p:nvPr userDrawn="1"/>
        </p:nvPicPr>
        <p:blipFill>
          <a:blip r:embed="rId4"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3803536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plhTitle"/>
          <p:cNvSpPr>
            <a:spLocks noGrp="1"/>
          </p:cNvSpPr>
          <p:nvPr>
            <p:ph type="title"/>
          </p:nvPr>
        </p:nvSpPr>
        <p:spPr>
          <a:xfrm>
            <a:off x="507998" y="337075"/>
            <a:ext cx="11176001" cy="470647"/>
          </a:xfrm>
        </p:spPr>
        <p:txBody>
          <a:bodyPr lIns="0" rIns="0"/>
          <a:lstStyle>
            <a:lvl1pPr>
              <a:defRPr sz="2400">
                <a:latin typeface="+mj-lt"/>
                <a:cs typeface="Calibri" pitchFamily="34" charset="0"/>
              </a:defRPr>
            </a:lvl1pPr>
          </a:lstStyle>
          <a:p>
            <a:r>
              <a:rPr lang="en-US" dirty="0"/>
              <a:t>Click to edit Master title style</a:t>
            </a:r>
          </a:p>
        </p:txBody>
      </p:sp>
      <p:sp>
        <p:nvSpPr>
          <p:cNvPr id="12" name="plhSubheader"/>
          <p:cNvSpPr>
            <a:spLocks noGrp="1"/>
          </p:cNvSpPr>
          <p:nvPr>
            <p:ph type="body" sz="quarter" idx="13" hasCustomPrompt="1"/>
          </p:nvPr>
        </p:nvSpPr>
        <p:spPr>
          <a:xfrm>
            <a:off x="508000" y="819150"/>
            <a:ext cx="11176001" cy="336176"/>
          </a:xfrm>
          <a:noFill/>
          <a:ln w="9525">
            <a:noFill/>
            <a:miter lim="800000"/>
            <a:headEnd/>
            <a:tailEnd/>
          </a:ln>
          <a:effectLst/>
        </p:spPr>
        <p:txBody>
          <a:bodyPr lIns="0" tIns="0" rIns="0" bIns="0"/>
          <a:lstStyle>
            <a:lvl1pPr marL="0" indent="0" algn="l" rtl="0" fontAlgn="base">
              <a:spcBef>
                <a:spcPct val="0"/>
              </a:spcBef>
              <a:spcAft>
                <a:spcPct val="0"/>
              </a:spcAft>
              <a:buNone/>
              <a:defRPr lang="en-US" sz="1400" b="1" kern="1200" dirty="0" smtClean="0">
                <a:solidFill>
                  <a:srgbClr val="7E8083"/>
                </a:solidFill>
                <a:latin typeface="+mj-lt"/>
                <a:ea typeface="+mn-ea"/>
                <a:cs typeface="Calibri" pitchFamily="34" charset="0"/>
              </a:defRPr>
            </a:lvl1pPr>
            <a:lvl2pPr algn="l" rtl="0" fontAlgn="base">
              <a:spcBef>
                <a:spcPct val="0"/>
              </a:spcBef>
              <a:spcAft>
                <a:spcPct val="0"/>
              </a:spcAft>
              <a:buNone/>
              <a:defRPr lang="en-US" sz="1400" b="1" kern="1200" dirty="0" smtClean="0">
                <a:solidFill>
                  <a:schemeClr val="tx1"/>
                </a:solidFill>
                <a:latin typeface="Arial" charset="0"/>
                <a:ea typeface="+mn-ea"/>
                <a:cs typeface="Arial" charset="0"/>
              </a:defRPr>
            </a:lvl2pPr>
            <a:lvl3pPr algn="l" rtl="0" fontAlgn="base">
              <a:spcBef>
                <a:spcPct val="0"/>
              </a:spcBef>
              <a:spcAft>
                <a:spcPct val="0"/>
              </a:spcAft>
              <a:buNone/>
              <a:defRPr lang="en-US" sz="1400" b="1" kern="1200" dirty="0" smtClean="0">
                <a:solidFill>
                  <a:schemeClr val="tx1"/>
                </a:solidFill>
                <a:latin typeface="Arial" charset="0"/>
                <a:ea typeface="+mn-ea"/>
                <a:cs typeface="Arial" charset="0"/>
              </a:defRPr>
            </a:lvl3pPr>
            <a:lvl4pPr algn="l" rtl="0" fontAlgn="base">
              <a:spcBef>
                <a:spcPct val="0"/>
              </a:spcBef>
              <a:spcAft>
                <a:spcPct val="0"/>
              </a:spcAft>
              <a:buNone/>
              <a:defRPr lang="en-US" sz="1400" b="1" kern="1200" dirty="0" smtClean="0">
                <a:solidFill>
                  <a:schemeClr val="tx1"/>
                </a:solidFill>
                <a:latin typeface="Arial" charset="0"/>
                <a:ea typeface="+mn-ea"/>
                <a:cs typeface="Arial" charset="0"/>
              </a:defRPr>
            </a:lvl4pPr>
            <a:lvl5pPr algn="l" rtl="0" fontAlgn="base">
              <a:spcBef>
                <a:spcPct val="0"/>
              </a:spcBef>
              <a:spcAft>
                <a:spcPct val="0"/>
              </a:spcAft>
              <a:buNone/>
              <a:defRPr lang="en-US" sz="1400" b="1" kern="1200" dirty="0">
                <a:solidFill>
                  <a:schemeClr val="tx1"/>
                </a:solidFill>
                <a:latin typeface="Arial" charset="0"/>
                <a:ea typeface="+mn-ea"/>
                <a:cs typeface="Arial" charset="0"/>
              </a:defRPr>
            </a:lvl5pPr>
          </a:lstStyle>
          <a:p>
            <a:pPr lvl="0"/>
            <a:r>
              <a:rPr lang="en-US" dirty="0"/>
              <a:t>Sub-Header: Enter your optional sub-heading here </a:t>
            </a:r>
          </a:p>
          <a:p>
            <a:pPr lvl="0"/>
            <a:endParaRPr lang="en-US" dirty="0"/>
          </a:p>
        </p:txBody>
      </p:sp>
      <p:sp>
        <p:nvSpPr>
          <p:cNvPr id="7" name="plhBody"/>
          <p:cNvSpPr>
            <a:spLocks noGrp="1"/>
          </p:cNvSpPr>
          <p:nvPr>
            <p:ph type="body" sz="quarter" idx="16"/>
          </p:nvPr>
        </p:nvSpPr>
        <p:spPr>
          <a:xfrm>
            <a:off x="508000" y="1333949"/>
            <a:ext cx="11176001" cy="4582758"/>
          </a:xfrm>
        </p:spPr>
        <p:txBody>
          <a:bodyPr/>
          <a:lstStyle>
            <a:lvl1pPr>
              <a:buClr>
                <a:schemeClr val="bg2"/>
              </a:buClr>
              <a:defRPr sz="1300">
                <a:latin typeface="+mn-lt"/>
                <a:cs typeface="Calibri" pitchFamily="34" charset="0"/>
              </a:defRPr>
            </a:lvl1pPr>
            <a:lvl2pPr>
              <a:buClr>
                <a:schemeClr val="bg2"/>
              </a:buClr>
              <a:defRPr sz="1300">
                <a:latin typeface="+mn-lt"/>
                <a:cs typeface="Calibri" pitchFamily="34" charset="0"/>
              </a:defRPr>
            </a:lvl2pPr>
            <a:lvl3pPr>
              <a:buClr>
                <a:schemeClr val="bg2"/>
              </a:buClr>
              <a:defRPr sz="1300">
                <a:latin typeface="+mn-lt"/>
                <a:cs typeface="Calibri" pitchFamily="34" charset="0"/>
              </a:defRPr>
            </a:lvl3pPr>
            <a:lvl4pPr>
              <a:buClr>
                <a:schemeClr val="bg2"/>
              </a:buClr>
              <a:defRPr sz="1300">
                <a:latin typeface="+mn-lt"/>
                <a:cs typeface="Calibri" pitchFamily="34" charset="0"/>
              </a:defRPr>
            </a:lvl4pPr>
            <a:lvl5pPr>
              <a:buClr>
                <a:schemeClr val="bg2"/>
              </a:buClr>
              <a:defRPr sz="1300">
                <a:latin typeface="+mn-lt"/>
                <a:cs typeface="Calibri" pitchFamily="34" charset="0"/>
              </a:defRPr>
            </a:lvl5pPr>
            <a:lvl6pPr>
              <a:defRPr/>
            </a:lvl6pPr>
            <a:lvl7pPr>
              <a:defRPr/>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7" name="Slide Number Placeholder 16"/>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7BC01EA4-3BC1-4101-9AC2-FD6B853D97D7}" type="slidenum">
              <a:rPr/>
              <a:pPr/>
              <a:t>‹#›</a:t>
            </a:fld>
            <a:endParaRPr/>
          </a:p>
        </p:txBody>
      </p:sp>
    </p:spTree>
    <p:extLst>
      <p:ext uri="{BB962C8B-B14F-4D97-AF65-F5344CB8AC3E}">
        <p14:creationId xmlns:p14="http://schemas.microsoft.com/office/powerpoint/2010/main" val="1844352877"/>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p:cSld name="Tab Slide">
    <p:spTree>
      <p:nvGrpSpPr>
        <p:cNvPr id="1" name=""/>
        <p:cNvGrpSpPr/>
        <p:nvPr/>
      </p:nvGrpSpPr>
      <p:grpSpPr>
        <a:xfrm>
          <a:off x="0" y="0"/>
          <a:ext cx="0" cy="0"/>
          <a:chOff x="0" y="0"/>
          <a:chExt cx="0" cy="0"/>
        </a:xfrm>
      </p:grpSpPr>
      <p:pic>
        <p:nvPicPr>
          <p:cNvPr id="7"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40000" contrast="-30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Tree>
    <p:extLst>
      <p:ext uri="{BB962C8B-B14F-4D97-AF65-F5344CB8AC3E}">
        <p14:creationId xmlns:p14="http://schemas.microsoft.com/office/powerpoint/2010/main" val="3334736579"/>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ub Divider Slide">
    <p:spTree>
      <p:nvGrpSpPr>
        <p:cNvPr id="1" name=""/>
        <p:cNvGrpSpPr/>
        <p:nvPr/>
      </p:nvGrpSpPr>
      <p:grpSpPr>
        <a:xfrm>
          <a:off x="0" y="0"/>
          <a:ext cx="0" cy="0"/>
          <a:chOff x="0" y="0"/>
          <a:chExt cx="0" cy="0"/>
        </a:xfrm>
      </p:grpSpPr>
      <p:pic>
        <p:nvPicPr>
          <p:cNvPr id="6"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60000" contrast="-53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
        <p:nvSpPr>
          <p:cNvPr id="7"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5" name="Slide Number Placeholder 14"/>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E2ACF161-3639-4DB2-AA3B-4A41135AF63F}" type="slidenum">
              <a:rPr/>
              <a:pPr/>
              <a:t>‹#›</a:t>
            </a:fld>
            <a:endParaRPr/>
          </a:p>
        </p:txBody>
      </p:sp>
    </p:spTree>
    <p:extLst>
      <p:ext uri="{BB962C8B-B14F-4D97-AF65-F5344CB8AC3E}">
        <p14:creationId xmlns:p14="http://schemas.microsoft.com/office/powerpoint/2010/main" val="3969431063"/>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lstStyle/>
          <a:p>
            <a:r>
              <a:rPr lang="en-US" dirty="0"/>
              <a:t>Click to edit Master title style</a:t>
            </a:r>
          </a:p>
        </p:txBody>
      </p:sp>
      <p:sp>
        <p:nvSpPr>
          <p:cNvPr id="4"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5"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6"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1" name="Slide Number Placeholder 10"/>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645EB43A-5775-4200-8846-86C8FD92F8B7}" type="slidenum">
              <a:rPr/>
              <a:pPr/>
              <a:t>‹#›</a:t>
            </a:fld>
            <a:endParaRPr/>
          </a:p>
        </p:txBody>
      </p:sp>
    </p:spTree>
    <p:extLst>
      <p:ext uri="{BB962C8B-B14F-4D97-AF65-F5344CB8AC3E}">
        <p14:creationId xmlns:p14="http://schemas.microsoft.com/office/powerpoint/2010/main" val="197274847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507488" y="2465776"/>
            <a:ext cx="6761019"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507489" y="2960238"/>
            <a:ext cx="6761019"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507488" y="4248374"/>
            <a:ext cx="4416136" cy="458096"/>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p:nvGrpSpPr>
        <p:grpSpPr bwMode="auto">
          <a:xfrm>
            <a:off x="1220321" y="1888191"/>
            <a:ext cx="7262091" cy="1984842"/>
            <a:chOff x="1288" y="1521"/>
            <a:chExt cx="3774"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353"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4" cstate="print"/>
          <a:stretch>
            <a:fillRect/>
          </a:stretch>
        </p:blipFill>
        <p:spPr>
          <a:xfrm>
            <a:off x="1108364" y="829236"/>
            <a:ext cx="2888896" cy="392621"/>
          </a:xfrm>
          <a:prstGeom prst="rect">
            <a:avLst/>
          </a:prstGeom>
        </p:spPr>
      </p:pic>
      <p:sp>
        <p:nvSpPr>
          <p:cNvPr id="10" name="ClientLogo" hidden="1"/>
          <p:cNvSpPr>
            <a:spLocks noChangeArrowheads="1"/>
          </p:cNvSpPr>
          <p:nvPr userDrawn="1">
            <p:custDataLst>
              <p:tags r:id="rId2"/>
            </p:custDataLst>
          </p:nvPr>
        </p:nvSpPr>
        <p:spPr bwMode="auto">
          <a:xfrm>
            <a:off x="8027873" y="892269"/>
            <a:ext cx="3325091" cy="806824"/>
          </a:xfrm>
          <a:prstGeom prst="rect">
            <a:avLst/>
          </a:prstGeom>
          <a:solidFill>
            <a:srgbClr val="FEDF87"/>
          </a:solidFill>
          <a:ln w="12700">
            <a:solidFill>
              <a:srgbClr val="FF0000"/>
            </a:solidFill>
            <a:prstDash val="solid"/>
            <a:miter lim="800000"/>
            <a:headEnd/>
            <a:tailEnd/>
          </a:ln>
          <a:effectLst/>
        </p:spPr>
        <p:txBody>
          <a:bodyPr wrap="square" lIns="0" tIns="49235" rIns="32823" bIns="0" anchor="t"/>
          <a:lstStyle/>
          <a:p>
            <a:pPr algn="ctr" fontAlgn="base">
              <a:spcBef>
                <a:spcPct val="0"/>
              </a:spcBef>
              <a:spcAft>
                <a:spcPct val="0"/>
              </a:spcAft>
            </a:pPr>
            <a:r>
              <a:rPr lang="en-US" sz="1100" b="1" dirty="0">
                <a:solidFill>
                  <a:srgbClr val="FF0000"/>
                </a:solidFill>
                <a:cs typeface="Arial" charset="0"/>
              </a:rPr>
              <a:t>PB Cover Logo Placeholder </a:t>
            </a:r>
            <a:br>
              <a:rPr lang="en-US" sz="1100" dirty="0">
                <a:solidFill>
                  <a:srgbClr val="FF0000"/>
                </a:solidFill>
                <a:cs typeface="Arial" charset="0"/>
              </a:rPr>
            </a:br>
            <a:r>
              <a:rPr lang="en-US" sz="1100" dirty="0">
                <a:solidFill>
                  <a:srgbClr val="FF0000"/>
                </a:solidFill>
                <a:cs typeface="Arial" charset="0"/>
              </a:rPr>
              <a:t>Delete this box if you see it on a slide, but DO NOT REMOVE this box from the slide layout. </a:t>
            </a:r>
          </a:p>
        </p:txBody>
      </p:sp>
    </p:spTree>
    <p:extLst>
      <p:ext uri="{BB962C8B-B14F-4D97-AF65-F5344CB8AC3E}">
        <p14:creationId xmlns:p14="http://schemas.microsoft.com/office/powerpoint/2010/main" val="40124032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2" name="plhTOCTitle"/>
          <p:cNvSpPr>
            <a:spLocks noGrp="1"/>
          </p:cNvSpPr>
          <p:nvPr>
            <p:ph type="title"/>
          </p:nvPr>
        </p:nvSpPr>
        <p:spPr/>
        <p:txBody>
          <a:bodyPr/>
          <a:lstStyle/>
          <a:p>
            <a:r>
              <a:rPr lang="en-US"/>
              <a:t>Click to edit Master title style</a:t>
            </a:r>
            <a:endParaRPr lang="en-US" dirty="0"/>
          </a:p>
        </p:txBody>
      </p:sp>
      <p:sp>
        <p:nvSpPr>
          <p:cNvPr id="5" name="plhTOCBody"/>
          <p:cNvSpPr>
            <a:spLocks noGrp="1"/>
          </p:cNvSpPr>
          <p:nvPr>
            <p:ph type="body" sz="quarter" idx="10" hasCustomPrompt="1"/>
          </p:nvPr>
        </p:nvSpPr>
        <p:spPr/>
        <p:txBody>
          <a:bodyPr/>
          <a:lstStyle>
            <a:lvl1pPr marL="615437" indent="-615437">
              <a:lnSpc>
                <a:spcPct val="155000"/>
              </a:lnSpc>
              <a:spcBef>
                <a:spcPts val="0"/>
              </a:spcBef>
              <a:buFont typeface="+mj-lt"/>
              <a:buAutoNum type="arabicPeriod"/>
              <a:tabLst>
                <a:tab pos="7739974" algn="r"/>
              </a:tabLst>
              <a:defRPr/>
            </a:lvl1pPr>
            <a:lvl2pPr marL="1230874" indent="-615437">
              <a:lnSpc>
                <a:spcPct val="155000"/>
              </a:lnSpc>
              <a:spcBef>
                <a:spcPts val="0"/>
              </a:spcBef>
              <a:buSzPct val="100000"/>
              <a:buFont typeface="+mj-lt"/>
              <a:buAutoNum type="alphaUcPeriod"/>
              <a:tabLst>
                <a:tab pos="7739974" algn="r"/>
              </a:tabLst>
              <a:defRPr/>
            </a:lvl2pPr>
            <a:lvl3pPr marL="1846311" indent="-615437">
              <a:lnSpc>
                <a:spcPct val="155000"/>
              </a:lnSpc>
              <a:spcBef>
                <a:spcPts val="0"/>
              </a:spcBef>
              <a:buFont typeface="+mj-lt"/>
              <a:buAutoNum type="romanLcPeriod"/>
              <a:tabLst>
                <a:tab pos="7739974" algn="r"/>
              </a:tabLst>
              <a:defRPr baseline="0"/>
            </a:lvl3pPr>
            <a:lvl4pPr marL="1230874" indent="-615437">
              <a:lnSpc>
                <a:spcPct val="155000"/>
              </a:lnSpc>
              <a:spcBef>
                <a:spcPts val="0"/>
              </a:spcBef>
              <a:buNone/>
              <a:tabLst>
                <a:tab pos="7739974" algn="r"/>
              </a:tabLst>
              <a:defRPr/>
            </a:lvl4pPr>
            <a:lvl5pPr marL="1230874" indent="-615437">
              <a:lnSpc>
                <a:spcPct val="155000"/>
              </a:lnSpc>
              <a:spcBef>
                <a:spcPts val="0"/>
              </a:spcBef>
              <a:buFont typeface="+mj-lt"/>
              <a:buAutoNum type="alphaUcPeriod"/>
              <a:tabLst>
                <a:tab pos="7739974" algn="r"/>
              </a:tabLst>
              <a:defRPr/>
            </a:lvl5pPr>
            <a:lvl6pPr marL="1846311" indent="-615437">
              <a:lnSpc>
                <a:spcPct val="155000"/>
              </a:lnSpc>
              <a:spcBef>
                <a:spcPts val="0"/>
              </a:spcBef>
              <a:buSzPct val="100000"/>
              <a:buFont typeface="+mj-lt"/>
              <a:buAutoNum type="romanLcPeriod"/>
              <a:tabLst>
                <a:tab pos="7739974" algn="r"/>
              </a:tabLst>
              <a:defRPr baseline="0"/>
            </a:lvl6pPr>
            <a:lvl7pPr marL="0" indent="0">
              <a:buNone/>
              <a:defRPr/>
            </a:lvl7pPr>
          </a:lstStyle>
          <a:p>
            <a:pPr lvl="0"/>
            <a:r>
              <a:rPr lang="en-US" dirty="0"/>
              <a:t>Primary Sections</a:t>
            </a:r>
          </a:p>
          <a:p>
            <a:pPr lvl="1"/>
            <a:r>
              <a:rPr lang="en-US" dirty="0"/>
              <a:t>Sub-Sections</a:t>
            </a:r>
          </a:p>
          <a:p>
            <a:pPr lvl="2"/>
            <a:r>
              <a:rPr lang="en-US" dirty="0"/>
              <a:t>Tertiary Sections</a:t>
            </a:r>
          </a:p>
          <a:p>
            <a:pPr lvl="6"/>
            <a:r>
              <a:rPr lang="en-US" dirty="0"/>
              <a:t>________________________________________________________________________________________</a:t>
            </a:r>
          </a:p>
          <a:p>
            <a:pPr lvl="3"/>
            <a:r>
              <a:rPr lang="en-US" dirty="0"/>
              <a:t>Appendices</a:t>
            </a:r>
          </a:p>
          <a:p>
            <a:pPr lvl="4"/>
            <a:r>
              <a:rPr lang="en-US" dirty="0"/>
              <a:t>Appendices Sections</a:t>
            </a:r>
          </a:p>
          <a:p>
            <a:pPr lvl="5"/>
            <a:r>
              <a:rPr lang="en-US" dirty="0"/>
              <a:t>Appendices Sub-Sections</a:t>
            </a:r>
          </a:p>
          <a:p>
            <a:pPr lvl="5"/>
            <a:endParaRPr lang="en-US" dirty="0"/>
          </a:p>
        </p:txBody>
      </p:sp>
    </p:spTree>
    <p:extLst>
      <p:ext uri="{BB962C8B-B14F-4D97-AF65-F5344CB8AC3E}">
        <p14:creationId xmlns:p14="http://schemas.microsoft.com/office/powerpoint/2010/main" val="288485043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2835" y="1989526"/>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2835" y="2483988"/>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a:t>Click to edit Master subtitle style</a:t>
            </a:r>
            <a:endParaRPr lang="en-US" dirty="0"/>
          </a:p>
        </p:txBody>
      </p:sp>
      <p:sp>
        <p:nvSpPr>
          <p:cNvPr id="12" name="Text Placeholder 11"/>
          <p:cNvSpPr>
            <a:spLocks noGrp="1"/>
          </p:cNvSpPr>
          <p:nvPr>
            <p:ph type="body" sz="quarter" idx="10" hasCustomPrompt="1"/>
          </p:nvPr>
        </p:nvSpPr>
        <p:spPr>
          <a:xfrm>
            <a:off x="1252833" y="3772125"/>
            <a:ext cx="4416136" cy="463699"/>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userDrawn="1"/>
        </p:nvGrpSpPr>
        <p:grpSpPr bwMode="auto">
          <a:xfrm>
            <a:off x="1029194" y="1411941"/>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3"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2474160126"/>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2" name="plhTOCTitle"/>
          <p:cNvSpPr>
            <a:spLocks noGrp="1"/>
          </p:cNvSpPr>
          <p:nvPr>
            <p:ph type="title"/>
          </p:nvPr>
        </p:nvSpPr>
        <p:spPr/>
        <p:txBody>
          <a:bodyPr/>
          <a:lstStyle/>
          <a:p>
            <a:r>
              <a:rPr lang="en-US"/>
              <a:t>Click to edit Master title style</a:t>
            </a:r>
            <a:endParaRPr lang="en-US" dirty="0"/>
          </a:p>
        </p:txBody>
      </p:sp>
      <p:sp>
        <p:nvSpPr>
          <p:cNvPr id="5" name="plhTOCBody"/>
          <p:cNvSpPr>
            <a:spLocks noGrp="1"/>
          </p:cNvSpPr>
          <p:nvPr>
            <p:ph type="body" sz="quarter" idx="10" hasCustomPrompt="1"/>
          </p:nvPr>
        </p:nvSpPr>
        <p:spPr/>
        <p:txBody>
          <a:bodyPr/>
          <a:lstStyle>
            <a:lvl1pPr marL="615437" indent="-615437">
              <a:lnSpc>
                <a:spcPct val="155000"/>
              </a:lnSpc>
              <a:spcBef>
                <a:spcPts val="0"/>
              </a:spcBef>
              <a:buFont typeface="+mj-lt"/>
              <a:buAutoNum type="arabicPeriod"/>
              <a:tabLst>
                <a:tab pos="7739974" algn="r"/>
              </a:tabLst>
              <a:defRPr/>
            </a:lvl1pPr>
            <a:lvl2pPr marL="1230874" indent="-615437">
              <a:lnSpc>
                <a:spcPct val="155000"/>
              </a:lnSpc>
              <a:spcBef>
                <a:spcPts val="0"/>
              </a:spcBef>
              <a:buSzPct val="100000"/>
              <a:buFont typeface="+mj-lt"/>
              <a:buAutoNum type="alphaUcPeriod"/>
              <a:tabLst>
                <a:tab pos="7739974" algn="r"/>
              </a:tabLst>
              <a:defRPr/>
            </a:lvl2pPr>
            <a:lvl3pPr marL="1846311" indent="-615437">
              <a:lnSpc>
                <a:spcPct val="155000"/>
              </a:lnSpc>
              <a:spcBef>
                <a:spcPts val="0"/>
              </a:spcBef>
              <a:buFont typeface="+mj-lt"/>
              <a:buAutoNum type="romanLcPeriod"/>
              <a:tabLst>
                <a:tab pos="7739974" algn="r"/>
              </a:tabLst>
              <a:defRPr baseline="0"/>
            </a:lvl3pPr>
            <a:lvl4pPr marL="1230874" indent="-615437">
              <a:lnSpc>
                <a:spcPct val="155000"/>
              </a:lnSpc>
              <a:spcBef>
                <a:spcPts val="0"/>
              </a:spcBef>
              <a:buNone/>
              <a:tabLst>
                <a:tab pos="7739974" algn="r"/>
              </a:tabLst>
              <a:defRPr/>
            </a:lvl4pPr>
            <a:lvl5pPr marL="1230874" indent="-615437">
              <a:lnSpc>
                <a:spcPct val="155000"/>
              </a:lnSpc>
              <a:spcBef>
                <a:spcPts val="0"/>
              </a:spcBef>
              <a:buFont typeface="+mj-lt"/>
              <a:buAutoNum type="alphaUcPeriod"/>
              <a:tabLst>
                <a:tab pos="7739974" algn="r"/>
              </a:tabLst>
              <a:defRPr/>
            </a:lvl5pPr>
            <a:lvl6pPr marL="1846311" indent="-615437">
              <a:lnSpc>
                <a:spcPct val="155000"/>
              </a:lnSpc>
              <a:spcBef>
                <a:spcPts val="0"/>
              </a:spcBef>
              <a:buSzPct val="100000"/>
              <a:buFont typeface="+mj-lt"/>
              <a:buAutoNum type="romanLcPeriod"/>
              <a:tabLst>
                <a:tab pos="7739974" algn="r"/>
              </a:tabLst>
              <a:defRPr baseline="0"/>
            </a:lvl6pPr>
            <a:lvl7pPr marL="0" indent="0">
              <a:buNone/>
              <a:defRPr/>
            </a:lvl7pPr>
          </a:lstStyle>
          <a:p>
            <a:pPr lvl="0"/>
            <a:r>
              <a:rPr lang="en-US" dirty="0"/>
              <a:t>Primary Sections</a:t>
            </a:r>
          </a:p>
          <a:p>
            <a:pPr lvl="1"/>
            <a:r>
              <a:rPr lang="en-US" dirty="0"/>
              <a:t>Sub-Sections</a:t>
            </a:r>
          </a:p>
          <a:p>
            <a:pPr lvl="2"/>
            <a:r>
              <a:rPr lang="en-US" dirty="0"/>
              <a:t>Tertiary Sections</a:t>
            </a:r>
          </a:p>
          <a:p>
            <a:pPr lvl="6"/>
            <a:r>
              <a:rPr lang="en-US" dirty="0"/>
              <a:t>________________________________________________________________________________________</a:t>
            </a:r>
          </a:p>
          <a:p>
            <a:pPr lvl="3"/>
            <a:r>
              <a:rPr lang="en-US" dirty="0"/>
              <a:t>Appendices</a:t>
            </a:r>
          </a:p>
          <a:p>
            <a:pPr lvl="4"/>
            <a:r>
              <a:rPr lang="en-US" dirty="0"/>
              <a:t>Appendices Sections</a:t>
            </a:r>
          </a:p>
          <a:p>
            <a:pPr lvl="5"/>
            <a:r>
              <a:rPr lang="en-US" dirty="0"/>
              <a:t>Appendices Sub-Sections</a:t>
            </a:r>
          </a:p>
          <a:p>
            <a:pPr lvl="5"/>
            <a:endParaRPr lang="en-US" dirty="0"/>
          </a:p>
        </p:txBody>
      </p:sp>
    </p:spTree>
    <p:extLst>
      <p:ext uri="{BB962C8B-B14F-4D97-AF65-F5344CB8AC3E}">
        <p14:creationId xmlns:p14="http://schemas.microsoft.com/office/powerpoint/2010/main" val="192818929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5475" y="3766495"/>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5475" y="4260957"/>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255473" y="4631191"/>
            <a:ext cx="4416136" cy="411457"/>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pic>
        <p:nvPicPr>
          <p:cNvPr id="10" name="Picture 9"/>
          <p:cNvPicPr>
            <a:picLocks noChangeAspect="1" noChangeArrowheads="1"/>
          </p:cNvPicPr>
          <p:nvPr userDrawn="1"/>
        </p:nvPicPr>
        <p:blipFill>
          <a:blip r:embed="rId3" cstate="print"/>
          <a:srcRect/>
          <a:stretch>
            <a:fillRect/>
          </a:stretch>
        </p:blipFill>
        <p:spPr bwMode="auto">
          <a:xfrm>
            <a:off x="1016001" y="1562527"/>
            <a:ext cx="7571847" cy="1679831"/>
          </a:xfrm>
          <a:prstGeom prst="rect">
            <a:avLst/>
          </a:prstGeom>
          <a:noFill/>
          <a:ln w="9525">
            <a:noFill/>
            <a:miter lim="800000"/>
            <a:headEnd/>
            <a:tailEnd/>
          </a:ln>
          <a:effectLst/>
        </p:spPr>
      </p:pic>
      <p:grpSp>
        <p:nvGrpSpPr>
          <p:cNvPr id="2" name="Group 201"/>
          <p:cNvGrpSpPr>
            <a:grpSpLocks/>
          </p:cNvGrpSpPr>
          <p:nvPr userDrawn="1"/>
        </p:nvGrpSpPr>
        <p:grpSpPr bwMode="auto">
          <a:xfrm>
            <a:off x="1031834" y="1410020"/>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11"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4" name="BarclaysLogo" descr="Standard_Cover.bmp"/>
          <p:cNvPicPr>
            <a:picLocks noChangeAspect="1"/>
          </p:cNvPicPr>
          <p:nvPr userDrawn="1"/>
        </p:nvPicPr>
        <p:blipFill>
          <a:blip r:embed="rId4"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85714474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plhTitle"/>
          <p:cNvSpPr>
            <a:spLocks noGrp="1"/>
          </p:cNvSpPr>
          <p:nvPr>
            <p:ph type="title"/>
          </p:nvPr>
        </p:nvSpPr>
        <p:spPr>
          <a:xfrm>
            <a:off x="507998" y="337075"/>
            <a:ext cx="11176001" cy="470647"/>
          </a:xfrm>
        </p:spPr>
        <p:txBody>
          <a:bodyPr lIns="0" rIns="0"/>
          <a:lstStyle>
            <a:lvl1pPr>
              <a:defRPr sz="2400">
                <a:latin typeface="+mj-lt"/>
                <a:cs typeface="Calibri" pitchFamily="34" charset="0"/>
              </a:defRPr>
            </a:lvl1pPr>
          </a:lstStyle>
          <a:p>
            <a:r>
              <a:rPr lang="en-US" dirty="0"/>
              <a:t>Click to edit Master title style</a:t>
            </a:r>
          </a:p>
        </p:txBody>
      </p:sp>
      <p:sp>
        <p:nvSpPr>
          <p:cNvPr id="12" name="plhSubheader"/>
          <p:cNvSpPr>
            <a:spLocks noGrp="1"/>
          </p:cNvSpPr>
          <p:nvPr>
            <p:ph type="body" sz="quarter" idx="13" hasCustomPrompt="1"/>
          </p:nvPr>
        </p:nvSpPr>
        <p:spPr>
          <a:xfrm>
            <a:off x="508000" y="819150"/>
            <a:ext cx="11176001" cy="336176"/>
          </a:xfrm>
          <a:noFill/>
          <a:ln w="9525">
            <a:noFill/>
            <a:miter lim="800000"/>
            <a:headEnd/>
            <a:tailEnd/>
          </a:ln>
          <a:effectLst/>
        </p:spPr>
        <p:txBody>
          <a:bodyPr lIns="0" tIns="0" rIns="0" bIns="0"/>
          <a:lstStyle>
            <a:lvl1pPr marL="0" indent="0" algn="l" rtl="0" fontAlgn="base">
              <a:spcBef>
                <a:spcPct val="0"/>
              </a:spcBef>
              <a:spcAft>
                <a:spcPct val="0"/>
              </a:spcAft>
              <a:buNone/>
              <a:defRPr lang="en-US" sz="1400" b="1" kern="1200" dirty="0" smtClean="0">
                <a:solidFill>
                  <a:srgbClr val="7E8083"/>
                </a:solidFill>
                <a:latin typeface="+mj-lt"/>
                <a:ea typeface="+mn-ea"/>
                <a:cs typeface="Calibri" pitchFamily="34" charset="0"/>
              </a:defRPr>
            </a:lvl1pPr>
            <a:lvl2pPr algn="l" rtl="0" fontAlgn="base">
              <a:spcBef>
                <a:spcPct val="0"/>
              </a:spcBef>
              <a:spcAft>
                <a:spcPct val="0"/>
              </a:spcAft>
              <a:buNone/>
              <a:defRPr lang="en-US" sz="1400" b="1" kern="1200" dirty="0" smtClean="0">
                <a:solidFill>
                  <a:schemeClr val="tx1"/>
                </a:solidFill>
                <a:latin typeface="Arial" charset="0"/>
                <a:ea typeface="+mn-ea"/>
                <a:cs typeface="Arial" charset="0"/>
              </a:defRPr>
            </a:lvl2pPr>
            <a:lvl3pPr algn="l" rtl="0" fontAlgn="base">
              <a:spcBef>
                <a:spcPct val="0"/>
              </a:spcBef>
              <a:spcAft>
                <a:spcPct val="0"/>
              </a:spcAft>
              <a:buNone/>
              <a:defRPr lang="en-US" sz="1400" b="1" kern="1200" dirty="0" smtClean="0">
                <a:solidFill>
                  <a:schemeClr val="tx1"/>
                </a:solidFill>
                <a:latin typeface="Arial" charset="0"/>
                <a:ea typeface="+mn-ea"/>
                <a:cs typeface="Arial" charset="0"/>
              </a:defRPr>
            </a:lvl3pPr>
            <a:lvl4pPr algn="l" rtl="0" fontAlgn="base">
              <a:spcBef>
                <a:spcPct val="0"/>
              </a:spcBef>
              <a:spcAft>
                <a:spcPct val="0"/>
              </a:spcAft>
              <a:buNone/>
              <a:defRPr lang="en-US" sz="1400" b="1" kern="1200" dirty="0" smtClean="0">
                <a:solidFill>
                  <a:schemeClr val="tx1"/>
                </a:solidFill>
                <a:latin typeface="Arial" charset="0"/>
                <a:ea typeface="+mn-ea"/>
                <a:cs typeface="Arial" charset="0"/>
              </a:defRPr>
            </a:lvl4pPr>
            <a:lvl5pPr algn="l" rtl="0" fontAlgn="base">
              <a:spcBef>
                <a:spcPct val="0"/>
              </a:spcBef>
              <a:spcAft>
                <a:spcPct val="0"/>
              </a:spcAft>
              <a:buNone/>
              <a:defRPr lang="en-US" sz="1400" b="1" kern="1200" dirty="0">
                <a:solidFill>
                  <a:schemeClr val="tx1"/>
                </a:solidFill>
                <a:latin typeface="Arial" charset="0"/>
                <a:ea typeface="+mn-ea"/>
                <a:cs typeface="Arial" charset="0"/>
              </a:defRPr>
            </a:lvl5pPr>
          </a:lstStyle>
          <a:p>
            <a:pPr lvl="0"/>
            <a:r>
              <a:rPr lang="en-US" dirty="0"/>
              <a:t>Sub-Header: Enter your optional sub-heading here </a:t>
            </a:r>
          </a:p>
          <a:p>
            <a:pPr lvl="0"/>
            <a:endParaRPr lang="en-US" dirty="0"/>
          </a:p>
        </p:txBody>
      </p:sp>
      <p:sp>
        <p:nvSpPr>
          <p:cNvPr id="7" name="plhBody"/>
          <p:cNvSpPr>
            <a:spLocks noGrp="1"/>
          </p:cNvSpPr>
          <p:nvPr>
            <p:ph type="body" sz="quarter" idx="16"/>
          </p:nvPr>
        </p:nvSpPr>
        <p:spPr>
          <a:xfrm>
            <a:off x="508000" y="1333949"/>
            <a:ext cx="11176001" cy="4582758"/>
          </a:xfrm>
        </p:spPr>
        <p:txBody>
          <a:bodyPr/>
          <a:lstStyle>
            <a:lvl1pPr>
              <a:buClr>
                <a:schemeClr val="bg2"/>
              </a:buClr>
              <a:defRPr sz="1300">
                <a:latin typeface="+mn-lt"/>
                <a:cs typeface="Calibri" pitchFamily="34" charset="0"/>
              </a:defRPr>
            </a:lvl1pPr>
            <a:lvl2pPr>
              <a:buClr>
                <a:schemeClr val="bg2"/>
              </a:buClr>
              <a:defRPr sz="1300">
                <a:latin typeface="+mn-lt"/>
                <a:cs typeface="Calibri" pitchFamily="34" charset="0"/>
              </a:defRPr>
            </a:lvl2pPr>
            <a:lvl3pPr>
              <a:buClr>
                <a:schemeClr val="bg2"/>
              </a:buClr>
              <a:defRPr sz="1300">
                <a:latin typeface="+mn-lt"/>
                <a:cs typeface="Calibri" pitchFamily="34" charset="0"/>
              </a:defRPr>
            </a:lvl3pPr>
            <a:lvl4pPr>
              <a:buClr>
                <a:schemeClr val="bg2"/>
              </a:buClr>
              <a:defRPr sz="1300">
                <a:latin typeface="+mn-lt"/>
                <a:cs typeface="Calibri" pitchFamily="34" charset="0"/>
              </a:defRPr>
            </a:lvl4pPr>
            <a:lvl5pPr>
              <a:buClr>
                <a:schemeClr val="bg2"/>
              </a:buClr>
              <a:defRPr sz="1300">
                <a:latin typeface="+mn-lt"/>
                <a:cs typeface="Calibri" pitchFamily="34" charset="0"/>
              </a:defRPr>
            </a:lvl5pPr>
            <a:lvl6pPr>
              <a:defRPr/>
            </a:lvl6pPr>
            <a:lvl7pPr>
              <a:defRPr/>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7" name="Slide Number Placeholder 16"/>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7BC01EA4-3BC1-4101-9AC2-FD6B853D97D7}" type="slidenum">
              <a:rPr/>
              <a:pPr/>
              <a:t>‹#›</a:t>
            </a:fld>
            <a:endParaRPr/>
          </a:p>
        </p:txBody>
      </p:sp>
    </p:spTree>
    <p:extLst>
      <p:ext uri="{BB962C8B-B14F-4D97-AF65-F5344CB8AC3E}">
        <p14:creationId xmlns:p14="http://schemas.microsoft.com/office/powerpoint/2010/main" val="587193447"/>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p:cSld name="Tab Slide">
    <p:spTree>
      <p:nvGrpSpPr>
        <p:cNvPr id="1" name=""/>
        <p:cNvGrpSpPr/>
        <p:nvPr/>
      </p:nvGrpSpPr>
      <p:grpSpPr>
        <a:xfrm>
          <a:off x="0" y="0"/>
          <a:ext cx="0" cy="0"/>
          <a:chOff x="0" y="0"/>
          <a:chExt cx="0" cy="0"/>
        </a:xfrm>
      </p:grpSpPr>
      <p:pic>
        <p:nvPicPr>
          <p:cNvPr id="7"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40000" contrast="-30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Tree>
    <p:extLst>
      <p:ext uri="{BB962C8B-B14F-4D97-AF65-F5344CB8AC3E}">
        <p14:creationId xmlns:p14="http://schemas.microsoft.com/office/powerpoint/2010/main" val="2213613256"/>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Sub Divider Slide">
    <p:spTree>
      <p:nvGrpSpPr>
        <p:cNvPr id="1" name=""/>
        <p:cNvGrpSpPr/>
        <p:nvPr/>
      </p:nvGrpSpPr>
      <p:grpSpPr>
        <a:xfrm>
          <a:off x="0" y="0"/>
          <a:ext cx="0" cy="0"/>
          <a:chOff x="0" y="0"/>
          <a:chExt cx="0" cy="0"/>
        </a:xfrm>
      </p:grpSpPr>
      <p:pic>
        <p:nvPicPr>
          <p:cNvPr id="6" name="Picture 4" descr="https://www.agility.com/wp-content/uploads/2018/01/News-Tareks-Blog2.jpg"/>
          <p:cNvPicPr>
            <a:picLocks noChangeAspect="1" noChangeArrowheads="1"/>
          </p:cNvPicPr>
          <p:nvPr userDrawn="1"/>
        </p:nvPicPr>
        <p:blipFill>
          <a:blip r:embed="rId2" cstate="print">
            <a:duotone>
              <a:schemeClr val="accent4">
                <a:shade val="45000"/>
                <a:satMod val="135000"/>
              </a:schemeClr>
              <a:prstClr val="white"/>
            </a:duotone>
            <a:lum bright="60000" contrast="-53000"/>
          </a:blip>
          <a:srcRect r="18117"/>
          <a:stretch>
            <a:fillRect/>
          </a:stretch>
        </p:blipFill>
        <p:spPr bwMode="auto">
          <a:xfrm>
            <a:off x="-1" y="0"/>
            <a:ext cx="12192001" cy="6858000"/>
          </a:xfrm>
          <a:prstGeom prst="rect">
            <a:avLst/>
          </a:prstGeom>
          <a:noFill/>
        </p:spPr>
      </p:pic>
      <p:sp>
        <p:nvSpPr>
          <p:cNvPr id="5" name="Title 4"/>
          <p:cNvSpPr>
            <a:spLocks noGrp="1"/>
          </p:cNvSpPr>
          <p:nvPr>
            <p:ph type="title" hasCustomPrompt="1"/>
          </p:nvPr>
        </p:nvSpPr>
        <p:spPr>
          <a:xfrm>
            <a:off x="831274" y="2692373"/>
            <a:ext cx="10529455" cy="470647"/>
          </a:xfrm>
          <a:noFill/>
          <a:ln w="9525" algn="ctr">
            <a:noFill/>
            <a:miter lim="800000"/>
            <a:headEnd/>
            <a:tailEnd/>
          </a:ln>
          <a:effectLst/>
        </p:spPr>
        <p:txBody>
          <a:bodyPr lIns="0" tIns="0" rIns="0" bIns="0" anchor="b"/>
          <a:lstStyle>
            <a:lvl1pPr algn="l" defTabSz="914608" rtl="0" fontAlgn="base">
              <a:lnSpc>
                <a:spcPct val="80000"/>
              </a:lnSpc>
              <a:spcBef>
                <a:spcPct val="0"/>
              </a:spcBef>
              <a:spcAft>
                <a:spcPct val="0"/>
              </a:spcAft>
              <a:defRPr lang="en-US" sz="1800" b="1" kern="1200" baseline="0" dirty="0" smtClean="0">
                <a:solidFill>
                  <a:schemeClr val="bg2"/>
                </a:solidFill>
                <a:latin typeface="+mj-lt"/>
                <a:ea typeface="+mn-ea"/>
                <a:cs typeface="Times New Roman" pitchFamily="18" charset="0"/>
              </a:defRPr>
            </a:lvl1pPr>
          </a:lstStyle>
          <a:p>
            <a:r>
              <a:rPr lang="en-US" dirty="0"/>
              <a:t>Tab Text Goes Here</a:t>
            </a:r>
          </a:p>
        </p:txBody>
      </p:sp>
      <p:sp>
        <p:nvSpPr>
          <p:cNvPr id="3" name="Line 1026"/>
          <p:cNvSpPr>
            <a:spLocks noChangeShapeType="1"/>
          </p:cNvSpPr>
          <p:nvPr/>
        </p:nvSpPr>
        <p:spPr bwMode="black">
          <a:xfrm>
            <a:off x="831273" y="3227294"/>
            <a:ext cx="10508288" cy="0"/>
          </a:xfrm>
          <a:prstGeom prst="line">
            <a:avLst/>
          </a:prstGeom>
          <a:noFill/>
          <a:ln w="9525">
            <a:solidFill>
              <a:schemeClr val="tx2"/>
            </a:solidFill>
            <a:round/>
            <a:headEnd/>
            <a:tailEnd/>
          </a:ln>
          <a:effectLst/>
        </p:spPr>
        <p:txBody>
          <a:bodyPr wrap="none" lIns="82058" tIns="41029" rIns="82058" bIns="41029" anchor="ctr"/>
          <a:lstStyle/>
          <a:p>
            <a:pPr algn="ctr" fontAlgn="base">
              <a:spcBef>
                <a:spcPct val="0"/>
              </a:spcBef>
              <a:spcAft>
                <a:spcPct val="0"/>
              </a:spcAft>
            </a:pPr>
            <a:endParaRPr lang="en-US" sz="1300">
              <a:solidFill>
                <a:srgbClr val="000000"/>
              </a:solidFill>
              <a:cs typeface="Arial" charset="0"/>
            </a:endParaRPr>
          </a:p>
        </p:txBody>
      </p:sp>
      <p:sp>
        <p:nvSpPr>
          <p:cNvPr id="7"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5" name="Slide Number Placeholder 14"/>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E2ACF161-3639-4DB2-AA3B-4A41135AF63F}" type="slidenum">
              <a:rPr/>
              <a:pPr/>
              <a:t>‹#›</a:t>
            </a:fld>
            <a:endParaRPr/>
          </a:p>
        </p:txBody>
      </p:sp>
    </p:spTree>
    <p:extLst>
      <p:ext uri="{BB962C8B-B14F-4D97-AF65-F5344CB8AC3E}">
        <p14:creationId xmlns:p14="http://schemas.microsoft.com/office/powerpoint/2010/main" val="3228719721"/>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lIns="0" rIns="0"/>
          <a:lstStyle/>
          <a:p>
            <a:r>
              <a:rPr lang="en-US" dirty="0"/>
              <a:t>Click to edit Master title style</a:t>
            </a:r>
          </a:p>
        </p:txBody>
      </p:sp>
      <p:sp>
        <p:nvSpPr>
          <p:cNvPr id="4"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5"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6"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1" name="Slide Number Placeholder 10"/>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645EB43A-5775-4200-8846-86C8FD92F8B7}" type="slidenum">
              <a:rPr/>
              <a:pPr/>
              <a:t>‹#›</a:t>
            </a:fld>
            <a:endParaRPr/>
          </a:p>
        </p:txBody>
      </p:sp>
    </p:spTree>
    <p:extLst>
      <p:ext uri="{BB962C8B-B14F-4D97-AF65-F5344CB8AC3E}">
        <p14:creationId xmlns:p14="http://schemas.microsoft.com/office/powerpoint/2010/main" val="337902537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p:cSld name="Title Slide 1">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507488" y="2465776"/>
            <a:ext cx="6761019"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507489" y="2960238"/>
            <a:ext cx="6761019"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507488" y="4248374"/>
            <a:ext cx="4416136" cy="458096"/>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p:nvGrpSpPr>
        <p:grpSpPr bwMode="auto">
          <a:xfrm>
            <a:off x="1220321" y="1888191"/>
            <a:ext cx="7262091" cy="1984842"/>
            <a:chOff x="1288" y="1521"/>
            <a:chExt cx="3774"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353"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4" cstate="print"/>
          <a:stretch>
            <a:fillRect/>
          </a:stretch>
        </p:blipFill>
        <p:spPr>
          <a:xfrm>
            <a:off x="1108364" y="829236"/>
            <a:ext cx="2888896" cy="392621"/>
          </a:xfrm>
          <a:prstGeom prst="rect">
            <a:avLst/>
          </a:prstGeom>
        </p:spPr>
      </p:pic>
      <p:sp>
        <p:nvSpPr>
          <p:cNvPr id="10" name="ClientLogo" hidden="1"/>
          <p:cNvSpPr>
            <a:spLocks noChangeArrowheads="1"/>
          </p:cNvSpPr>
          <p:nvPr userDrawn="1">
            <p:custDataLst>
              <p:tags r:id="rId2"/>
            </p:custDataLst>
          </p:nvPr>
        </p:nvSpPr>
        <p:spPr bwMode="auto">
          <a:xfrm>
            <a:off x="8027873" y="892269"/>
            <a:ext cx="3325091" cy="806824"/>
          </a:xfrm>
          <a:prstGeom prst="rect">
            <a:avLst/>
          </a:prstGeom>
          <a:solidFill>
            <a:srgbClr val="FEDF87"/>
          </a:solidFill>
          <a:ln w="12700">
            <a:solidFill>
              <a:srgbClr val="FF0000"/>
            </a:solidFill>
            <a:prstDash val="solid"/>
            <a:miter lim="800000"/>
            <a:headEnd/>
            <a:tailEnd/>
          </a:ln>
          <a:effectLst/>
        </p:spPr>
        <p:txBody>
          <a:bodyPr wrap="square" lIns="0" tIns="49235" rIns="32823" bIns="0" anchor="t"/>
          <a:lstStyle/>
          <a:p>
            <a:pPr algn="ctr" fontAlgn="base">
              <a:spcBef>
                <a:spcPct val="0"/>
              </a:spcBef>
              <a:spcAft>
                <a:spcPct val="0"/>
              </a:spcAft>
            </a:pPr>
            <a:r>
              <a:rPr lang="en-US" sz="1100" b="1" dirty="0">
                <a:solidFill>
                  <a:srgbClr val="FF0000"/>
                </a:solidFill>
                <a:cs typeface="Arial" charset="0"/>
              </a:rPr>
              <a:t>PB Cover Logo Placeholder </a:t>
            </a:r>
            <a:br>
              <a:rPr lang="en-US" sz="1100" dirty="0">
                <a:solidFill>
                  <a:srgbClr val="FF0000"/>
                </a:solidFill>
                <a:cs typeface="Arial" charset="0"/>
              </a:rPr>
            </a:br>
            <a:r>
              <a:rPr lang="en-US" sz="1100" dirty="0">
                <a:solidFill>
                  <a:srgbClr val="FF0000"/>
                </a:solidFill>
                <a:cs typeface="Arial" charset="0"/>
              </a:rPr>
              <a:t>Delete this box if you see it on a slide, but DO NOT REMOVE this box from the slide layout. </a:t>
            </a:r>
          </a:p>
        </p:txBody>
      </p:sp>
    </p:spTree>
    <p:extLst>
      <p:ext uri="{BB962C8B-B14F-4D97-AF65-F5344CB8AC3E}">
        <p14:creationId xmlns:p14="http://schemas.microsoft.com/office/powerpoint/2010/main" val="429121099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p:cSld name="Title Slide 2">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2835" y="1989526"/>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2835" y="2483988"/>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a:t>Click to edit Master subtitle style</a:t>
            </a:r>
            <a:endParaRPr lang="en-US" dirty="0"/>
          </a:p>
        </p:txBody>
      </p:sp>
      <p:sp>
        <p:nvSpPr>
          <p:cNvPr id="12" name="Text Placeholder 11"/>
          <p:cNvSpPr>
            <a:spLocks noGrp="1"/>
          </p:cNvSpPr>
          <p:nvPr>
            <p:ph type="body" sz="quarter" idx="10" hasCustomPrompt="1"/>
          </p:nvPr>
        </p:nvSpPr>
        <p:spPr>
          <a:xfrm>
            <a:off x="1252833" y="3772125"/>
            <a:ext cx="4416136" cy="463699"/>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grpSp>
        <p:nvGrpSpPr>
          <p:cNvPr id="2" name="Group 201"/>
          <p:cNvGrpSpPr>
            <a:grpSpLocks/>
          </p:cNvGrpSpPr>
          <p:nvPr userDrawn="1"/>
        </p:nvGrpSpPr>
        <p:grpSpPr bwMode="auto">
          <a:xfrm>
            <a:off x="1029194" y="1411941"/>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9"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1" name="BarclaysLogo" descr="Standard_Cover.bmp"/>
          <p:cNvPicPr>
            <a:picLocks noChangeAspect="1"/>
          </p:cNvPicPr>
          <p:nvPr userDrawn="1"/>
        </p:nvPicPr>
        <p:blipFill>
          <a:blip r:embed="rId3"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3904007783"/>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OC">
    <p:spTree>
      <p:nvGrpSpPr>
        <p:cNvPr id="1" name=""/>
        <p:cNvGrpSpPr/>
        <p:nvPr/>
      </p:nvGrpSpPr>
      <p:grpSpPr>
        <a:xfrm>
          <a:off x="0" y="0"/>
          <a:ext cx="0" cy="0"/>
          <a:chOff x="0" y="0"/>
          <a:chExt cx="0" cy="0"/>
        </a:xfrm>
      </p:grpSpPr>
      <p:sp>
        <p:nvSpPr>
          <p:cNvPr id="2" name="plhTOCTitle"/>
          <p:cNvSpPr>
            <a:spLocks noGrp="1"/>
          </p:cNvSpPr>
          <p:nvPr>
            <p:ph type="title"/>
          </p:nvPr>
        </p:nvSpPr>
        <p:spPr/>
        <p:txBody>
          <a:bodyPr/>
          <a:lstStyle/>
          <a:p>
            <a:r>
              <a:rPr lang="en-US"/>
              <a:t>Click to edit Master title style</a:t>
            </a:r>
            <a:endParaRPr lang="en-US" dirty="0"/>
          </a:p>
        </p:txBody>
      </p:sp>
      <p:sp>
        <p:nvSpPr>
          <p:cNvPr id="5" name="plhTOCBody"/>
          <p:cNvSpPr>
            <a:spLocks noGrp="1"/>
          </p:cNvSpPr>
          <p:nvPr>
            <p:ph type="body" sz="quarter" idx="10" hasCustomPrompt="1"/>
          </p:nvPr>
        </p:nvSpPr>
        <p:spPr/>
        <p:txBody>
          <a:bodyPr/>
          <a:lstStyle>
            <a:lvl1pPr marL="615437" indent="-615437">
              <a:lnSpc>
                <a:spcPct val="155000"/>
              </a:lnSpc>
              <a:spcBef>
                <a:spcPts val="0"/>
              </a:spcBef>
              <a:buFont typeface="+mj-lt"/>
              <a:buAutoNum type="arabicPeriod"/>
              <a:tabLst>
                <a:tab pos="7739974" algn="r"/>
              </a:tabLst>
              <a:defRPr/>
            </a:lvl1pPr>
            <a:lvl2pPr marL="1230874" indent="-615437">
              <a:lnSpc>
                <a:spcPct val="155000"/>
              </a:lnSpc>
              <a:spcBef>
                <a:spcPts val="0"/>
              </a:spcBef>
              <a:buSzPct val="100000"/>
              <a:buFont typeface="+mj-lt"/>
              <a:buAutoNum type="alphaUcPeriod"/>
              <a:tabLst>
                <a:tab pos="7739974" algn="r"/>
              </a:tabLst>
              <a:defRPr/>
            </a:lvl2pPr>
            <a:lvl3pPr marL="1846311" indent="-615437">
              <a:lnSpc>
                <a:spcPct val="155000"/>
              </a:lnSpc>
              <a:spcBef>
                <a:spcPts val="0"/>
              </a:spcBef>
              <a:buFont typeface="+mj-lt"/>
              <a:buAutoNum type="romanLcPeriod"/>
              <a:tabLst>
                <a:tab pos="7739974" algn="r"/>
              </a:tabLst>
              <a:defRPr baseline="0"/>
            </a:lvl3pPr>
            <a:lvl4pPr marL="1230874" indent="-615437">
              <a:lnSpc>
                <a:spcPct val="155000"/>
              </a:lnSpc>
              <a:spcBef>
                <a:spcPts val="0"/>
              </a:spcBef>
              <a:buNone/>
              <a:tabLst>
                <a:tab pos="7739974" algn="r"/>
              </a:tabLst>
              <a:defRPr/>
            </a:lvl4pPr>
            <a:lvl5pPr marL="1230874" indent="-615437">
              <a:lnSpc>
                <a:spcPct val="155000"/>
              </a:lnSpc>
              <a:spcBef>
                <a:spcPts val="0"/>
              </a:spcBef>
              <a:buFont typeface="+mj-lt"/>
              <a:buAutoNum type="alphaUcPeriod"/>
              <a:tabLst>
                <a:tab pos="7739974" algn="r"/>
              </a:tabLst>
              <a:defRPr/>
            </a:lvl5pPr>
            <a:lvl6pPr marL="1846311" indent="-615437">
              <a:lnSpc>
                <a:spcPct val="155000"/>
              </a:lnSpc>
              <a:spcBef>
                <a:spcPts val="0"/>
              </a:spcBef>
              <a:buSzPct val="100000"/>
              <a:buFont typeface="+mj-lt"/>
              <a:buAutoNum type="romanLcPeriod"/>
              <a:tabLst>
                <a:tab pos="7739974" algn="r"/>
              </a:tabLst>
              <a:defRPr baseline="0"/>
            </a:lvl6pPr>
            <a:lvl7pPr marL="0" indent="0">
              <a:buNone/>
              <a:defRPr/>
            </a:lvl7pPr>
          </a:lstStyle>
          <a:p>
            <a:pPr lvl="0"/>
            <a:r>
              <a:rPr lang="en-US" dirty="0"/>
              <a:t>Primary Sections</a:t>
            </a:r>
          </a:p>
          <a:p>
            <a:pPr lvl="1"/>
            <a:r>
              <a:rPr lang="en-US" dirty="0"/>
              <a:t>Sub-Sections</a:t>
            </a:r>
          </a:p>
          <a:p>
            <a:pPr lvl="2"/>
            <a:r>
              <a:rPr lang="en-US" dirty="0"/>
              <a:t>Tertiary Sections</a:t>
            </a:r>
          </a:p>
          <a:p>
            <a:pPr lvl="6"/>
            <a:r>
              <a:rPr lang="en-US" dirty="0"/>
              <a:t>________________________________________________________________________________________</a:t>
            </a:r>
          </a:p>
          <a:p>
            <a:pPr lvl="3"/>
            <a:r>
              <a:rPr lang="en-US" dirty="0"/>
              <a:t>Appendices</a:t>
            </a:r>
          </a:p>
          <a:p>
            <a:pPr lvl="4"/>
            <a:r>
              <a:rPr lang="en-US" dirty="0"/>
              <a:t>Appendices Sections</a:t>
            </a:r>
          </a:p>
          <a:p>
            <a:pPr lvl="5"/>
            <a:r>
              <a:rPr lang="en-US" dirty="0"/>
              <a:t>Appendices Sub-Sections</a:t>
            </a:r>
          </a:p>
          <a:p>
            <a:pPr lvl="5"/>
            <a:endParaRPr lang="en-US" dirty="0"/>
          </a:p>
        </p:txBody>
      </p:sp>
    </p:spTree>
    <p:extLst>
      <p:ext uri="{BB962C8B-B14F-4D97-AF65-F5344CB8AC3E}">
        <p14:creationId xmlns:p14="http://schemas.microsoft.com/office/powerpoint/2010/main" val="4321298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5475" y="3766495"/>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5475" y="4260957"/>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255473" y="4631191"/>
            <a:ext cx="4416136" cy="411457"/>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pic>
        <p:nvPicPr>
          <p:cNvPr id="10" name="Picture 9"/>
          <p:cNvPicPr>
            <a:picLocks noChangeAspect="1" noChangeArrowheads="1"/>
          </p:cNvPicPr>
          <p:nvPr userDrawn="1"/>
        </p:nvPicPr>
        <p:blipFill>
          <a:blip r:embed="rId3" cstate="print"/>
          <a:srcRect/>
          <a:stretch>
            <a:fillRect/>
          </a:stretch>
        </p:blipFill>
        <p:spPr bwMode="auto">
          <a:xfrm>
            <a:off x="1016001" y="1562527"/>
            <a:ext cx="7571847" cy="1679831"/>
          </a:xfrm>
          <a:prstGeom prst="rect">
            <a:avLst/>
          </a:prstGeom>
          <a:noFill/>
          <a:ln w="9525">
            <a:noFill/>
            <a:miter lim="800000"/>
            <a:headEnd/>
            <a:tailEnd/>
          </a:ln>
          <a:effectLst/>
        </p:spPr>
      </p:pic>
      <p:grpSp>
        <p:nvGrpSpPr>
          <p:cNvPr id="2" name="Group 201"/>
          <p:cNvGrpSpPr>
            <a:grpSpLocks/>
          </p:cNvGrpSpPr>
          <p:nvPr userDrawn="1"/>
        </p:nvGrpSpPr>
        <p:grpSpPr bwMode="auto">
          <a:xfrm>
            <a:off x="1031834" y="1410020"/>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11"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4" name="BarclaysLogo" descr="Standard_Cover.bmp"/>
          <p:cNvPicPr>
            <a:picLocks noChangeAspect="1"/>
          </p:cNvPicPr>
          <p:nvPr userDrawn="1"/>
        </p:nvPicPr>
        <p:blipFill>
          <a:blip r:embed="rId4"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214220564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Title Slide 3">
    <p:spTree>
      <p:nvGrpSpPr>
        <p:cNvPr id="1" name=""/>
        <p:cNvGrpSpPr/>
        <p:nvPr/>
      </p:nvGrpSpPr>
      <p:grpSpPr>
        <a:xfrm>
          <a:off x="0" y="0"/>
          <a:ext cx="0" cy="0"/>
          <a:chOff x="0" y="0"/>
          <a:chExt cx="0" cy="0"/>
        </a:xfrm>
      </p:grpSpPr>
      <p:sp>
        <p:nvSpPr>
          <p:cNvPr id="6343" name="Rectangle 2"/>
          <p:cNvSpPr>
            <a:spLocks noGrp="1" noChangeArrowheads="1"/>
          </p:cNvSpPr>
          <p:nvPr>
            <p:ph type="ctrTitle"/>
          </p:nvPr>
        </p:nvSpPr>
        <p:spPr>
          <a:xfrm>
            <a:off x="1255475" y="3766495"/>
            <a:ext cx="6888360" cy="446276"/>
          </a:xfrm>
          <a:ln algn="ctr"/>
        </p:spPr>
        <p:txBody>
          <a:bodyPr wrap="square" tIns="0" bIns="0" anchor="b">
            <a:spAutoFit/>
          </a:bodyPr>
          <a:lstStyle>
            <a:lvl1pPr>
              <a:lnSpc>
                <a:spcPct val="100000"/>
              </a:lnSpc>
              <a:defRPr sz="2900">
                <a:solidFill>
                  <a:schemeClr val="accent1"/>
                </a:solidFill>
                <a:latin typeface="+mj-lt"/>
              </a:defRPr>
            </a:lvl1pPr>
          </a:lstStyle>
          <a:p>
            <a:r>
              <a:rPr lang="en-US"/>
              <a:t>Click to edit Master title style</a:t>
            </a:r>
            <a:endParaRPr lang="en-US" dirty="0"/>
          </a:p>
        </p:txBody>
      </p:sp>
      <p:sp>
        <p:nvSpPr>
          <p:cNvPr id="6344" name="Rectangle 3"/>
          <p:cNvSpPr>
            <a:spLocks noGrp="1" noChangeArrowheads="1"/>
          </p:cNvSpPr>
          <p:nvPr>
            <p:ph type="subTitle" idx="1"/>
          </p:nvPr>
        </p:nvSpPr>
        <p:spPr>
          <a:xfrm>
            <a:off x="1255475" y="4260957"/>
            <a:ext cx="6875176" cy="276999"/>
          </a:xfrm>
        </p:spPr>
        <p:txBody>
          <a:bodyPr wrap="square" lIns="16412" tIns="0" rIns="0" bIns="0">
            <a:spAutoFit/>
          </a:bodyPr>
          <a:lstStyle>
            <a:lvl1pPr marL="0" indent="0">
              <a:lnSpc>
                <a:spcPct val="100000"/>
              </a:lnSpc>
              <a:spcBef>
                <a:spcPts val="808"/>
              </a:spcBef>
              <a:buClr>
                <a:schemeClr val="tx2"/>
              </a:buClr>
              <a:buSzTx/>
              <a:buFont typeface="Wingdings" pitchFamily="2" charset="2"/>
              <a:buNone/>
              <a:defRPr sz="1800">
                <a:solidFill>
                  <a:schemeClr val="tx2"/>
                </a:solidFill>
                <a:latin typeface="+mj-lt"/>
              </a:defRPr>
            </a:lvl1pPr>
          </a:lstStyle>
          <a:p>
            <a:r>
              <a:rPr lang="en-US" dirty="0"/>
              <a:t>Click to edit Master subtitle style</a:t>
            </a:r>
          </a:p>
        </p:txBody>
      </p:sp>
      <p:sp>
        <p:nvSpPr>
          <p:cNvPr id="12" name="Text Placeholder 11"/>
          <p:cNvSpPr>
            <a:spLocks noGrp="1"/>
          </p:cNvSpPr>
          <p:nvPr>
            <p:ph type="body" sz="quarter" idx="10" hasCustomPrompt="1"/>
          </p:nvPr>
        </p:nvSpPr>
        <p:spPr>
          <a:xfrm>
            <a:off x="1255473" y="4631191"/>
            <a:ext cx="4416136" cy="411457"/>
          </a:xfrm>
        </p:spPr>
        <p:txBody>
          <a:bodyPr lIns="16412" tIns="0" rIns="0" bIns="0"/>
          <a:lstStyle>
            <a:lvl1pPr>
              <a:lnSpc>
                <a:spcPct val="110000"/>
              </a:lnSpc>
              <a:spcBef>
                <a:spcPts val="63"/>
              </a:spcBef>
              <a:buNone/>
              <a:defRPr baseline="0"/>
            </a:lvl1pPr>
          </a:lstStyle>
          <a:p>
            <a:pPr lvl="0"/>
            <a:r>
              <a:rPr lang="en-US" dirty="0"/>
              <a:t>Date</a:t>
            </a:r>
          </a:p>
          <a:p>
            <a:pPr lvl="0"/>
            <a:r>
              <a:rPr lang="en-US" dirty="0"/>
              <a:t>Speaker Name</a:t>
            </a:r>
          </a:p>
        </p:txBody>
      </p:sp>
      <p:pic>
        <p:nvPicPr>
          <p:cNvPr id="10" name="Picture 9"/>
          <p:cNvPicPr>
            <a:picLocks noChangeAspect="1" noChangeArrowheads="1"/>
          </p:cNvPicPr>
          <p:nvPr userDrawn="1"/>
        </p:nvPicPr>
        <p:blipFill>
          <a:blip r:embed="rId3" cstate="print"/>
          <a:srcRect/>
          <a:stretch>
            <a:fillRect/>
          </a:stretch>
        </p:blipFill>
        <p:spPr bwMode="auto">
          <a:xfrm>
            <a:off x="1016001" y="1562527"/>
            <a:ext cx="7571847" cy="1679831"/>
          </a:xfrm>
          <a:prstGeom prst="rect">
            <a:avLst/>
          </a:prstGeom>
          <a:noFill/>
          <a:ln w="9525">
            <a:noFill/>
            <a:miter lim="800000"/>
            <a:headEnd/>
            <a:tailEnd/>
          </a:ln>
          <a:effectLst/>
        </p:spPr>
      </p:pic>
      <p:grpSp>
        <p:nvGrpSpPr>
          <p:cNvPr id="2" name="Group 201"/>
          <p:cNvGrpSpPr>
            <a:grpSpLocks/>
          </p:cNvGrpSpPr>
          <p:nvPr userDrawn="1"/>
        </p:nvGrpSpPr>
        <p:grpSpPr bwMode="auto">
          <a:xfrm>
            <a:off x="1031834" y="1410020"/>
            <a:ext cx="7535333" cy="1984842"/>
            <a:chOff x="1288" y="1521"/>
            <a:chExt cx="3916" cy="1417"/>
          </a:xfrm>
        </p:grpSpPr>
        <p:cxnSp>
          <p:nvCxnSpPr>
            <p:cNvPr id="6" name="Straight Connector 11"/>
            <p:cNvCxnSpPr>
              <a:cxnSpLocks noChangeShapeType="1"/>
            </p:cNvCxnSpPr>
            <p:nvPr/>
          </p:nvCxnSpPr>
          <p:spPr bwMode="auto">
            <a:xfrm rot="16200000" flipH="1">
              <a:off x="579" y="2230"/>
              <a:ext cx="1417" cy="0"/>
            </a:xfrm>
            <a:prstGeom prst="line">
              <a:avLst/>
            </a:prstGeom>
            <a:noFill/>
            <a:ln w="76200" cap="rnd" algn="ctr">
              <a:solidFill>
                <a:srgbClr val="00AEEF"/>
              </a:solidFill>
              <a:round/>
              <a:headEnd/>
              <a:tailEnd/>
            </a:ln>
          </p:spPr>
        </p:cxnSp>
        <p:cxnSp>
          <p:nvCxnSpPr>
            <p:cNvPr id="7" name="Straight Connector 12"/>
            <p:cNvCxnSpPr>
              <a:cxnSpLocks noChangeShapeType="1"/>
            </p:cNvCxnSpPr>
            <p:nvPr/>
          </p:nvCxnSpPr>
          <p:spPr bwMode="auto">
            <a:xfrm rot="16200000" flipH="1">
              <a:off x="4495" y="2230"/>
              <a:ext cx="1417" cy="0"/>
            </a:xfrm>
            <a:prstGeom prst="line">
              <a:avLst/>
            </a:prstGeom>
            <a:noFill/>
            <a:ln w="76200" cap="rnd" algn="ctr">
              <a:solidFill>
                <a:srgbClr val="00AEEF"/>
              </a:solidFill>
              <a:round/>
              <a:headEnd/>
              <a:tailEnd/>
            </a:ln>
          </p:spPr>
        </p:cxnSp>
      </p:grpSp>
      <p:sp>
        <p:nvSpPr>
          <p:cNvPr id="11" name="shpStamp" hidden="1"/>
          <p:cNvSpPr txBox="1">
            <a:spLocks noChangeArrowheads="1"/>
          </p:cNvSpPr>
          <p:nvPr userDrawn="1">
            <p:custDataLst>
              <p:tags r:id="rId1"/>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dirty="0">
                <a:solidFill>
                  <a:srgbClr val="FF0000"/>
                </a:solidFill>
                <a:cs typeface="Arial" charset="0"/>
              </a:rPr>
              <a:t>STAMP</a:t>
            </a:r>
          </a:p>
        </p:txBody>
      </p:sp>
      <p:pic>
        <p:nvPicPr>
          <p:cNvPr id="14" name="BarclaysLogo" descr="Standard_Cover.bmp"/>
          <p:cNvPicPr>
            <a:picLocks noChangeAspect="1"/>
          </p:cNvPicPr>
          <p:nvPr userDrawn="1"/>
        </p:nvPicPr>
        <p:blipFill>
          <a:blip r:embed="rId4" cstate="print"/>
          <a:stretch>
            <a:fillRect/>
          </a:stretch>
        </p:blipFill>
        <p:spPr>
          <a:xfrm>
            <a:off x="8728365" y="2210585"/>
            <a:ext cx="2108895" cy="286614"/>
          </a:xfrm>
          <a:prstGeom prst="rect">
            <a:avLst/>
          </a:prstGeom>
        </p:spPr>
      </p:pic>
    </p:spTree>
    <p:extLst>
      <p:ext uri="{BB962C8B-B14F-4D97-AF65-F5344CB8AC3E}">
        <p14:creationId xmlns:p14="http://schemas.microsoft.com/office/powerpoint/2010/main" val="358900738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pic>
        <p:nvPicPr>
          <p:cNvPr id="5" name="Imagen 2"/>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 y="0"/>
            <a:ext cx="12195175" cy="686593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cxnSp>
        <p:nvCxnSpPr>
          <p:cNvPr id="8" name="Conector recto 7"/>
          <p:cNvCxnSpPr/>
          <p:nvPr userDrawn="1"/>
        </p:nvCxnSpPr>
        <p:spPr>
          <a:xfrm flipV="1">
            <a:off x="443752" y="620712"/>
            <a:ext cx="4932513" cy="0"/>
          </a:xfrm>
          <a:prstGeom prst="line">
            <a:avLst/>
          </a:prstGeom>
          <a:ln w="127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7" name="Marcador de texto 6"/>
          <p:cNvSpPr>
            <a:spLocks noGrp="1"/>
          </p:cNvSpPr>
          <p:nvPr>
            <p:ph type="body" sz="quarter" idx="10" hasCustomPrompt="1"/>
          </p:nvPr>
        </p:nvSpPr>
        <p:spPr>
          <a:xfrm>
            <a:off x="444108" y="1016732"/>
            <a:ext cx="5435896" cy="1548556"/>
          </a:xfrm>
          <a:prstGeom prst="rect">
            <a:avLst/>
          </a:prstGeom>
        </p:spPr>
        <p:txBody>
          <a:bodyPr vert="horz" lIns="34267" tIns="17132" rIns="34267" bIns="17132"/>
          <a:lstStyle>
            <a:lvl1pPr marL="0" indent="0">
              <a:buNone/>
              <a:defRPr sz="4499" b="1" i="0" spc="-149" baseline="0">
                <a:solidFill>
                  <a:schemeClr val="bg2"/>
                </a:solidFill>
                <a:latin typeface="Karla" pitchFamily="2" charset="0"/>
                <a:ea typeface="Karla" pitchFamily="2" charset="0"/>
                <a:cs typeface="Karla" pitchFamily="2" charset="0"/>
              </a:defRPr>
            </a:lvl1pPr>
          </a:lstStyle>
          <a:p>
            <a:pPr lvl="0"/>
            <a:r>
              <a:rPr lang="en-US" noProof="0" dirty="0"/>
              <a:t>Click here to insert presentation title</a:t>
            </a:r>
          </a:p>
        </p:txBody>
      </p:sp>
      <p:sp>
        <p:nvSpPr>
          <p:cNvPr id="14" name="Marcador de texto 13"/>
          <p:cNvSpPr>
            <a:spLocks noGrp="1"/>
          </p:cNvSpPr>
          <p:nvPr>
            <p:ph type="body" sz="quarter" idx="12" hasCustomPrompt="1"/>
          </p:nvPr>
        </p:nvSpPr>
        <p:spPr>
          <a:xfrm>
            <a:off x="443748" y="2673303"/>
            <a:ext cx="5400256" cy="1044575"/>
          </a:xfrm>
          <a:prstGeom prst="rect">
            <a:avLst/>
          </a:prstGeom>
        </p:spPr>
        <p:txBody>
          <a:bodyPr vert="horz" lIns="34267" tIns="17132" rIns="34267" bIns="17132"/>
          <a:lstStyle>
            <a:lvl1pPr marL="0" indent="0">
              <a:buNone/>
              <a:defRPr sz="2500" spc="-74" baseline="0">
                <a:solidFill>
                  <a:schemeClr val="bg2"/>
                </a:solidFill>
                <a:latin typeface="+mn-lt"/>
                <a:ea typeface="Karla" pitchFamily="2" charset="0"/>
                <a:cs typeface="Karla" pitchFamily="2" charset="0"/>
              </a:defRPr>
            </a:lvl1pPr>
          </a:lstStyle>
          <a:p>
            <a:pPr lvl="0"/>
            <a:r>
              <a:rPr lang="en-US" noProof="0" dirty="0"/>
              <a:t>Click here to insert subtitle</a:t>
            </a:r>
          </a:p>
        </p:txBody>
      </p:sp>
      <p:sp>
        <p:nvSpPr>
          <p:cNvPr id="19" name="Marcador de texto 11"/>
          <p:cNvSpPr>
            <a:spLocks noGrp="1"/>
          </p:cNvSpPr>
          <p:nvPr>
            <p:ph type="body" sz="quarter" idx="11" hasCustomPrompt="1"/>
          </p:nvPr>
        </p:nvSpPr>
        <p:spPr>
          <a:xfrm>
            <a:off x="443748" y="314382"/>
            <a:ext cx="3492293" cy="216384"/>
          </a:xfrm>
          <a:prstGeom prst="rect">
            <a:avLst/>
          </a:prstGeom>
        </p:spPr>
        <p:txBody>
          <a:bodyPr vert="horz" lIns="34267" tIns="17132" rIns="34267" bIns="17132"/>
          <a:lstStyle>
            <a:lvl1pPr marL="0" indent="0">
              <a:buNone/>
              <a:defRPr sz="900" baseline="0">
                <a:solidFill>
                  <a:schemeClr val="bg2"/>
                </a:solidFill>
                <a:latin typeface="+mn-lt"/>
                <a:cs typeface="Karla"/>
              </a:defRPr>
            </a:lvl1pPr>
          </a:lstStyle>
          <a:p>
            <a:pPr lvl="0"/>
            <a:r>
              <a:rPr lang="en-GB" noProof="0" dirty="0"/>
              <a:t>MONTH / DAY / YEAR</a:t>
            </a:r>
          </a:p>
        </p:txBody>
      </p:sp>
      <p:pic>
        <p:nvPicPr>
          <p:cNvPr id="10" name="Imagen 9" descr="Agility_logos_ppt-03.pn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59966" y="5337212"/>
            <a:ext cx="3855219" cy="1066800"/>
          </a:xfrm>
          <a:prstGeom prst="rect">
            <a:avLst/>
          </a:prstGeom>
        </p:spPr>
      </p:pic>
    </p:spTree>
    <p:extLst>
      <p:ext uri="{BB962C8B-B14F-4D97-AF65-F5344CB8AC3E}">
        <p14:creationId xmlns:p14="http://schemas.microsoft.com/office/powerpoint/2010/main" val="214888203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Internal Cover">
    <p:spTree>
      <p:nvGrpSpPr>
        <p:cNvPr id="1" name=""/>
        <p:cNvGrpSpPr/>
        <p:nvPr/>
      </p:nvGrpSpPr>
      <p:grpSpPr>
        <a:xfrm>
          <a:off x="0" y="0"/>
          <a:ext cx="0" cy="0"/>
          <a:chOff x="0" y="0"/>
          <a:chExt cx="0" cy="0"/>
        </a:xfrm>
      </p:grpSpPr>
      <p:pic>
        <p:nvPicPr>
          <p:cNvPr id="2" name="Imagen 1">
            <a:extLst>
              <a:ext uri="{FF2B5EF4-FFF2-40B4-BE49-F238E27FC236}">
                <a16:creationId xmlns:a16="http://schemas.microsoft.com/office/drawing/2014/main" id="{865C2EEC-F2DD-264D-8279-13327B685EA8}"/>
              </a:ext>
            </a:extLst>
          </p:cNvPr>
          <p:cNvPicPr>
            <a:picLocks noChangeAspect="1"/>
          </p:cNvPicPr>
          <p:nvPr userDrawn="1"/>
        </p:nvPicPr>
        <p:blipFill rotWithShape="1">
          <a:blip r:embed="rId2"/>
          <a:srcRect t="906" r="672" b="1039"/>
          <a:stretch/>
        </p:blipFill>
        <p:spPr>
          <a:xfrm>
            <a:off x="3346283" y="1"/>
            <a:ext cx="8845717" cy="6858000"/>
          </a:xfrm>
          <a:prstGeom prst="rect">
            <a:avLst/>
          </a:prstGeom>
        </p:spPr>
      </p:pic>
      <p:sp>
        <p:nvSpPr>
          <p:cNvPr id="13" name="Marcador de texto 6"/>
          <p:cNvSpPr>
            <a:spLocks noGrp="1"/>
          </p:cNvSpPr>
          <p:nvPr>
            <p:ph type="body" sz="quarter" idx="10" hasCustomPrompt="1"/>
          </p:nvPr>
        </p:nvSpPr>
        <p:spPr>
          <a:xfrm>
            <a:off x="444108" y="1016349"/>
            <a:ext cx="5435896" cy="1548556"/>
          </a:xfrm>
          <a:prstGeom prst="rect">
            <a:avLst/>
          </a:prstGeom>
        </p:spPr>
        <p:txBody>
          <a:bodyPr vert="horz" lIns="34267" tIns="17132" rIns="34267" bIns="17132"/>
          <a:lstStyle>
            <a:lvl1pPr marL="0" indent="0">
              <a:buNone/>
              <a:defRPr sz="4499" b="1" i="0" spc="-149" baseline="0">
                <a:solidFill>
                  <a:schemeClr val="tx2"/>
                </a:solidFill>
                <a:latin typeface="Karla"/>
                <a:cs typeface="Karla"/>
              </a:defRPr>
            </a:lvl1pPr>
          </a:lstStyle>
          <a:p>
            <a:pPr lvl="0"/>
            <a:r>
              <a:rPr lang="en-US" noProof="0" dirty="0"/>
              <a:t>Click here to insert presentation title</a:t>
            </a:r>
          </a:p>
        </p:txBody>
      </p:sp>
      <p:sp>
        <p:nvSpPr>
          <p:cNvPr id="14" name="Marcador de texto 13"/>
          <p:cNvSpPr>
            <a:spLocks noGrp="1"/>
          </p:cNvSpPr>
          <p:nvPr>
            <p:ph type="body" sz="quarter" idx="12" hasCustomPrompt="1"/>
          </p:nvPr>
        </p:nvSpPr>
        <p:spPr>
          <a:xfrm>
            <a:off x="443748" y="2672920"/>
            <a:ext cx="5400256" cy="1044575"/>
          </a:xfrm>
          <a:prstGeom prst="rect">
            <a:avLst/>
          </a:prstGeom>
        </p:spPr>
        <p:txBody>
          <a:bodyPr vert="horz" lIns="34267" tIns="17132" rIns="34267" bIns="17132"/>
          <a:lstStyle>
            <a:lvl1pPr marL="0" indent="0">
              <a:buNone/>
              <a:defRPr sz="2500" spc="-74" baseline="0">
                <a:solidFill>
                  <a:schemeClr val="tx1"/>
                </a:solidFill>
                <a:latin typeface="Karla"/>
                <a:cs typeface="Karla"/>
              </a:defRPr>
            </a:lvl1pPr>
          </a:lstStyle>
          <a:p>
            <a:pPr lvl="0"/>
            <a:r>
              <a:rPr lang="en-US" noProof="0" dirty="0"/>
              <a:t>Click here to insert subtitle</a:t>
            </a:r>
          </a:p>
        </p:txBody>
      </p:sp>
      <p:sp>
        <p:nvSpPr>
          <p:cNvPr id="15" name="Marcador de texto 11"/>
          <p:cNvSpPr>
            <a:spLocks noGrp="1"/>
          </p:cNvSpPr>
          <p:nvPr>
            <p:ph type="body" sz="quarter" idx="11" hasCustomPrompt="1"/>
          </p:nvPr>
        </p:nvSpPr>
        <p:spPr>
          <a:xfrm>
            <a:off x="443748" y="314382"/>
            <a:ext cx="3492293" cy="216384"/>
          </a:xfrm>
          <a:prstGeom prst="rect">
            <a:avLst/>
          </a:prstGeom>
        </p:spPr>
        <p:txBody>
          <a:bodyPr vert="horz" lIns="34267" tIns="17132" rIns="34267" bIns="17132"/>
          <a:lstStyle>
            <a:lvl1pPr marL="0" indent="0">
              <a:buNone/>
              <a:defRPr sz="900" baseline="0">
                <a:solidFill>
                  <a:schemeClr val="tx2"/>
                </a:solidFill>
                <a:latin typeface="Karla"/>
                <a:cs typeface="Karla"/>
              </a:defRPr>
            </a:lvl1pPr>
          </a:lstStyle>
          <a:p>
            <a:pPr lvl="0"/>
            <a:r>
              <a:rPr lang="en-GB" noProof="0" dirty="0"/>
              <a:t>MONTH / DAY / YEAR</a:t>
            </a:r>
          </a:p>
        </p:txBody>
      </p:sp>
      <p:cxnSp>
        <p:nvCxnSpPr>
          <p:cNvPr id="8" name="Conector recto 7">
            <a:extLst>
              <a:ext uri="{FF2B5EF4-FFF2-40B4-BE49-F238E27FC236}">
                <a16:creationId xmlns:a16="http://schemas.microsoft.com/office/drawing/2014/main" id="{3A294987-36C5-1440-8687-EFE01C38D955}"/>
              </a:ext>
            </a:extLst>
          </p:cNvPr>
          <p:cNvCxnSpPr/>
          <p:nvPr userDrawn="1"/>
        </p:nvCxnSpPr>
        <p:spPr>
          <a:xfrm flipV="1">
            <a:off x="443752" y="620712"/>
            <a:ext cx="4932513"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pic>
        <p:nvPicPr>
          <p:cNvPr id="9" name="Imagen 8" descr="Agility_logos_ppt-03.png">
            <a:extLst>
              <a:ext uri="{FF2B5EF4-FFF2-40B4-BE49-F238E27FC236}">
                <a16:creationId xmlns:a16="http://schemas.microsoft.com/office/drawing/2014/main" id="{1F32402F-CA39-374D-9E7E-6F578ACA4C8D}"/>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7859966" y="5337212"/>
            <a:ext cx="3855219" cy="1066800"/>
          </a:xfrm>
          <a:prstGeom prst="rect">
            <a:avLst/>
          </a:prstGeom>
        </p:spPr>
      </p:pic>
    </p:spTree>
    <p:extLst>
      <p:ext uri="{BB962C8B-B14F-4D97-AF65-F5344CB8AC3E}">
        <p14:creationId xmlns:p14="http://schemas.microsoft.com/office/powerpoint/2010/main" val="418570343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ndex">
    <p:spTree>
      <p:nvGrpSpPr>
        <p:cNvPr id="1" name=""/>
        <p:cNvGrpSpPr/>
        <p:nvPr/>
      </p:nvGrpSpPr>
      <p:grpSpPr>
        <a:xfrm>
          <a:off x="0" y="0"/>
          <a:ext cx="0" cy="0"/>
          <a:chOff x="0" y="0"/>
          <a:chExt cx="0" cy="0"/>
        </a:xfrm>
      </p:grpSpPr>
      <p:sp>
        <p:nvSpPr>
          <p:cNvPr id="14" name="Marcador de texto 13"/>
          <p:cNvSpPr>
            <a:spLocks noGrp="1"/>
          </p:cNvSpPr>
          <p:nvPr>
            <p:ph type="body" sz="quarter" idx="12" hasCustomPrompt="1"/>
          </p:nvPr>
        </p:nvSpPr>
        <p:spPr>
          <a:xfrm>
            <a:off x="336113" y="1448780"/>
            <a:ext cx="6192241" cy="4932549"/>
          </a:xfrm>
          <a:prstGeom prst="rect">
            <a:avLst/>
          </a:prstGeom>
        </p:spPr>
        <p:txBody>
          <a:bodyPr vert="horz" lIns="34267" tIns="17132" rIns="34267" bIns="17132"/>
          <a:lstStyle>
            <a:lvl1pPr marL="456796" marR="0" indent="-456796" algn="l" defTabSz="456796" rtl="0" eaLnBrk="1" fontAlgn="base" latinLnBrk="0" hangingPunct="1">
              <a:lnSpc>
                <a:spcPct val="100000"/>
              </a:lnSpc>
              <a:spcBef>
                <a:spcPct val="20000"/>
              </a:spcBef>
              <a:spcAft>
                <a:spcPct val="0"/>
              </a:spcAft>
              <a:buClrTx/>
              <a:buSzTx/>
              <a:buFont typeface="+mj-lt"/>
              <a:buAutoNum type="arabicPeriod"/>
              <a:tabLst/>
              <a:defRPr sz="2500" b="0" spc="-74" baseline="0">
                <a:solidFill>
                  <a:schemeClr val="tx2"/>
                </a:solidFill>
                <a:latin typeface="+mn-lt"/>
                <a:cs typeface="Karla"/>
              </a:defRPr>
            </a:lvl1pPr>
            <a:lvl2pPr>
              <a:defRPr>
                <a:latin typeface="+mn-lt"/>
              </a:defRPr>
            </a:lvl2pPr>
            <a:lvl3pPr>
              <a:defRPr>
                <a:latin typeface="+mn-lt"/>
              </a:defRPr>
            </a:lvl3pPr>
            <a:lvl4pPr>
              <a:defRPr>
                <a:latin typeface="+mn-lt"/>
              </a:defRPr>
            </a:lvl4pPr>
            <a:lvl5pPr>
              <a:defRPr>
                <a:latin typeface="+mn-lt"/>
              </a:defRPr>
            </a:lvl5pPr>
          </a:lstStyle>
          <a:p>
            <a:pPr lvl="0"/>
            <a:r>
              <a:rPr lang="en-US" noProof="0" dirty="0"/>
              <a:t>Subject 1</a:t>
            </a:r>
          </a:p>
        </p:txBody>
      </p:sp>
      <p:sp>
        <p:nvSpPr>
          <p:cNvPr id="17" name="Marcador de texto 16"/>
          <p:cNvSpPr>
            <a:spLocks noGrp="1"/>
          </p:cNvSpPr>
          <p:nvPr>
            <p:ph type="body" sz="quarter" idx="13" hasCustomPrompt="1"/>
          </p:nvPr>
        </p:nvSpPr>
        <p:spPr>
          <a:xfrm>
            <a:off x="6744347" y="1448780"/>
            <a:ext cx="2376179" cy="4932549"/>
          </a:xfrm>
          <a:prstGeom prst="rect">
            <a:avLst/>
          </a:prstGeom>
        </p:spPr>
        <p:txBody>
          <a:bodyPr vert="horz" lIns="34267" tIns="17132" rIns="34267" bIns="17132"/>
          <a:lstStyle>
            <a:lvl1pPr marL="0" indent="0" algn="r">
              <a:buNone/>
              <a:defRPr sz="2500" b="0" spc="-74">
                <a:solidFill>
                  <a:schemeClr val="tx2"/>
                </a:solidFill>
                <a:latin typeface="+mn-lt"/>
                <a:cs typeface="Karla"/>
              </a:defRPr>
            </a:lvl1pPr>
            <a:lvl2pPr>
              <a:defRPr>
                <a:latin typeface="+mn-lt"/>
              </a:defRPr>
            </a:lvl2pPr>
          </a:lstStyle>
          <a:p>
            <a:pPr lvl="0"/>
            <a:r>
              <a:rPr lang="en-US" noProof="0" dirty="0"/>
              <a:t>				00</a:t>
            </a:r>
          </a:p>
        </p:txBody>
      </p:sp>
      <p:pic>
        <p:nvPicPr>
          <p:cNvPr id="8" name="Imagen 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7" name="Marcador de texto 6"/>
          <p:cNvSpPr>
            <a:spLocks noGrp="1"/>
          </p:cNvSpPr>
          <p:nvPr>
            <p:ph type="body" sz="quarter" idx="34" hasCustomPrompt="1"/>
          </p:nvPr>
        </p:nvSpPr>
        <p:spPr>
          <a:xfrm>
            <a:off x="336109" y="440668"/>
            <a:ext cx="8783832" cy="756084"/>
          </a:xfrm>
          <a:prstGeom prst="rect">
            <a:avLst/>
          </a:prstGeom>
        </p:spPr>
        <p:txBody>
          <a:bodyPr vert="horz" lIns="34267" tIns="17132" rIns="34267" bIns="17132"/>
          <a:lstStyle>
            <a:lvl1pPr marL="0" marR="0" indent="0" algn="l" defTabSz="457109" rtl="0" eaLnBrk="1" fontAlgn="base" latinLnBrk="0" hangingPunct="1">
              <a:lnSpc>
                <a:spcPct val="100000"/>
              </a:lnSpc>
              <a:spcBef>
                <a:spcPct val="20000"/>
              </a:spcBef>
              <a:spcAft>
                <a:spcPct val="0"/>
              </a:spcAft>
              <a:buClrTx/>
              <a:buSzTx/>
              <a:buFontTx/>
              <a:buNone/>
              <a:tabLst/>
              <a:defRPr sz="3499" b="1" i="0" spc="-74" baseline="0">
                <a:solidFill>
                  <a:schemeClr val="tx2"/>
                </a:solidFill>
                <a:latin typeface="+mj-lt"/>
                <a:cs typeface="Karla"/>
              </a:defRPr>
            </a:lvl1pPr>
          </a:lstStyle>
          <a:p>
            <a:pPr lvl="0"/>
            <a:r>
              <a:rPr lang="en-US" noProof="0" dirty="0"/>
              <a:t>Agenda (Karla 70)</a:t>
            </a:r>
          </a:p>
          <a:p>
            <a:pPr lvl="0"/>
            <a:endParaRPr lang="en-US" noProof="0" dirty="0"/>
          </a:p>
        </p:txBody>
      </p:sp>
      <p:sp>
        <p:nvSpPr>
          <p:cNvPr id="6"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2"/>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9" name="Conector recto 6"/>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163325124"/>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Section Divider 01_Solid">
    <p:bg>
      <p:bgPr>
        <a:solidFill>
          <a:schemeClr val="tx2"/>
        </a:solidFill>
        <a:effectLst/>
      </p:bgPr>
    </p:bg>
    <p:spTree>
      <p:nvGrpSpPr>
        <p:cNvPr id="1" name=""/>
        <p:cNvGrpSpPr/>
        <p:nvPr/>
      </p:nvGrpSpPr>
      <p:grpSpPr>
        <a:xfrm>
          <a:off x="0" y="0"/>
          <a:ext cx="0" cy="0"/>
          <a:chOff x="0" y="0"/>
          <a:chExt cx="0" cy="0"/>
        </a:xfrm>
      </p:grpSpPr>
      <p:pic>
        <p:nvPicPr>
          <p:cNvPr id="12" name="Imagen 11" descr="Agility_logos-02.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1"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sp>
        <p:nvSpPr>
          <p:cNvPr id="10"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5"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cxnSp>
        <p:nvCxnSpPr>
          <p:cNvPr id="7" name="Conector recto 6"/>
          <p:cNvCxnSpPr/>
          <p:nvPr userDrawn="1"/>
        </p:nvCxnSpPr>
        <p:spPr>
          <a:xfrm>
            <a:off x="332463" y="6543102"/>
            <a:ext cx="11051787" cy="0"/>
          </a:xfrm>
          <a:prstGeom prst="line">
            <a:avLst/>
          </a:prstGeom>
          <a:ln w="12700" cmpd="sng">
            <a:solidFill>
              <a:schemeClr val="bg2"/>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135517534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Section Divider 02_Solid">
    <p:bg>
      <p:bgPr>
        <a:solidFill>
          <a:schemeClr val="accent4"/>
        </a:solidFill>
        <a:effectLst/>
      </p:bgPr>
    </p:bg>
    <p:spTree>
      <p:nvGrpSpPr>
        <p:cNvPr id="1" name=""/>
        <p:cNvGrpSpPr/>
        <p:nvPr/>
      </p:nvGrpSpPr>
      <p:grpSpPr>
        <a:xfrm>
          <a:off x="0" y="0"/>
          <a:ext cx="0" cy="0"/>
          <a:chOff x="0" y="0"/>
          <a:chExt cx="0" cy="0"/>
        </a:xfrm>
      </p:grpSpPr>
      <p:pic>
        <p:nvPicPr>
          <p:cNvPr id="12" name="Imagen 11" descr="Agility_logos-02.png"/>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1"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sp>
        <p:nvSpPr>
          <p:cNvPr id="9"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0"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cxnSp>
        <p:nvCxnSpPr>
          <p:cNvPr id="7" name="Conector recto 6"/>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279879547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nternal Slide Divider">
    <p:spTree>
      <p:nvGrpSpPr>
        <p:cNvPr id="1" name=""/>
        <p:cNvGrpSpPr/>
        <p:nvPr/>
      </p:nvGrpSpPr>
      <p:grpSpPr>
        <a:xfrm>
          <a:off x="0" y="0"/>
          <a:ext cx="0" cy="0"/>
          <a:chOff x="0" y="0"/>
          <a:chExt cx="0" cy="0"/>
        </a:xfrm>
      </p:grpSpPr>
      <p:pic>
        <p:nvPicPr>
          <p:cNvPr id="11" name="Imagen 10">
            <a:extLst>
              <a:ext uri="{FF2B5EF4-FFF2-40B4-BE49-F238E27FC236}">
                <a16:creationId xmlns:a16="http://schemas.microsoft.com/office/drawing/2014/main" id="{B449E1F5-22C3-CA4D-9814-365A4119ED99}"/>
              </a:ext>
            </a:extLst>
          </p:cNvPr>
          <p:cNvPicPr>
            <a:picLocks noChangeAspect="1"/>
          </p:cNvPicPr>
          <p:nvPr userDrawn="1"/>
        </p:nvPicPr>
        <p:blipFill rotWithShape="1">
          <a:blip r:embed="rId2"/>
          <a:srcRect l="1" r="26737" b="25247"/>
          <a:stretch/>
        </p:blipFill>
        <p:spPr>
          <a:xfrm>
            <a:off x="4872023" y="1762228"/>
            <a:ext cx="7319977" cy="5095773"/>
          </a:xfrm>
          <a:prstGeom prst="rect">
            <a:avLst/>
          </a:prstGeom>
        </p:spPr>
      </p:pic>
      <p:sp>
        <p:nvSpPr>
          <p:cNvPr id="13"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tx2"/>
                </a:solidFill>
                <a:latin typeface="Karla"/>
                <a:cs typeface="Karla"/>
              </a:defRPr>
            </a:lvl1pPr>
          </a:lstStyle>
          <a:p>
            <a:pPr lvl="0"/>
            <a:r>
              <a:rPr lang="en-US" noProof="0" dirty="0"/>
              <a:t>Headline (Karla 90)</a:t>
            </a:r>
          </a:p>
        </p:txBody>
      </p:sp>
      <p:sp>
        <p:nvSpPr>
          <p:cNvPr id="14"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tx2"/>
                </a:solidFill>
                <a:latin typeface="Karla"/>
                <a:cs typeface="Karla"/>
              </a:defRPr>
            </a:lvl1pPr>
          </a:lstStyle>
          <a:p>
            <a:pPr lvl="0"/>
            <a:r>
              <a:rPr lang="en-US" noProof="0" dirty="0"/>
              <a:t>Subhead (Karla 80)</a:t>
            </a:r>
          </a:p>
        </p:txBody>
      </p:sp>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7A7167"/>
                </a:solidFill>
                <a:latin typeface="Karla"/>
                <a:cs typeface="Karla"/>
              </a:rPr>
              <a:t>  </a:t>
            </a:r>
            <a:fld id="{E77AE0A1-274E-2944-95AF-27E87E012DC6}" type="slidenum">
              <a:rPr lang="en-US" sz="950" spc="-74" smtClean="0">
                <a:solidFill>
                  <a:schemeClr val="tx2"/>
                </a:solidFill>
                <a:latin typeface="Karla"/>
                <a:cs typeface="Karla"/>
              </a:rPr>
              <a:pPr algn="r" eaLnBrk="1" hangingPunct="1">
                <a:lnSpc>
                  <a:spcPct val="120000"/>
                </a:lnSpc>
                <a:defRPr/>
              </a:pPr>
              <a:t>‹#›</a:t>
            </a:fld>
            <a:endParaRPr lang="en-US" sz="950" spc="-74" dirty="0">
              <a:solidFill>
                <a:schemeClr val="tx2"/>
              </a:solidFill>
              <a:latin typeface="Karla"/>
              <a:cs typeface="Karla"/>
            </a:endParaRPr>
          </a:p>
        </p:txBody>
      </p:sp>
      <p:sp>
        <p:nvSpPr>
          <p:cNvPr id="2" name="CuadroTexto 1">
            <a:extLst>
              <a:ext uri="{FF2B5EF4-FFF2-40B4-BE49-F238E27FC236}">
                <a16:creationId xmlns:a16="http://schemas.microsoft.com/office/drawing/2014/main" id="{7DA6D24C-1198-A14F-A424-2FE66501638F}"/>
              </a:ext>
            </a:extLst>
          </p:cNvPr>
          <p:cNvSpPr txBox="1"/>
          <p:nvPr userDrawn="1"/>
        </p:nvSpPr>
        <p:spPr>
          <a:xfrm>
            <a:off x="3069372" y="5669280"/>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Etelka Text Pro"/>
              <a:cs typeface="Etelka Text Pro"/>
            </a:endParaRPr>
          </a:p>
        </p:txBody>
      </p:sp>
      <p:sp>
        <p:nvSpPr>
          <p:cNvPr id="12" name="CuadroTexto 11">
            <a:extLst>
              <a:ext uri="{FF2B5EF4-FFF2-40B4-BE49-F238E27FC236}">
                <a16:creationId xmlns:a16="http://schemas.microsoft.com/office/drawing/2014/main" id="{515A409F-138F-9B49-B919-6AB978045662}"/>
              </a:ext>
            </a:extLst>
          </p:cNvPr>
          <p:cNvSpPr txBox="1"/>
          <p:nvPr userDrawn="1"/>
        </p:nvSpPr>
        <p:spPr>
          <a:xfrm>
            <a:off x="3931408" y="8339328"/>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Etelka Text Pro"/>
              <a:cs typeface="Etelka Text Pro"/>
            </a:endParaRPr>
          </a:p>
        </p:txBody>
      </p:sp>
      <p:sp>
        <p:nvSpPr>
          <p:cNvPr id="22" name="CuadroTexto 21">
            <a:extLst>
              <a:ext uri="{FF2B5EF4-FFF2-40B4-BE49-F238E27FC236}">
                <a16:creationId xmlns:a16="http://schemas.microsoft.com/office/drawing/2014/main" id="{A7C2C12A-7D25-8C4B-A122-1228DB5250CE}"/>
              </a:ext>
            </a:extLst>
          </p:cNvPr>
          <p:cNvSpPr txBox="1"/>
          <p:nvPr userDrawn="1"/>
        </p:nvSpPr>
        <p:spPr>
          <a:xfrm>
            <a:off x="2742843" y="8138160"/>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Etelka Text Pro"/>
              <a:cs typeface="Etelka Text Pro"/>
            </a:endParaRPr>
          </a:p>
        </p:txBody>
      </p:sp>
      <p:pic>
        <p:nvPicPr>
          <p:cNvPr id="16" name="Imagen 15" descr="Agility_logos_ppt-01.png">
            <a:extLst>
              <a:ext uri="{FF2B5EF4-FFF2-40B4-BE49-F238E27FC236}">
                <a16:creationId xmlns:a16="http://schemas.microsoft.com/office/drawing/2014/main" id="{37715B7E-5254-FE4F-99C0-BDF3AD4EFE3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Tree>
    <p:extLst>
      <p:ext uri="{BB962C8B-B14F-4D97-AF65-F5344CB8AC3E}">
        <p14:creationId xmlns:p14="http://schemas.microsoft.com/office/powerpoint/2010/main" val="309023629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1">
    <p:bg>
      <p:bgRef idx="1001">
        <a:schemeClr val="bg1"/>
      </p:bgRef>
    </p:bg>
    <p:spTree>
      <p:nvGrpSpPr>
        <p:cNvPr id="1" name=""/>
        <p:cNvGrpSpPr/>
        <p:nvPr/>
      </p:nvGrpSpPr>
      <p:grpSpPr>
        <a:xfrm>
          <a:off x="0" y="0"/>
          <a:ext cx="0" cy="0"/>
          <a:chOff x="0" y="0"/>
          <a:chExt cx="0" cy="0"/>
        </a:xfrm>
      </p:grpSpPr>
      <p:pic>
        <p:nvPicPr>
          <p:cNvPr id="5" name="Imagen 4" descr="Backgrounds12.jpg"/>
          <p:cNvPicPr>
            <a:picLocks noChangeAspect="1"/>
          </p:cNvPicPr>
          <p:nvPr userDrawn="1"/>
        </p:nvPicPr>
        <p:blipFill rotWithShape="1">
          <a:blip r:embed="rId2">
            <a:extLst>
              <a:ext uri="{28A0092B-C50C-407E-A947-70E740481C1C}">
                <a14:useLocalDpi xmlns:a14="http://schemas.microsoft.com/office/drawing/2010/main" val="0"/>
              </a:ext>
            </a:extLst>
          </a:blip>
          <a:srcRect t="25010"/>
          <a:stretch/>
        </p:blipFill>
        <p:spPr>
          <a:xfrm>
            <a:off x="0" y="0"/>
            <a:ext cx="12192000" cy="6858000"/>
          </a:xfrm>
          <a:prstGeom prst="rect">
            <a:avLst/>
          </a:prstGeom>
        </p:spPr>
      </p:pic>
      <p:pic>
        <p:nvPicPr>
          <p:cNvPr id="18" name="Imagen 17"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8" name="Conector recto 7"/>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sp>
        <p:nvSpPr>
          <p:cNvPr id="12"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3"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3847501401"/>
      </p:ext>
    </p:extLst>
  </p:cSld>
  <p:clrMapOvr>
    <a:overrideClrMapping bg1="lt1" tx1="dk1" bg2="lt2" tx2="dk2" accent1="accent1" accent2="accent2" accent3="accent3" accent4="accent4" accent5="accent5" accent6="accent6" hlink="hlink" folHlink="folHlink"/>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2">
    <p:bg>
      <p:bgRef idx="1001">
        <a:schemeClr val="bg1"/>
      </p:bgRef>
    </p:bg>
    <p:spTree>
      <p:nvGrpSpPr>
        <p:cNvPr id="1" name=""/>
        <p:cNvGrpSpPr/>
        <p:nvPr/>
      </p:nvGrpSpPr>
      <p:grpSpPr>
        <a:xfrm>
          <a:off x="0" y="0"/>
          <a:ext cx="0" cy="0"/>
          <a:chOff x="0" y="0"/>
          <a:chExt cx="0" cy="0"/>
        </a:xfrm>
      </p:grpSpPr>
      <p:pic>
        <p:nvPicPr>
          <p:cNvPr id="3" name="Imagen 2" descr="Backgrounds11.jpg"/>
          <p:cNvPicPr>
            <a:picLocks noChangeAspect="1"/>
          </p:cNvPicPr>
          <p:nvPr userDrawn="1"/>
        </p:nvPicPr>
        <p:blipFill rotWithShape="1">
          <a:blip r:embed="rId2">
            <a:extLst>
              <a:ext uri="{28A0092B-C50C-407E-A947-70E740481C1C}">
                <a14:useLocalDpi xmlns:a14="http://schemas.microsoft.com/office/drawing/2010/main" val="0"/>
              </a:ext>
            </a:extLst>
          </a:blip>
          <a:srcRect t="25009"/>
          <a:stretch/>
        </p:blipFill>
        <p:spPr>
          <a:xfrm>
            <a:off x="0" y="0"/>
            <a:ext cx="12192000" cy="6858000"/>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13" name="Conector recto 12"/>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4" name="Imagen 13"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5"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6"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3918521087"/>
      </p:ext>
    </p:extLst>
  </p:cSld>
  <p:clrMapOvr>
    <a:overrideClrMapping bg1="lt1" tx1="dk1" bg2="lt2" tx2="dk2" accent1="accent1" accent2="accent2" accent3="accent3" accent4="accent4" accent5="accent5" accent6="accent6" hlink="hlink" folHlink="folHlink"/>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3">
    <p:bg>
      <p:bgRef idx="1001">
        <a:schemeClr val="bg1"/>
      </p:bgRef>
    </p:bg>
    <p:spTree>
      <p:nvGrpSpPr>
        <p:cNvPr id="1" name=""/>
        <p:cNvGrpSpPr/>
        <p:nvPr/>
      </p:nvGrpSpPr>
      <p:grpSpPr>
        <a:xfrm>
          <a:off x="0" y="0"/>
          <a:ext cx="0" cy="0"/>
          <a:chOff x="0" y="0"/>
          <a:chExt cx="0" cy="0"/>
        </a:xfrm>
      </p:grpSpPr>
      <p:pic>
        <p:nvPicPr>
          <p:cNvPr id="2" name="Imagen 1" descr="Backgrounds10.jpg"/>
          <p:cNvPicPr>
            <a:picLocks noChangeAspect="1"/>
          </p:cNvPicPr>
          <p:nvPr userDrawn="1"/>
        </p:nvPicPr>
        <p:blipFill rotWithShape="1">
          <a:blip r:embed="rId2">
            <a:extLst>
              <a:ext uri="{28A0092B-C50C-407E-A947-70E740481C1C}">
                <a14:useLocalDpi xmlns:a14="http://schemas.microsoft.com/office/drawing/2010/main" val="0"/>
              </a:ext>
            </a:extLst>
          </a:blip>
          <a:srcRect t="25090"/>
          <a:stretch/>
        </p:blipFill>
        <p:spPr>
          <a:xfrm>
            <a:off x="0" y="-8439"/>
            <a:ext cx="12207019" cy="6859072"/>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sp>
        <p:nvSpPr>
          <p:cNvPr id="13"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14" name="Conector recto 13"/>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5" name="Imagen 14"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6"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7"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1355950964"/>
      </p:ext>
    </p:extLst>
  </p:cSld>
  <p:clrMapOvr>
    <a:overrideClrMapping bg1="lt1" tx1="dk1" bg2="lt2" tx2="dk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plhTitle"/>
          <p:cNvSpPr>
            <a:spLocks noGrp="1"/>
          </p:cNvSpPr>
          <p:nvPr>
            <p:ph type="title"/>
          </p:nvPr>
        </p:nvSpPr>
        <p:spPr>
          <a:xfrm>
            <a:off x="507998" y="337075"/>
            <a:ext cx="11176001" cy="470647"/>
          </a:xfrm>
        </p:spPr>
        <p:txBody>
          <a:bodyPr lIns="0" rIns="0"/>
          <a:lstStyle>
            <a:lvl1pPr>
              <a:defRPr sz="2400">
                <a:latin typeface="+mj-lt"/>
                <a:cs typeface="Calibri" pitchFamily="34" charset="0"/>
              </a:defRPr>
            </a:lvl1pPr>
          </a:lstStyle>
          <a:p>
            <a:r>
              <a:rPr lang="en-US" dirty="0"/>
              <a:t>Click to edit Master title style</a:t>
            </a:r>
          </a:p>
        </p:txBody>
      </p:sp>
      <p:sp>
        <p:nvSpPr>
          <p:cNvPr id="12" name="plhSubheader"/>
          <p:cNvSpPr>
            <a:spLocks noGrp="1"/>
          </p:cNvSpPr>
          <p:nvPr>
            <p:ph type="body" sz="quarter" idx="13" hasCustomPrompt="1"/>
          </p:nvPr>
        </p:nvSpPr>
        <p:spPr>
          <a:xfrm>
            <a:off x="508000" y="819150"/>
            <a:ext cx="11176001" cy="336176"/>
          </a:xfrm>
          <a:noFill/>
          <a:ln w="9525">
            <a:noFill/>
            <a:miter lim="800000"/>
            <a:headEnd/>
            <a:tailEnd/>
          </a:ln>
          <a:effectLst/>
        </p:spPr>
        <p:txBody>
          <a:bodyPr lIns="0" tIns="0" rIns="0" bIns="0"/>
          <a:lstStyle>
            <a:lvl1pPr marL="0" indent="0" algn="l" rtl="0" fontAlgn="base">
              <a:spcBef>
                <a:spcPct val="0"/>
              </a:spcBef>
              <a:spcAft>
                <a:spcPct val="0"/>
              </a:spcAft>
              <a:buNone/>
              <a:defRPr lang="en-US" sz="1400" b="1" kern="1200" dirty="0" smtClean="0">
                <a:solidFill>
                  <a:srgbClr val="7E8083"/>
                </a:solidFill>
                <a:latin typeface="+mj-lt"/>
                <a:ea typeface="+mn-ea"/>
                <a:cs typeface="Calibri" pitchFamily="34" charset="0"/>
              </a:defRPr>
            </a:lvl1pPr>
            <a:lvl2pPr algn="l" rtl="0" fontAlgn="base">
              <a:spcBef>
                <a:spcPct val="0"/>
              </a:spcBef>
              <a:spcAft>
                <a:spcPct val="0"/>
              </a:spcAft>
              <a:buNone/>
              <a:defRPr lang="en-US" sz="1400" b="1" kern="1200" dirty="0" smtClean="0">
                <a:solidFill>
                  <a:schemeClr val="tx1"/>
                </a:solidFill>
                <a:latin typeface="Arial" charset="0"/>
                <a:ea typeface="+mn-ea"/>
                <a:cs typeface="Arial" charset="0"/>
              </a:defRPr>
            </a:lvl2pPr>
            <a:lvl3pPr algn="l" rtl="0" fontAlgn="base">
              <a:spcBef>
                <a:spcPct val="0"/>
              </a:spcBef>
              <a:spcAft>
                <a:spcPct val="0"/>
              </a:spcAft>
              <a:buNone/>
              <a:defRPr lang="en-US" sz="1400" b="1" kern="1200" dirty="0" smtClean="0">
                <a:solidFill>
                  <a:schemeClr val="tx1"/>
                </a:solidFill>
                <a:latin typeface="Arial" charset="0"/>
                <a:ea typeface="+mn-ea"/>
                <a:cs typeface="Arial" charset="0"/>
              </a:defRPr>
            </a:lvl3pPr>
            <a:lvl4pPr algn="l" rtl="0" fontAlgn="base">
              <a:spcBef>
                <a:spcPct val="0"/>
              </a:spcBef>
              <a:spcAft>
                <a:spcPct val="0"/>
              </a:spcAft>
              <a:buNone/>
              <a:defRPr lang="en-US" sz="1400" b="1" kern="1200" dirty="0" smtClean="0">
                <a:solidFill>
                  <a:schemeClr val="tx1"/>
                </a:solidFill>
                <a:latin typeface="Arial" charset="0"/>
                <a:ea typeface="+mn-ea"/>
                <a:cs typeface="Arial" charset="0"/>
              </a:defRPr>
            </a:lvl4pPr>
            <a:lvl5pPr algn="l" rtl="0" fontAlgn="base">
              <a:spcBef>
                <a:spcPct val="0"/>
              </a:spcBef>
              <a:spcAft>
                <a:spcPct val="0"/>
              </a:spcAft>
              <a:buNone/>
              <a:defRPr lang="en-US" sz="1400" b="1" kern="1200" dirty="0">
                <a:solidFill>
                  <a:schemeClr val="tx1"/>
                </a:solidFill>
                <a:latin typeface="Arial" charset="0"/>
                <a:ea typeface="+mn-ea"/>
                <a:cs typeface="Arial" charset="0"/>
              </a:defRPr>
            </a:lvl5pPr>
          </a:lstStyle>
          <a:p>
            <a:pPr lvl="0"/>
            <a:r>
              <a:rPr lang="en-US" dirty="0"/>
              <a:t>Sub-Header: Enter your optional sub-heading here </a:t>
            </a:r>
          </a:p>
          <a:p>
            <a:pPr lvl="0"/>
            <a:endParaRPr lang="en-US" dirty="0"/>
          </a:p>
        </p:txBody>
      </p:sp>
      <p:sp>
        <p:nvSpPr>
          <p:cNvPr id="7" name="plhBody"/>
          <p:cNvSpPr>
            <a:spLocks noGrp="1"/>
          </p:cNvSpPr>
          <p:nvPr>
            <p:ph type="body" sz="quarter" idx="16"/>
          </p:nvPr>
        </p:nvSpPr>
        <p:spPr>
          <a:xfrm>
            <a:off x="508000" y="1333949"/>
            <a:ext cx="11176001" cy="4582758"/>
          </a:xfrm>
        </p:spPr>
        <p:txBody>
          <a:bodyPr/>
          <a:lstStyle>
            <a:lvl1pPr>
              <a:buClr>
                <a:schemeClr val="bg2"/>
              </a:buClr>
              <a:defRPr sz="1300">
                <a:latin typeface="+mn-lt"/>
                <a:cs typeface="Calibri" pitchFamily="34" charset="0"/>
              </a:defRPr>
            </a:lvl1pPr>
            <a:lvl2pPr>
              <a:buClr>
                <a:schemeClr val="bg2"/>
              </a:buClr>
              <a:defRPr sz="1300">
                <a:latin typeface="+mn-lt"/>
                <a:cs typeface="Calibri" pitchFamily="34" charset="0"/>
              </a:defRPr>
            </a:lvl2pPr>
            <a:lvl3pPr>
              <a:buClr>
                <a:schemeClr val="bg2"/>
              </a:buClr>
              <a:defRPr sz="1300">
                <a:latin typeface="+mn-lt"/>
                <a:cs typeface="Calibri" pitchFamily="34" charset="0"/>
              </a:defRPr>
            </a:lvl3pPr>
            <a:lvl4pPr>
              <a:buClr>
                <a:schemeClr val="bg2"/>
              </a:buClr>
              <a:defRPr sz="1300">
                <a:latin typeface="+mn-lt"/>
                <a:cs typeface="Calibri" pitchFamily="34" charset="0"/>
              </a:defRPr>
            </a:lvl4pPr>
            <a:lvl5pPr>
              <a:buClr>
                <a:schemeClr val="bg2"/>
              </a:buClr>
              <a:defRPr sz="1300">
                <a:latin typeface="+mn-lt"/>
                <a:cs typeface="Calibri" pitchFamily="34" charset="0"/>
              </a:defRPr>
            </a:lvl5pPr>
            <a:lvl6pPr>
              <a:defRPr/>
            </a:lvl6pPr>
            <a:lvl7pPr>
              <a:defRPr/>
            </a:lvl7pPr>
            <a:lvl8pPr>
              <a:defRPr baseline="0"/>
            </a:lvl8pPr>
            <a:lvl9pPr>
              <a:defRPr baseline="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plhSectionHeader"/>
          <p:cNvSpPr>
            <a:spLocks noGrp="1"/>
          </p:cNvSpPr>
          <p:nvPr>
            <p:ph type="body" sz="quarter" idx="18" hasCustomPrompt="1"/>
          </p:nvPr>
        </p:nvSpPr>
        <p:spPr>
          <a:xfrm>
            <a:off x="6096001" y="825646"/>
            <a:ext cx="5264727" cy="153296"/>
          </a:xfrm>
        </p:spPr>
        <p:txBody>
          <a:bodyPr wrap="none" tIns="32823" rIns="0" bIns="0"/>
          <a:lstStyle>
            <a:lvl1pPr algn="r">
              <a:buNone/>
              <a:defRPr sz="700" b="1">
                <a:solidFill>
                  <a:srgbClr val="7E8083"/>
                </a:solidFill>
                <a:latin typeface="+mn-lt"/>
                <a:cs typeface="Arial" pitchFamily="34" charset="0"/>
              </a:defRPr>
            </a:lvl1pPr>
          </a:lstStyle>
          <a:p>
            <a:pPr lvl="0"/>
            <a:r>
              <a:rPr lang="en-US" dirty="0"/>
              <a:t>Section Header (used to create Tab Pages and Table of Contents)</a:t>
            </a:r>
          </a:p>
        </p:txBody>
      </p:sp>
      <p:sp>
        <p:nvSpPr>
          <p:cNvPr id="9" name="plhFootnote"/>
          <p:cNvSpPr>
            <a:spLocks noGrp="1"/>
          </p:cNvSpPr>
          <p:nvPr>
            <p:ph type="body" sz="quarter" idx="22" hasCustomPrompt="1"/>
          </p:nvPr>
        </p:nvSpPr>
        <p:spPr>
          <a:xfrm>
            <a:off x="2844800" y="6120353"/>
            <a:ext cx="8515928" cy="358469"/>
          </a:xfrm>
        </p:spPr>
        <p:txBody>
          <a:bodyPr wrap="square" tIns="16412" bIns="16412" anchor="b" anchorCtr="0">
            <a:spAutoFit/>
          </a:bodyPr>
          <a:lstStyle>
            <a:lvl1pPr marL="0" indent="0">
              <a:lnSpc>
                <a:spcPct val="100000"/>
              </a:lnSpc>
              <a:spcBef>
                <a:spcPts val="0"/>
              </a:spcBef>
              <a:buNone/>
              <a:defRPr sz="700" i="1">
                <a:solidFill>
                  <a:srgbClr val="4B4B4B"/>
                </a:solidFill>
              </a:defRPr>
            </a:lvl1pPr>
            <a:lvl2pPr marL="156708" indent="-156708">
              <a:lnSpc>
                <a:spcPct val="100000"/>
              </a:lnSpc>
              <a:spcBef>
                <a:spcPts val="0"/>
              </a:spcBef>
              <a:buClrTx/>
              <a:buSzPct val="100000"/>
              <a:buFont typeface="+mj-lt"/>
              <a:buAutoNum type="arabicPeriod"/>
              <a:defRPr sz="700" i="1">
                <a:solidFill>
                  <a:srgbClr val="4B4B4B"/>
                </a:solidFill>
              </a:defRPr>
            </a:lvl2pPr>
            <a:lvl3pPr marL="410291" indent="-205146">
              <a:lnSpc>
                <a:spcPct val="100000"/>
              </a:lnSpc>
              <a:spcBef>
                <a:spcPts val="0"/>
              </a:spcBef>
              <a:buClr>
                <a:schemeClr val="tx1"/>
              </a:buClr>
              <a:buFont typeface="+mj-lt"/>
              <a:buAutoNum type="alphaLcParenR"/>
              <a:defRPr sz="700" i="1"/>
            </a:lvl3pPr>
            <a:lvl4pPr marL="8548" indent="0">
              <a:lnSpc>
                <a:spcPct val="90000"/>
              </a:lnSpc>
              <a:spcBef>
                <a:spcPts val="0"/>
              </a:spcBef>
              <a:buNone/>
              <a:defRPr sz="700" i="1" u="none" strike="noStrike" normalizeH="0" baseline="0">
                <a:solidFill>
                  <a:srgbClr val="4B4B4B"/>
                </a:solidFill>
                <a:latin typeface="+mn-lt"/>
              </a:defRPr>
            </a:lvl4pPr>
            <a:lvl5pPr>
              <a:defRPr sz="700" i="1"/>
            </a:lvl5pPr>
          </a:lstStyle>
          <a:p>
            <a:pPr lvl="3"/>
            <a:r>
              <a:rPr lang="en-US" dirty="0"/>
              <a:t>___________________________</a:t>
            </a:r>
          </a:p>
          <a:p>
            <a:pPr lvl="0"/>
            <a:r>
              <a:rPr lang="en-US" dirty="0"/>
              <a:t>Source:</a:t>
            </a:r>
          </a:p>
          <a:p>
            <a:pPr lvl="1"/>
            <a:r>
              <a:rPr lang="en-US" dirty="0"/>
              <a:t>Footnotes.</a:t>
            </a:r>
          </a:p>
        </p:txBody>
      </p:sp>
      <p:sp>
        <p:nvSpPr>
          <p:cNvPr id="10" name="plhBulletedText"/>
          <p:cNvSpPr>
            <a:spLocks noGrp="1"/>
          </p:cNvSpPr>
          <p:nvPr>
            <p:ph type="body" sz="quarter" idx="20" hasCustomPrompt="1"/>
          </p:nvPr>
        </p:nvSpPr>
        <p:spPr>
          <a:xfrm>
            <a:off x="184729" y="-334581"/>
            <a:ext cx="11822545" cy="265885"/>
          </a:xfrm>
          <a:solidFill>
            <a:srgbClr val="FEDF87"/>
          </a:solidFill>
          <a:ln>
            <a:solidFill>
              <a:srgbClr val="FF0000"/>
            </a:solidFill>
          </a:ln>
        </p:spPr>
        <p:txBody>
          <a:bodyPr lIns="41029" rIns="41029"/>
          <a:lstStyle>
            <a:lvl1pPr algn="ctr">
              <a:buNone/>
              <a:defRPr baseline="0">
                <a:solidFill>
                  <a:srgbClr val="FF0000"/>
                </a:solidFill>
              </a:defRPr>
            </a:lvl1pPr>
            <a:lvl2pPr>
              <a:buNone/>
              <a:defRPr>
                <a:solidFill>
                  <a:srgbClr val="FF0000"/>
                </a:solidFill>
              </a:defRPr>
            </a:lvl2pPr>
            <a:lvl3pPr>
              <a:buNone/>
              <a:defRPr>
                <a:solidFill>
                  <a:srgbClr val="FF0000"/>
                </a:solidFill>
              </a:defRPr>
            </a:lvl3pPr>
            <a:lvl4pPr>
              <a:buNone/>
              <a:defRPr>
                <a:solidFill>
                  <a:srgbClr val="FF0000"/>
                </a:solidFill>
              </a:defRPr>
            </a:lvl4pPr>
            <a:lvl5pPr>
              <a:buNone/>
              <a:defRPr>
                <a:solidFill>
                  <a:srgbClr val="FF0000"/>
                </a:solidFill>
              </a:defRPr>
            </a:lvl5pPr>
          </a:lstStyle>
          <a:p>
            <a:pPr lvl="0"/>
            <a:r>
              <a:rPr lang="en-US" dirty="0" err="1"/>
              <a:t>PresBuilder</a:t>
            </a:r>
            <a:r>
              <a:rPr lang="en-US" dirty="0"/>
              <a:t> Placeholder – Delete this box if you see it on a slide, but DO NOT REMOVE this box from the slide layout. </a:t>
            </a:r>
          </a:p>
        </p:txBody>
      </p:sp>
      <p:sp>
        <p:nvSpPr>
          <p:cNvPr id="17" name="Slide Number Placeholder 16"/>
          <p:cNvSpPr>
            <a:spLocks noGrp="1"/>
          </p:cNvSpPr>
          <p:nvPr>
            <p:ph type="sldNum" sz="quarter" idx="23"/>
          </p:nvPr>
        </p:nvSpPr>
        <p:spPr/>
        <p:txBody>
          <a:bodyPr lIns="82058" tIns="41029" rIns="82058" bIns="41029"/>
          <a:lstStyle>
            <a:lvl1pPr algn="r" rtl="0" fontAlgn="base">
              <a:spcBef>
                <a:spcPct val="0"/>
              </a:spcBef>
              <a:spcAft>
                <a:spcPct val="0"/>
              </a:spcAft>
              <a:defRPr lang="en-US" sz="900" kern="1200" smtClean="0">
                <a:solidFill>
                  <a:srgbClr val="4B4B4B"/>
                </a:solidFill>
                <a:latin typeface="+mn-lt"/>
                <a:ea typeface="+mn-ea"/>
                <a:cs typeface="Arial" charset="0"/>
              </a:defRPr>
            </a:lvl1pPr>
          </a:lstStyle>
          <a:p>
            <a:fld id="{7BC01EA4-3BC1-4101-9AC2-FD6B853D97D7}" type="slidenum">
              <a:rPr/>
              <a:pPr/>
              <a:t>‹#›</a:t>
            </a:fld>
            <a:endParaRPr/>
          </a:p>
        </p:txBody>
      </p:sp>
    </p:spTree>
    <p:extLst>
      <p:ext uri="{BB962C8B-B14F-4D97-AF65-F5344CB8AC3E}">
        <p14:creationId xmlns:p14="http://schemas.microsoft.com/office/powerpoint/2010/main" val="2654671982"/>
      </p:ext>
    </p:extLst>
  </p:cSld>
  <p:clrMapOvr>
    <a:masterClrMapping/>
  </p:clrMapOvr>
  <p:hf hdr="0" ftr="0" dt="0"/>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4">
    <p:bg>
      <p:bgRef idx="1001">
        <a:schemeClr val="bg1"/>
      </p:bgRef>
    </p:bg>
    <p:spTree>
      <p:nvGrpSpPr>
        <p:cNvPr id="1" name=""/>
        <p:cNvGrpSpPr/>
        <p:nvPr/>
      </p:nvGrpSpPr>
      <p:grpSpPr>
        <a:xfrm>
          <a:off x="0" y="0"/>
          <a:ext cx="0" cy="0"/>
          <a:chOff x="0" y="0"/>
          <a:chExt cx="0" cy="0"/>
        </a:xfrm>
      </p:grpSpPr>
      <p:pic>
        <p:nvPicPr>
          <p:cNvPr id="3" name="Imagen 2" descr="Backgrounds9.jpg"/>
          <p:cNvPicPr>
            <a:picLocks noChangeAspect="1"/>
          </p:cNvPicPr>
          <p:nvPr userDrawn="1"/>
        </p:nvPicPr>
        <p:blipFill rotWithShape="1">
          <a:blip r:embed="rId2">
            <a:extLst>
              <a:ext uri="{28A0092B-C50C-407E-A947-70E740481C1C}">
                <a14:useLocalDpi xmlns:a14="http://schemas.microsoft.com/office/drawing/2010/main" val="0"/>
              </a:ext>
            </a:extLst>
          </a:blip>
          <a:srcRect t="12898" b="12112"/>
          <a:stretch/>
        </p:blipFill>
        <p:spPr>
          <a:xfrm>
            <a:off x="0" y="0"/>
            <a:ext cx="12192000" cy="6858000"/>
          </a:xfrm>
          <a:prstGeom prst="rect">
            <a:avLst/>
          </a:prstGeom>
        </p:spPr>
      </p:pic>
      <p:sp>
        <p:nvSpPr>
          <p:cNvPr id="8"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9" name="Conector recto 8"/>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0" name="Imagen 9"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1"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5"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3628275812"/>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5">
    <p:bg>
      <p:bgRef idx="1001">
        <a:schemeClr val="bg1"/>
      </p:bgRef>
    </p:bg>
    <p:spTree>
      <p:nvGrpSpPr>
        <p:cNvPr id="1" name=""/>
        <p:cNvGrpSpPr/>
        <p:nvPr/>
      </p:nvGrpSpPr>
      <p:grpSpPr>
        <a:xfrm>
          <a:off x="0" y="0"/>
          <a:ext cx="0" cy="0"/>
          <a:chOff x="0" y="0"/>
          <a:chExt cx="0" cy="0"/>
        </a:xfrm>
      </p:grpSpPr>
      <p:pic>
        <p:nvPicPr>
          <p:cNvPr id="2" name="Imagen 1" descr="Backgrounds8.jpg"/>
          <p:cNvPicPr>
            <a:picLocks noChangeAspect="1"/>
          </p:cNvPicPr>
          <p:nvPr userDrawn="1"/>
        </p:nvPicPr>
        <p:blipFill rotWithShape="1">
          <a:blip r:embed="rId2">
            <a:extLst>
              <a:ext uri="{28A0092B-C50C-407E-A947-70E740481C1C}">
                <a14:useLocalDpi xmlns:a14="http://schemas.microsoft.com/office/drawing/2010/main" val="0"/>
              </a:ext>
            </a:extLst>
          </a:blip>
          <a:srcRect t="25079"/>
          <a:stretch/>
        </p:blipFill>
        <p:spPr>
          <a:xfrm>
            <a:off x="0" y="1"/>
            <a:ext cx="12192000" cy="6851644"/>
          </a:xfrm>
          <a:prstGeom prst="rect">
            <a:avLst/>
          </a:prstGeom>
        </p:spPr>
      </p:pic>
      <p:sp>
        <p:nvSpPr>
          <p:cNvPr id="13"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14" name="Conector recto 13"/>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5" name="Imagen 14"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6"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7"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995342829"/>
      </p:ext>
    </p:extLst>
  </p:cSld>
  <p:clrMapOvr>
    <a:overrideClrMapping bg1="lt1" tx1="dk1" bg2="lt2" tx2="dk2" accent1="accent1" accent2="accent2" accent3="accent3" accent4="accent4" accent5="accent5" accent6="accent6" hlink="hlink" folHlink="folHlink"/>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6">
    <p:bg>
      <p:bgRef idx="1001">
        <a:schemeClr val="bg1"/>
      </p:bgRef>
    </p:bg>
    <p:spTree>
      <p:nvGrpSpPr>
        <p:cNvPr id="1" name=""/>
        <p:cNvGrpSpPr/>
        <p:nvPr/>
      </p:nvGrpSpPr>
      <p:grpSpPr>
        <a:xfrm>
          <a:off x="0" y="0"/>
          <a:ext cx="0" cy="0"/>
          <a:chOff x="0" y="0"/>
          <a:chExt cx="0" cy="0"/>
        </a:xfrm>
      </p:grpSpPr>
      <p:pic>
        <p:nvPicPr>
          <p:cNvPr id="3" name="Imagen 2" descr="Backgrounds6.jpg"/>
          <p:cNvPicPr>
            <a:picLocks noChangeAspect="1"/>
          </p:cNvPicPr>
          <p:nvPr userDrawn="1"/>
        </p:nvPicPr>
        <p:blipFill rotWithShape="1">
          <a:blip r:embed="rId2">
            <a:extLst>
              <a:ext uri="{28A0092B-C50C-407E-A947-70E740481C1C}">
                <a14:useLocalDpi xmlns:a14="http://schemas.microsoft.com/office/drawing/2010/main" val="0"/>
              </a:ext>
            </a:extLst>
          </a:blip>
          <a:srcRect t="25010"/>
          <a:stretch/>
        </p:blipFill>
        <p:spPr>
          <a:xfrm>
            <a:off x="3696" y="0"/>
            <a:ext cx="12192000" cy="6858000"/>
          </a:xfrm>
          <a:prstGeom prst="rect">
            <a:avLst/>
          </a:prstGeom>
        </p:spPr>
      </p:pic>
      <p:sp>
        <p:nvSpPr>
          <p:cNvPr id="13"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cxnSp>
        <p:nvCxnSpPr>
          <p:cNvPr id="14" name="Conector recto 13"/>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pic>
        <p:nvPicPr>
          <p:cNvPr id="15" name="Imagen 14"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6"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7"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spTree>
    <p:extLst>
      <p:ext uri="{BB962C8B-B14F-4D97-AF65-F5344CB8AC3E}">
        <p14:creationId xmlns:p14="http://schemas.microsoft.com/office/powerpoint/2010/main" val="467040347"/>
      </p:ext>
    </p:extLst>
  </p:cSld>
  <p:clrMapOvr>
    <a:overrideClrMapping bg1="lt1" tx1="dk1" bg2="lt2" tx2="dk2" accent1="accent1" accent2="accent2" accent3="accent3" accent4="accent4" accent5="accent5" accent6="accent6" hlink="hlink" folHlink="folHlink"/>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Section Divider_Image7">
    <p:bg>
      <p:bgRef idx="1001">
        <a:schemeClr val="bg1"/>
      </p:bgRef>
    </p:bg>
    <p:spTree>
      <p:nvGrpSpPr>
        <p:cNvPr id="1" name=""/>
        <p:cNvGrpSpPr/>
        <p:nvPr/>
      </p:nvGrpSpPr>
      <p:grpSpPr>
        <a:xfrm>
          <a:off x="0" y="0"/>
          <a:ext cx="0" cy="0"/>
          <a:chOff x="0" y="0"/>
          <a:chExt cx="0" cy="0"/>
        </a:xfrm>
      </p:grpSpPr>
      <p:pic>
        <p:nvPicPr>
          <p:cNvPr id="2" name="Imagen 1" descr="Backgrounds13.jpg"/>
          <p:cNvPicPr>
            <a:picLocks noChangeAspect="1"/>
          </p:cNvPicPr>
          <p:nvPr userDrawn="1"/>
        </p:nvPicPr>
        <p:blipFill rotWithShape="1">
          <a:blip r:embed="rId2">
            <a:extLst>
              <a:ext uri="{28A0092B-C50C-407E-A947-70E740481C1C}">
                <a14:useLocalDpi xmlns:a14="http://schemas.microsoft.com/office/drawing/2010/main" val="0"/>
              </a:ext>
            </a:extLst>
          </a:blip>
          <a:srcRect t="25010"/>
          <a:stretch/>
        </p:blipFill>
        <p:spPr>
          <a:xfrm>
            <a:off x="0" y="-7556"/>
            <a:ext cx="12205432" cy="6865556"/>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rgbClr val="FFFFFF"/>
                </a:solidFill>
                <a:latin typeface="+mn-lt"/>
                <a:cs typeface="Karla"/>
              </a:rPr>
              <a:t>  </a:t>
            </a:r>
            <a:fld id="{E77AE0A1-274E-2944-95AF-27E87E012DC6}" type="slidenum">
              <a:rPr lang="en-US" sz="950" spc="-74" smtClean="0">
                <a:solidFill>
                  <a:srgbClr val="FFFFFF"/>
                </a:solidFill>
                <a:latin typeface="+mn-lt"/>
                <a:cs typeface="Karla"/>
              </a:rPr>
              <a:pPr algn="r" eaLnBrk="1" hangingPunct="1">
                <a:lnSpc>
                  <a:spcPct val="120000"/>
                </a:lnSpc>
                <a:defRPr/>
              </a:pPr>
              <a:t>‹#›</a:t>
            </a:fld>
            <a:endParaRPr lang="en-US" sz="950" spc="-74" dirty="0">
              <a:solidFill>
                <a:srgbClr val="FFFFFF"/>
              </a:solidFill>
              <a:latin typeface="+mn-lt"/>
              <a:cs typeface="Karla"/>
            </a:endParaRPr>
          </a:p>
        </p:txBody>
      </p:sp>
      <p:pic>
        <p:nvPicPr>
          <p:cNvPr id="9" name="Imagen 8" descr="Agility_logos-02.png"/>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9623936" y="188640"/>
            <a:ext cx="2246084" cy="627888"/>
          </a:xfrm>
          <a:prstGeom prst="rect">
            <a:avLst/>
          </a:prstGeom>
        </p:spPr>
      </p:pic>
      <p:sp>
        <p:nvSpPr>
          <p:cNvPr id="10" name="Marcador de texto 6"/>
          <p:cNvSpPr>
            <a:spLocks noGrp="1"/>
          </p:cNvSpPr>
          <p:nvPr>
            <p:ph type="body" sz="quarter" idx="10" hasCustomPrompt="1"/>
          </p:nvPr>
        </p:nvSpPr>
        <p:spPr>
          <a:xfrm>
            <a:off x="336109" y="296268"/>
            <a:ext cx="8783832" cy="720464"/>
          </a:xfrm>
          <a:prstGeom prst="rect">
            <a:avLst/>
          </a:prstGeom>
        </p:spPr>
        <p:txBody>
          <a:bodyPr vert="horz" lIns="34267" tIns="17132" rIns="34267" bIns="17132"/>
          <a:lstStyle>
            <a:lvl1pPr marL="0" indent="0">
              <a:buNone/>
              <a:defRPr sz="4499" b="1" i="0" spc="-149" baseline="0">
                <a:solidFill>
                  <a:schemeClr val="bg2"/>
                </a:solidFill>
                <a:latin typeface="+mj-lt"/>
                <a:cs typeface="Karla"/>
              </a:defRPr>
            </a:lvl1pPr>
          </a:lstStyle>
          <a:p>
            <a:pPr lvl="0"/>
            <a:r>
              <a:rPr lang="en-US" noProof="0" dirty="0"/>
              <a:t>Headline (Karla 90)</a:t>
            </a:r>
          </a:p>
        </p:txBody>
      </p:sp>
      <p:sp>
        <p:nvSpPr>
          <p:cNvPr id="11" name="Marcador de texto 6"/>
          <p:cNvSpPr>
            <a:spLocks noGrp="1"/>
          </p:cNvSpPr>
          <p:nvPr>
            <p:ph type="body" sz="quarter" idx="12" hasCustomPrompt="1"/>
          </p:nvPr>
        </p:nvSpPr>
        <p:spPr>
          <a:xfrm>
            <a:off x="336109" y="1124744"/>
            <a:ext cx="8783832" cy="720464"/>
          </a:xfrm>
          <a:prstGeom prst="rect">
            <a:avLst/>
          </a:prstGeom>
        </p:spPr>
        <p:txBody>
          <a:bodyPr vert="horz" lIns="34267" tIns="17132" rIns="34267" bIns="17132"/>
          <a:lstStyle>
            <a:lvl1pPr marL="0" indent="0">
              <a:buNone/>
              <a:defRPr sz="3999" b="0" i="0" spc="-149" baseline="0">
                <a:solidFill>
                  <a:schemeClr val="bg2"/>
                </a:solidFill>
                <a:latin typeface="+mj-lt"/>
                <a:cs typeface="Karla"/>
              </a:defRPr>
            </a:lvl1pPr>
          </a:lstStyle>
          <a:p>
            <a:pPr lvl="0"/>
            <a:r>
              <a:rPr lang="en-US" noProof="0" dirty="0"/>
              <a:t>Subhead (Karla 80)</a:t>
            </a:r>
          </a:p>
        </p:txBody>
      </p:sp>
      <p:cxnSp>
        <p:nvCxnSpPr>
          <p:cNvPr id="17" name="Conector recto 16"/>
          <p:cNvCxnSpPr/>
          <p:nvPr userDrawn="1"/>
        </p:nvCxnSpPr>
        <p:spPr>
          <a:xfrm>
            <a:off x="332463" y="6543102"/>
            <a:ext cx="11051787" cy="0"/>
          </a:xfrm>
          <a:prstGeom prst="line">
            <a:avLst/>
          </a:prstGeom>
          <a:ln w="12700" cmpd="sng">
            <a:solidFill>
              <a:srgbClr val="FFFFFF"/>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4137464825"/>
      </p:ext>
    </p:extLst>
  </p:cSld>
  <p:clrMapOvr>
    <a:overrideClrMapping bg1="lt1" tx1="dk1" bg2="lt2" tx2="dk2" accent1="accent1" accent2="accent2" accent3="accent3" accent4="accent4" accent5="accent5" accent6="accent6" hlink="hlink" folHlink="folHlink"/>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wo Text Boxes_Subtitles">
    <p:spTree>
      <p:nvGrpSpPr>
        <p:cNvPr id="1" name=""/>
        <p:cNvGrpSpPr/>
        <p:nvPr/>
      </p:nvGrpSpPr>
      <p:grpSpPr>
        <a:xfrm>
          <a:off x="0" y="0"/>
          <a:ext cx="0" cy="0"/>
          <a:chOff x="0" y="0"/>
          <a:chExt cx="0" cy="0"/>
        </a:xfrm>
      </p:grpSpPr>
      <p:sp>
        <p:nvSpPr>
          <p:cNvPr id="4" name="Marcador de texto 3"/>
          <p:cNvSpPr>
            <a:spLocks noGrp="1"/>
          </p:cNvSpPr>
          <p:nvPr>
            <p:ph type="body" sz="quarter" idx="31" hasCustomPrompt="1"/>
          </p:nvPr>
        </p:nvSpPr>
        <p:spPr>
          <a:xfrm>
            <a:off x="336110" y="1448780"/>
            <a:ext cx="8784192" cy="288119"/>
          </a:xfrm>
          <a:prstGeom prst="rect">
            <a:avLst/>
          </a:prstGeom>
        </p:spPr>
        <p:txBody>
          <a:bodyPr vert="horz" lIns="34267" tIns="17132" rIns="34267" bIns="17132"/>
          <a:lstStyle>
            <a:lvl1pPr marL="0" indent="0">
              <a:buNone/>
              <a:defRPr sz="1800" baseline="0">
                <a:solidFill>
                  <a:schemeClr val="tx2"/>
                </a:solidFill>
                <a:latin typeface="+mn-lt"/>
                <a:cs typeface="Noto Sans Regular"/>
              </a:defRPr>
            </a:lvl1pPr>
          </a:lstStyle>
          <a:p>
            <a:pPr lvl="0"/>
            <a:r>
              <a:rPr lang="en-US" noProof="0" dirty="0"/>
              <a:t>Subtitle (Noto Sans 36)</a:t>
            </a:r>
          </a:p>
        </p:txBody>
      </p:sp>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noProof="0" dirty="0">
                <a:solidFill>
                  <a:schemeClr val="tx2"/>
                </a:solidFill>
                <a:latin typeface="+mn-lt"/>
                <a:cs typeface="Karla"/>
              </a:rPr>
              <a:t>  </a:t>
            </a:r>
            <a:fld id="{E77AE0A1-274E-2944-95AF-27E87E012DC6}" type="slidenum">
              <a:rPr lang="en-US" sz="950" spc="-74" noProof="0" smtClean="0">
                <a:solidFill>
                  <a:schemeClr val="tx2"/>
                </a:solidFill>
                <a:latin typeface="+mn-lt"/>
                <a:cs typeface="Karla"/>
              </a:rPr>
              <a:pPr algn="r" eaLnBrk="1" hangingPunct="1">
                <a:lnSpc>
                  <a:spcPct val="120000"/>
                </a:lnSpc>
                <a:defRPr/>
              </a:pPr>
              <a:t>‹#›</a:t>
            </a:fld>
            <a:endParaRPr lang="en-US" sz="950" spc="-74" noProof="0" dirty="0">
              <a:solidFill>
                <a:schemeClr val="tx2"/>
              </a:solidFill>
              <a:latin typeface="+mn-lt"/>
              <a:cs typeface="Karla"/>
            </a:endParaRPr>
          </a:p>
        </p:txBody>
      </p:sp>
      <p:sp>
        <p:nvSpPr>
          <p:cNvPr id="12" name="Marcador de texto 6"/>
          <p:cNvSpPr>
            <a:spLocks noGrp="1"/>
          </p:cNvSpPr>
          <p:nvPr>
            <p:ph type="body" sz="quarter" idx="10" hasCustomPrompt="1"/>
          </p:nvPr>
        </p:nvSpPr>
        <p:spPr>
          <a:xfrm>
            <a:off x="336111" y="4509120"/>
            <a:ext cx="11519780" cy="172819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400" b="0" i="0" spc="0" baseline="0">
                <a:solidFill>
                  <a:schemeClr val="tx1"/>
                </a:solidFill>
                <a:latin typeface="+mn-lt"/>
                <a:cs typeface="Noto Sans Regular"/>
              </a:defRPr>
            </a:lvl1pPr>
            <a:lvl2pPr marL="475828" indent="0">
              <a:buNone/>
              <a:defRPr/>
            </a:lvl2pPr>
          </a:lstStyle>
          <a:p>
            <a:pPr lvl="0"/>
            <a:r>
              <a:rPr lang="en-US" noProof="0" dirty="0"/>
              <a:t>Body Text (Noto Sans 28)</a:t>
            </a:r>
          </a:p>
        </p:txBody>
      </p:sp>
      <p:cxnSp>
        <p:nvCxnSpPr>
          <p:cNvPr id="9" name="Conector recto 8"/>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3" name="Marcador de texto 3"/>
          <p:cNvSpPr>
            <a:spLocks noGrp="1"/>
          </p:cNvSpPr>
          <p:nvPr>
            <p:ph type="body" sz="quarter" idx="32" hasCustomPrompt="1"/>
          </p:nvPr>
        </p:nvSpPr>
        <p:spPr>
          <a:xfrm>
            <a:off x="335749" y="4077072"/>
            <a:ext cx="8784192" cy="288119"/>
          </a:xfrm>
          <a:prstGeom prst="rect">
            <a:avLst/>
          </a:prstGeom>
        </p:spPr>
        <p:txBody>
          <a:bodyPr vert="horz" lIns="34267" tIns="17132" rIns="34267" bIns="17132"/>
          <a:lstStyle>
            <a:lvl1pPr marL="0" indent="0">
              <a:buNone/>
              <a:defRPr sz="1800" baseline="0">
                <a:solidFill>
                  <a:schemeClr val="tx2"/>
                </a:solidFill>
                <a:latin typeface="+mn-lt"/>
                <a:cs typeface="Noto Sans Regular"/>
              </a:defRPr>
            </a:lvl1pPr>
          </a:lstStyle>
          <a:p>
            <a:pPr lvl="0"/>
            <a:r>
              <a:rPr lang="en-US" noProof="0" dirty="0"/>
              <a:t>Subtitle (Noto Sans 36)</a:t>
            </a:r>
          </a:p>
        </p:txBody>
      </p:sp>
      <p:sp>
        <p:nvSpPr>
          <p:cNvPr id="16" name="Marcador de texto 6"/>
          <p:cNvSpPr>
            <a:spLocks noGrp="1"/>
          </p:cNvSpPr>
          <p:nvPr>
            <p:ph type="body" sz="quarter" idx="34" hasCustomPrompt="1"/>
          </p:nvPr>
        </p:nvSpPr>
        <p:spPr>
          <a:xfrm>
            <a:off x="336109" y="476672"/>
            <a:ext cx="8783832" cy="360040"/>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11" name="Marcador de texto 2">
            <a:extLst>
              <a:ext uri="{FF2B5EF4-FFF2-40B4-BE49-F238E27FC236}">
                <a16:creationId xmlns:a16="http://schemas.microsoft.com/office/drawing/2014/main" id="{29E0BDB7-1AD8-4E81-BF5A-F92DA11F682A}"/>
              </a:ext>
            </a:extLst>
          </p:cNvPr>
          <p:cNvSpPr>
            <a:spLocks noGrp="1"/>
          </p:cNvSpPr>
          <p:nvPr>
            <p:ph type="body" sz="quarter" idx="35" hasCustomPrompt="1"/>
          </p:nvPr>
        </p:nvSpPr>
        <p:spPr>
          <a:xfrm>
            <a:off x="336111" y="1880828"/>
            <a:ext cx="11519780" cy="2016252"/>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baseline="0">
                <a:solidFill>
                  <a:schemeClr val="tx1"/>
                </a:solidFill>
                <a:latin typeface="+mn-lt"/>
                <a:cs typeface="Noto Sans Regular"/>
              </a:defRPr>
            </a:lvl1pPr>
            <a:lvl2pPr>
              <a:buClr>
                <a:schemeClr val="tx2"/>
              </a:buClr>
              <a:defRPr sz="14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4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2559735158"/>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ext Box + Map Image">
    <p:spTree>
      <p:nvGrpSpPr>
        <p:cNvPr id="1" name=""/>
        <p:cNvGrpSpPr/>
        <p:nvPr/>
      </p:nvGrpSpPr>
      <p:grpSpPr>
        <a:xfrm>
          <a:off x="0" y="0"/>
          <a:ext cx="0" cy="0"/>
          <a:chOff x="0" y="0"/>
          <a:chExt cx="0" cy="0"/>
        </a:xfrm>
      </p:grpSpPr>
      <p:pic>
        <p:nvPicPr>
          <p:cNvPr id="18" name="Imagen 17"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20"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noProof="0" dirty="0">
                <a:solidFill>
                  <a:schemeClr val="tx2"/>
                </a:solidFill>
                <a:latin typeface="+mn-lt"/>
                <a:cs typeface="Karla"/>
              </a:rPr>
              <a:t>  </a:t>
            </a:r>
            <a:fld id="{E77AE0A1-274E-2944-95AF-27E87E012DC6}" type="slidenum">
              <a:rPr lang="en-US" sz="950" spc="-74" noProof="0" smtClean="0">
                <a:solidFill>
                  <a:schemeClr val="tx2"/>
                </a:solidFill>
                <a:latin typeface="+mn-lt"/>
                <a:cs typeface="Karla"/>
              </a:rPr>
              <a:pPr algn="r" eaLnBrk="1" hangingPunct="1">
                <a:lnSpc>
                  <a:spcPct val="120000"/>
                </a:lnSpc>
                <a:defRPr/>
              </a:pPr>
              <a:t>‹#›</a:t>
            </a:fld>
            <a:endParaRPr lang="en-US" sz="950" spc="-74" noProof="0" dirty="0">
              <a:solidFill>
                <a:schemeClr val="tx2"/>
              </a:solidFill>
              <a:latin typeface="+mn-lt"/>
              <a:cs typeface="Karla"/>
            </a:endParaRPr>
          </a:p>
        </p:txBody>
      </p:sp>
      <p:cxnSp>
        <p:nvCxnSpPr>
          <p:cNvPr id="9" name="Conector recto 8"/>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6" name="Marcador de texto 6"/>
          <p:cNvSpPr>
            <a:spLocks noGrp="1"/>
          </p:cNvSpPr>
          <p:nvPr>
            <p:ph type="body" sz="quarter" idx="34" hasCustomPrompt="1"/>
          </p:nvPr>
        </p:nvSpPr>
        <p:spPr>
          <a:xfrm>
            <a:off x="336109" y="476672"/>
            <a:ext cx="8783832" cy="360040"/>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11" name="Marcador de texto 2">
            <a:extLst>
              <a:ext uri="{FF2B5EF4-FFF2-40B4-BE49-F238E27FC236}">
                <a16:creationId xmlns:a16="http://schemas.microsoft.com/office/drawing/2014/main" id="{29E0BDB7-1AD8-4E81-BF5A-F92DA11F682A}"/>
              </a:ext>
            </a:extLst>
          </p:cNvPr>
          <p:cNvSpPr>
            <a:spLocks noGrp="1"/>
          </p:cNvSpPr>
          <p:nvPr>
            <p:ph type="body" sz="quarter" idx="35" hasCustomPrompt="1"/>
          </p:nvPr>
        </p:nvSpPr>
        <p:spPr>
          <a:xfrm>
            <a:off x="336111" y="1412642"/>
            <a:ext cx="11519780" cy="1656319"/>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baseline="0">
                <a:solidFill>
                  <a:schemeClr val="tx1"/>
                </a:solidFill>
                <a:latin typeface="+mn-lt"/>
                <a:cs typeface="Noto Sans Regular"/>
              </a:defRPr>
            </a:lvl1pPr>
            <a:lvl2pPr>
              <a:buClr>
                <a:schemeClr val="tx2"/>
              </a:buClr>
              <a:defRPr sz="14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4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
        <p:nvSpPr>
          <p:cNvPr id="10" name="Marcador de posición de imagen 2"/>
          <p:cNvSpPr>
            <a:spLocks noGrp="1"/>
          </p:cNvSpPr>
          <p:nvPr>
            <p:ph type="pic" sz="quarter" idx="28" hasCustomPrompt="1"/>
          </p:nvPr>
        </p:nvSpPr>
        <p:spPr>
          <a:xfrm>
            <a:off x="336109" y="3230548"/>
            <a:ext cx="11519694" cy="3078772"/>
          </a:xfrm>
          <a:prstGeom prst="rect">
            <a:avLst/>
          </a:prstGeom>
        </p:spPr>
        <p:txBody>
          <a:bodyPr vert="horz" lIns="34267" tIns="17132" rIns="34267" bIns="17132"/>
          <a:lstStyle>
            <a:lvl1pPr marL="356871" marR="0" indent="-356871" algn="l" defTabSz="456796" rtl="0" eaLnBrk="1" fontAlgn="base" latinLnBrk="0" hangingPunct="1">
              <a:lnSpc>
                <a:spcPct val="100000"/>
              </a:lnSpc>
              <a:spcBef>
                <a:spcPct val="20000"/>
              </a:spcBef>
              <a:spcAft>
                <a:spcPct val="0"/>
              </a:spcAft>
              <a:buClrTx/>
              <a:buSzTx/>
              <a:buFontTx/>
              <a:buChar char="•"/>
              <a:tabLst/>
              <a:defRPr sz="1250" baseline="0">
                <a:solidFill>
                  <a:schemeClr val="tx1"/>
                </a:solidFill>
                <a:latin typeface="+mn-lt"/>
              </a:defRPr>
            </a:lvl1pPr>
          </a:lstStyle>
          <a:p>
            <a:r>
              <a:rPr lang="en-US" noProof="0" dirty="0"/>
              <a:t>Click here to insert an image</a:t>
            </a:r>
          </a:p>
          <a:p>
            <a:endParaRPr lang="en-US" noProof="0" dirty="0"/>
          </a:p>
        </p:txBody>
      </p:sp>
    </p:spTree>
    <p:extLst>
      <p:ext uri="{BB962C8B-B14F-4D97-AF65-F5344CB8AC3E}">
        <p14:creationId xmlns:p14="http://schemas.microsoft.com/office/powerpoint/2010/main" val="323483820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ext Slide">
    <p:spTree>
      <p:nvGrpSpPr>
        <p:cNvPr id="1" name=""/>
        <p:cNvGrpSpPr/>
        <p:nvPr/>
      </p:nvGrpSpPr>
      <p:grpSpPr>
        <a:xfrm>
          <a:off x="0" y="0"/>
          <a:ext cx="0" cy="0"/>
          <a:chOff x="0" y="0"/>
          <a:chExt cx="0" cy="0"/>
        </a:xfrm>
      </p:grpSpPr>
      <p:pic>
        <p:nvPicPr>
          <p:cNvPr id="15" name="Imagen 14"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6"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2"/>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6" name="Conector recto 5"/>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2" name="Marcador de texto 6"/>
          <p:cNvSpPr>
            <a:spLocks noGrp="1"/>
          </p:cNvSpPr>
          <p:nvPr>
            <p:ph type="body" sz="quarter" idx="34" hasCustomPrompt="1"/>
          </p:nvPr>
        </p:nvSpPr>
        <p:spPr>
          <a:xfrm>
            <a:off x="336109" y="476672"/>
            <a:ext cx="8783832" cy="34290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8" name="Marcador de texto 2">
            <a:extLst>
              <a:ext uri="{FF2B5EF4-FFF2-40B4-BE49-F238E27FC236}">
                <a16:creationId xmlns:a16="http://schemas.microsoft.com/office/drawing/2014/main" id="{29E0BDB7-1AD8-4E81-BF5A-F92DA11F682A}"/>
              </a:ext>
            </a:extLst>
          </p:cNvPr>
          <p:cNvSpPr>
            <a:spLocks noGrp="1"/>
          </p:cNvSpPr>
          <p:nvPr>
            <p:ph type="body" sz="quarter" idx="35" hasCustomPrompt="1"/>
          </p:nvPr>
        </p:nvSpPr>
        <p:spPr>
          <a:xfrm>
            <a:off x="336111" y="1304764"/>
            <a:ext cx="11519780" cy="4914488"/>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a:solidFill>
                  <a:schemeClr val="tx1"/>
                </a:solidFill>
                <a:latin typeface="+mn-lt"/>
                <a:cs typeface="Noto Sans Regular"/>
              </a:defRPr>
            </a:lvl1pPr>
            <a:lvl2pPr>
              <a:buClr>
                <a:schemeClr val="tx2"/>
              </a:buClr>
              <a:defRPr sz="14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2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181127799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wo Text Boxes">
    <p:spTree>
      <p:nvGrpSpPr>
        <p:cNvPr id="1" name=""/>
        <p:cNvGrpSpPr/>
        <p:nvPr/>
      </p:nvGrpSpPr>
      <p:grpSpPr>
        <a:xfrm>
          <a:off x="0" y="0"/>
          <a:ext cx="0" cy="0"/>
          <a:chOff x="0" y="0"/>
          <a:chExt cx="0" cy="0"/>
        </a:xfrm>
      </p:grpSpPr>
      <p:pic>
        <p:nvPicPr>
          <p:cNvPr id="15" name="Imagen 14"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16"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0" name="Marcador de texto 6"/>
          <p:cNvSpPr>
            <a:spLocks noGrp="1"/>
          </p:cNvSpPr>
          <p:nvPr>
            <p:ph type="body" sz="quarter" idx="10" hasCustomPrompt="1"/>
          </p:nvPr>
        </p:nvSpPr>
        <p:spPr>
          <a:xfrm>
            <a:off x="336111" y="1448780"/>
            <a:ext cx="11519780" cy="244827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 typeface="Arial"/>
              <a:buNone/>
              <a:tabLst/>
              <a:defRPr sz="1400" b="0" i="0" spc="0" baseline="0">
                <a:solidFill>
                  <a:schemeClr val="tx1"/>
                </a:solidFill>
                <a:latin typeface="+mn-lt"/>
                <a:cs typeface="Noto Sans Regular"/>
              </a:defRPr>
            </a:lvl1pPr>
            <a:lvl2pPr marL="647244" indent="-171416">
              <a:buFont typeface="Arial"/>
              <a:buChar char="•"/>
              <a:defRPr sz="2000">
                <a:solidFill>
                  <a:schemeClr val="tx1"/>
                </a:solidFill>
              </a:defRPr>
            </a:lvl2pPr>
            <a:lvl3pPr marL="951656" indent="0">
              <a:buNone/>
              <a:defRPr sz="2000">
                <a:solidFill>
                  <a:schemeClr val="tx2"/>
                </a:solidFill>
              </a:defRPr>
            </a:lvl3pPr>
          </a:lstStyle>
          <a:p>
            <a:pPr lvl="0"/>
            <a:r>
              <a:rPr lang="en-US" noProof="0" dirty="0"/>
              <a:t>Body Text (Noto Sans 28)</a:t>
            </a:r>
          </a:p>
          <a:p>
            <a:pPr lvl="0"/>
            <a:endParaRPr lang="en-US" noProof="0" dirty="0"/>
          </a:p>
          <a:p>
            <a:pPr lvl="0"/>
            <a:endParaRPr lang="en-US" noProof="0" dirty="0"/>
          </a:p>
        </p:txBody>
      </p:sp>
      <p:cxnSp>
        <p:nvCxnSpPr>
          <p:cNvPr id="6" name="Conector recto 5"/>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3" name="Marcador de texto 6"/>
          <p:cNvSpPr>
            <a:spLocks noGrp="1"/>
          </p:cNvSpPr>
          <p:nvPr>
            <p:ph type="body" sz="quarter" idx="34" hasCustomPrompt="1"/>
          </p:nvPr>
        </p:nvSpPr>
        <p:spPr>
          <a:xfrm>
            <a:off x="336109" y="476672"/>
            <a:ext cx="8783832" cy="432048"/>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9" name="Marcador de texto 2">
            <a:extLst>
              <a:ext uri="{FF2B5EF4-FFF2-40B4-BE49-F238E27FC236}">
                <a16:creationId xmlns:a16="http://schemas.microsoft.com/office/drawing/2014/main" id="{2F9965DA-6ED4-443D-8485-885D115B5F93}"/>
              </a:ext>
            </a:extLst>
          </p:cNvPr>
          <p:cNvSpPr>
            <a:spLocks noGrp="1"/>
          </p:cNvSpPr>
          <p:nvPr>
            <p:ph type="body" sz="quarter" idx="37" hasCustomPrompt="1"/>
          </p:nvPr>
        </p:nvSpPr>
        <p:spPr>
          <a:xfrm>
            <a:off x="336111" y="4041068"/>
            <a:ext cx="11519780" cy="2194560"/>
          </a:xfrm>
          <a:prstGeom prst="rect">
            <a:avLst/>
          </a:prstGeom>
        </p:spPr>
        <p:txBody>
          <a:bodyPr lIns="34267" tIns="17132" rIns="34267" bIns="17132"/>
          <a:lstStyle>
            <a:lvl1pPr marL="171297" indent="-171297">
              <a:buClr>
                <a:schemeClr val="tx1"/>
              </a:buClr>
              <a:buFont typeface="Arial" panose="020B0604020202020204" pitchFamily="34" charset="0"/>
              <a:buChar char="•"/>
              <a:defRPr sz="1400" baseline="0">
                <a:solidFill>
                  <a:schemeClr val="tx1"/>
                </a:solidFill>
                <a:latin typeface="+mn-lt"/>
                <a:cs typeface="Noto Sans Regular"/>
              </a:defRPr>
            </a:lvl1pPr>
            <a:lvl2pPr>
              <a:buClr>
                <a:schemeClr val="tx2"/>
              </a:buClr>
              <a:defRPr sz="13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3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28)</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1025708921"/>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Box + Image + Footnote">
    <p:spTree>
      <p:nvGrpSpPr>
        <p:cNvPr id="1" name=""/>
        <p:cNvGrpSpPr/>
        <p:nvPr/>
      </p:nvGrpSpPr>
      <p:grpSpPr>
        <a:xfrm>
          <a:off x="0" y="0"/>
          <a:ext cx="0" cy="0"/>
          <a:chOff x="0" y="0"/>
          <a:chExt cx="0" cy="0"/>
        </a:xfrm>
      </p:grpSpPr>
      <p:pic>
        <p:nvPicPr>
          <p:cNvPr id="15" name="Imagen 14"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23"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sp>
        <p:nvSpPr>
          <p:cNvPr id="2" name="CuadroTexto 1">
            <a:extLst>
              <a:ext uri="{FF2B5EF4-FFF2-40B4-BE49-F238E27FC236}">
                <a16:creationId xmlns:a16="http://schemas.microsoft.com/office/drawing/2014/main" id="{945B8DCF-D997-9242-A1DF-6A65472FB8A2}"/>
              </a:ext>
            </a:extLst>
          </p:cNvPr>
          <p:cNvSpPr txBox="1"/>
          <p:nvPr userDrawn="1"/>
        </p:nvSpPr>
        <p:spPr>
          <a:xfrm>
            <a:off x="2099989" y="-1071563"/>
            <a:ext cx="0" cy="0"/>
          </a:xfrm>
          <a:prstGeom prst="rect">
            <a:avLst/>
          </a:prstGeom>
          <a:noFill/>
          <a:ln>
            <a:noFill/>
          </a:ln>
        </p:spPr>
        <p:txBody>
          <a:bodyPr wrap="none" tIns="0" bIns="0" rtlCol="0" anchor="t" anchorCtr="0">
            <a:noAutofit/>
          </a:bodyPr>
          <a:lstStyle/>
          <a:p>
            <a:pPr marL="0">
              <a:lnSpc>
                <a:spcPts val="1750"/>
              </a:lnSpc>
            </a:pPr>
            <a:endParaRPr lang="es-ES" sz="2000" b="1" dirty="0" err="1">
              <a:latin typeface="+mj-lt"/>
              <a:cs typeface="Etelka Text Pro"/>
            </a:endParaRPr>
          </a:p>
        </p:txBody>
      </p:sp>
      <p:cxnSp>
        <p:nvCxnSpPr>
          <p:cNvPr id="9" name="Conector recto 8"/>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6" name="Marcador de texto 6"/>
          <p:cNvSpPr>
            <a:spLocks noGrp="1"/>
          </p:cNvSpPr>
          <p:nvPr>
            <p:ph type="body" sz="quarter" idx="10" hasCustomPrompt="1"/>
          </p:nvPr>
        </p:nvSpPr>
        <p:spPr>
          <a:xfrm>
            <a:off x="336110" y="1448780"/>
            <a:ext cx="4211920" cy="4788532"/>
          </a:xfrm>
          <a:prstGeom prst="rect">
            <a:avLst/>
          </a:prstGeom>
        </p:spPr>
        <p:txBody>
          <a:bodyPr vert="horz" lIns="34267" tIns="17132" rIns="34267" bIns="17132"/>
          <a:lstStyle>
            <a:lvl1pPr marL="0" marR="0" indent="0" algn="l" defTabSz="456796" rtl="0" eaLnBrk="0" fontAlgn="base" latinLnBrk="0" hangingPunct="0">
              <a:lnSpc>
                <a:spcPct val="100000"/>
              </a:lnSpc>
              <a:spcBef>
                <a:spcPct val="20000"/>
              </a:spcBef>
              <a:spcAft>
                <a:spcPct val="0"/>
              </a:spcAft>
              <a:buClrTx/>
              <a:buSzTx/>
              <a:buFontTx/>
              <a:buNone/>
              <a:tabLst/>
              <a:defRPr sz="1400" b="0" i="0" spc="0" baseline="0">
                <a:solidFill>
                  <a:schemeClr val="tx1"/>
                </a:solidFill>
                <a:latin typeface="+mn-lt"/>
                <a:cs typeface="Noto Sans Regular"/>
              </a:defRPr>
            </a:lvl1pPr>
            <a:lvl2pPr marL="475828" indent="0">
              <a:buNone/>
              <a:defRPr/>
            </a:lvl2pPr>
          </a:lstStyle>
          <a:p>
            <a:pPr lvl="0"/>
            <a:r>
              <a:rPr lang="en-US" noProof="0" dirty="0"/>
              <a:t>Body Text (Noto Sans 28)</a:t>
            </a:r>
          </a:p>
        </p:txBody>
      </p:sp>
      <p:sp>
        <p:nvSpPr>
          <p:cNvPr id="17" name="Marcador de texto 6"/>
          <p:cNvSpPr>
            <a:spLocks noGrp="1"/>
          </p:cNvSpPr>
          <p:nvPr>
            <p:ph type="body" sz="quarter" idx="30" hasCustomPrompt="1"/>
          </p:nvPr>
        </p:nvSpPr>
        <p:spPr>
          <a:xfrm>
            <a:off x="9623932" y="5877272"/>
            <a:ext cx="2231957" cy="360424"/>
          </a:xfrm>
          <a:prstGeom prst="rect">
            <a:avLst/>
          </a:prstGeom>
        </p:spPr>
        <p:txBody>
          <a:bodyPr vert="horz" lIns="34267" tIns="17132" rIns="34267" bIns="17132"/>
          <a:lstStyle>
            <a:lvl1pPr marL="0" indent="0">
              <a:lnSpc>
                <a:spcPct val="110000"/>
              </a:lnSpc>
              <a:buNone/>
              <a:defRPr sz="950" b="0" i="0" spc="0" baseline="0">
                <a:solidFill>
                  <a:schemeClr val="tx1"/>
                </a:solidFill>
                <a:latin typeface="+mn-lt"/>
                <a:cs typeface="Noto Sans Regular"/>
              </a:defRPr>
            </a:lvl1pPr>
          </a:lstStyle>
          <a:p>
            <a:pPr lvl="0"/>
            <a:r>
              <a:rPr lang="en-US" noProof="0" dirty="0"/>
              <a:t>Click here to insert complementary info (footnotes, captions, legends, </a:t>
            </a:r>
            <a:r>
              <a:rPr lang="en-US" noProof="0" dirty="0" err="1"/>
              <a:t>etc</a:t>
            </a:r>
            <a:r>
              <a:rPr lang="en-US" noProof="0" dirty="0"/>
              <a:t>)</a:t>
            </a:r>
          </a:p>
        </p:txBody>
      </p:sp>
      <p:sp>
        <p:nvSpPr>
          <p:cNvPr id="18" name="Marcador de posición de imagen 18"/>
          <p:cNvSpPr>
            <a:spLocks noGrp="1"/>
          </p:cNvSpPr>
          <p:nvPr>
            <p:ph type="pic" sz="quarter" idx="31" hasCustomPrompt="1"/>
          </p:nvPr>
        </p:nvSpPr>
        <p:spPr>
          <a:xfrm>
            <a:off x="4908023" y="1448780"/>
            <a:ext cx="4211920" cy="4788532"/>
          </a:xfrm>
          <a:prstGeom prst="rect">
            <a:avLst/>
          </a:prstGeom>
        </p:spPr>
        <p:txBody>
          <a:bodyPr vert="horz" lIns="34267" tIns="17132" rIns="34267" bIns="17132"/>
          <a:lstStyle>
            <a:lvl1pPr>
              <a:defRPr sz="1250">
                <a:solidFill>
                  <a:schemeClr val="tx1"/>
                </a:solidFill>
                <a:latin typeface="+mn-lt"/>
              </a:defRPr>
            </a:lvl1pPr>
          </a:lstStyle>
          <a:p>
            <a:r>
              <a:rPr lang="en-US" noProof="0" dirty="0"/>
              <a:t>Click here to insert the image</a:t>
            </a:r>
          </a:p>
        </p:txBody>
      </p:sp>
      <p:sp>
        <p:nvSpPr>
          <p:cNvPr id="20" name="Marcador de texto 6"/>
          <p:cNvSpPr>
            <a:spLocks noGrp="1"/>
          </p:cNvSpPr>
          <p:nvPr>
            <p:ph type="body" sz="quarter" idx="34" hasCustomPrompt="1"/>
          </p:nvPr>
        </p:nvSpPr>
        <p:spPr>
          <a:xfrm>
            <a:off x="336109" y="476672"/>
            <a:ext cx="8783832" cy="432048"/>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Tree>
    <p:extLst>
      <p:ext uri="{BB962C8B-B14F-4D97-AF65-F5344CB8AC3E}">
        <p14:creationId xmlns:p14="http://schemas.microsoft.com/office/powerpoint/2010/main" val="2536003316"/>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4_Text + 1 Image">
    <p:spTree>
      <p:nvGrpSpPr>
        <p:cNvPr id="1" name=""/>
        <p:cNvGrpSpPr/>
        <p:nvPr/>
      </p:nvGrpSpPr>
      <p:grpSpPr>
        <a:xfrm>
          <a:off x="0" y="0"/>
          <a:ext cx="0" cy="0"/>
          <a:chOff x="0" y="0"/>
          <a:chExt cx="0" cy="0"/>
        </a:xfrm>
      </p:grpSpPr>
      <p:pic>
        <p:nvPicPr>
          <p:cNvPr id="15" name="Imagen 14" descr="Agility_logos_ppt-01.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623932" y="188640"/>
            <a:ext cx="2249131" cy="630936"/>
          </a:xfrm>
          <a:prstGeom prst="rect">
            <a:avLst/>
          </a:prstGeom>
        </p:spPr>
      </p:pic>
      <p:sp>
        <p:nvSpPr>
          <p:cNvPr id="23" name="Slide Number Placeholder 9"/>
          <p:cNvSpPr txBox="1">
            <a:spLocks/>
          </p:cNvSpPr>
          <p:nvPr userDrawn="1"/>
        </p:nvSpPr>
        <p:spPr>
          <a:xfrm>
            <a:off x="11243902" y="6381514"/>
            <a:ext cx="611901" cy="323851"/>
          </a:xfrm>
          <a:prstGeom prst="rect">
            <a:avLst/>
          </a:prstGeom>
        </p:spPr>
        <p:txBody>
          <a:bodyPr lIns="95160" tIns="47578" rIns="0" bIns="47578"/>
          <a:lstStyle>
            <a:lvl1pPr eaLnBrk="0" hangingPunct="0">
              <a:defRPr sz="5000">
                <a:solidFill>
                  <a:schemeClr val="tx1"/>
                </a:solidFill>
                <a:latin typeface="Arial" charset="0"/>
                <a:ea typeface="ＭＳ Ｐゴシック" charset="0"/>
                <a:cs typeface="MS PGothic" charset="0"/>
              </a:defRPr>
            </a:lvl1pPr>
            <a:lvl2pPr marL="742950" indent="-285750" eaLnBrk="0" hangingPunct="0">
              <a:defRPr sz="5000">
                <a:solidFill>
                  <a:schemeClr val="tx1"/>
                </a:solidFill>
                <a:latin typeface="Arial" charset="0"/>
                <a:ea typeface="MS PGothic" charset="0"/>
                <a:cs typeface="MS PGothic" charset="0"/>
              </a:defRPr>
            </a:lvl2pPr>
            <a:lvl3pPr marL="1143000" indent="-228600" eaLnBrk="0" hangingPunct="0">
              <a:defRPr sz="5000">
                <a:solidFill>
                  <a:schemeClr val="tx1"/>
                </a:solidFill>
                <a:latin typeface="Arial" charset="0"/>
                <a:ea typeface="MS PGothic" charset="0"/>
                <a:cs typeface="MS PGothic" charset="0"/>
              </a:defRPr>
            </a:lvl3pPr>
            <a:lvl4pPr marL="1600200" indent="-228600" eaLnBrk="0" hangingPunct="0">
              <a:defRPr sz="5000">
                <a:solidFill>
                  <a:schemeClr val="tx1"/>
                </a:solidFill>
                <a:latin typeface="Arial" charset="0"/>
                <a:ea typeface="MS PGothic" charset="0"/>
                <a:cs typeface="MS PGothic" charset="0"/>
              </a:defRPr>
            </a:lvl4pPr>
            <a:lvl5pPr marL="2057400" indent="-228600" eaLnBrk="0" hangingPunct="0">
              <a:defRPr sz="5000">
                <a:solidFill>
                  <a:schemeClr val="tx1"/>
                </a:solidFill>
                <a:latin typeface="Arial" charset="0"/>
                <a:ea typeface="MS PGothic" charset="0"/>
                <a:cs typeface="MS PGothic" charset="0"/>
              </a:defRPr>
            </a:lvl5pPr>
            <a:lvl6pPr marL="2514600" indent="-228600" eaLnBrk="0" fontAlgn="base" hangingPunct="0">
              <a:spcBef>
                <a:spcPct val="0"/>
              </a:spcBef>
              <a:spcAft>
                <a:spcPct val="0"/>
              </a:spcAft>
              <a:defRPr sz="5000">
                <a:solidFill>
                  <a:schemeClr val="tx1"/>
                </a:solidFill>
                <a:latin typeface="Arial" charset="0"/>
                <a:ea typeface="MS PGothic" charset="0"/>
                <a:cs typeface="MS PGothic" charset="0"/>
              </a:defRPr>
            </a:lvl6pPr>
            <a:lvl7pPr marL="2971800" indent="-228600" eaLnBrk="0" fontAlgn="base" hangingPunct="0">
              <a:spcBef>
                <a:spcPct val="0"/>
              </a:spcBef>
              <a:spcAft>
                <a:spcPct val="0"/>
              </a:spcAft>
              <a:defRPr sz="5000">
                <a:solidFill>
                  <a:schemeClr val="tx1"/>
                </a:solidFill>
                <a:latin typeface="Arial" charset="0"/>
                <a:ea typeface="MS PGothic" charset="0"/>
                <a:cs typeface="MS PGothic" charset="0"/>
              </a:defRPr>
            </a:lvl7pPr>
            <a:lvl8pPr marL="3429000" indent="-228600" eaLnBrk="0" fontAlgn="base" hangingPunct="0">
              <a:spcBef>
                <a:spcPct val="0"/>
              </a:spcBef>
              <a:spcAft>
                <a:spcPct val="0"/>
              </a:spcAft>
              <a:defRPr sz="5000">
                <a:solidFill>
                  <a:schemeClr val="tx1"/>
                </a:solidFill>
                <a:latin typeface="Arial" charset="0"/>
                <a:ea typeface="MS PGothic" charset="0"/>
                <a:cs typeface="MS PGothic" charset="0"/>
              </a:defRPr>
            </a:lvl8pPr>
            <a:lvl9pPr marL="3886200" indent="-228600" eaLnBrk="0" fontAlgn="base" hangingPunct="0">
              <a:spcBef>
                <a:spcPct val="0"/>
              </a:spcBef>
              <a:spcAft>
                <a:spcPct val="0"/>
              </a:spcAft>
              <a:defRPr sz="5000">
                <a:solidFill>
                  <a:schemeClr val="tx1"/>
                </a:solidFill>
                <a:latin typeface="Arial" charset="0"/>
                <a:ea typeface="MS PGothic" charset="0"/>
                <a:cs typeface="MS PGothic" charset="0"/>
              </a:defRPr>
            </a:lvl9pPr>
          </a:lstStyle>
          <a:p>
            <a:pPr algn="r" eaLnBrk="1" hangingPunct="1">
              <a:lnSpc>
                <a:spcPct val="120000"/>
              </a:lnSpc>
              <a:defRPr/>
            </a:pPr>
            <a:r>
              <a:rPr lang="en-US" sz="950" spc="-74" dirty="0">
                <a:solidFill>
                  <a:schemeClr val="tx1"/>
                </a:solidFill>
                <a:latin typeface="+mn-lt"/>
                <a:cs typeface="Karla"/>
              </a:rPr>
              <a:t>  </a:t>
            </a:r>
            <a:fld id="{E77AE0A1-274E-2944-95AF-27E87E012DC6}" type="slidenum">
              <a:rPr lang="en-US" sz="950" spc="-74" smtClean="0">
                <a:solidFill>
                  <a:schemeClr val="tx2"/>
                </a:solidFill>
                <a:latin typeface="+mn-lt"/>
                <a:cs typeface="Karla"/>
              </a:rPr>
              <a:pPr algn="r" eaLnBrk="1" hangingPunct="1">
                <a:lnSpc>
                  <a:spcPct val="120000"/>
                </a:lnSpc>
                <a:defRPr/>
              </a:pPr>
              <a:t>‹#›</a:t>
            </a:fld>
            <a:endParaRPr lang="en-US" sz="950" spc="-74" dirty="0">
              <a:solidFill>
                <a:schemeClr val="tx2"/>
              </a:solidFill>
              <a:latin typeface="+mn-lt"/>
              <a:cs typeface="Karla"/>
            </a:endParaRPr>
          </a:p>
        </p:txBody>
      </p:sp>
      <p:cxnSp>
        <p:nvCxnSpPr>
          <p:cNvPr id="12" name="Conector recto 11"/>
          <p:cNvCxnSpPr/>
          <p:nvPr userDrawn="1"/>
        </p:nvCxnSpPr>
        <p:spPr>
          <a:xfrm>
            <a:off x="332463" y="6543102"/>
            <a:ext cx="11051787" cy="0"/>
          </a:xfrm>
          <a:prstGeom prst="line">
            <a:avLst/>
          </a:prstGeom>
          <a:ln w="12700" cmpd="sng">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16" name="Marcador de posición de imagen 18"/>
          <p:cNvSpPr>
            <a:spLocks noGrp="1"/>
          </p:cNvSpPr>
          <p:nvPr>
            <p:ph type="pic" sz="quarter" idx="32" hasCustomPrompt="1"/>
          </p:nvPr>
        </p:nvSpPr>
        <p:spPr>
          <a:xfrm>
            <a:off x="6275996" y="1448780"/>
            <a:ext cx="5579893" cy="4788532"/>
          </a:xfrm>
          <a:prstGeom prst="rect">
            <a:avLst/>
          </a:prstGeom>
        </p:spPr>
        <p:txBody>
          <a:bodyPr vert="horz" lIns="34267" tIns="17132" rIns="34267" bIns="17132"/>
          <a:lstStyle>
            <a:lvl1pPr>
              <a:defRPr sz="1250" baseline="0">
                <a:solidFill>
                  <a:schemeClr val="tx1"/>
                </a:solidFill>
                <a:latin typeface="+mn-lt"/>
              </a:defRPr>
            </a:lvl1pPr>
          </a:lstStyle>
          <a:p>
            <a:r>
              <a:rPr lang="en-US" noProof="0" dirty="0"/>
              <a:t>Click here to insert an image</a:t>
            </a:r>
          </a:p>
        </p:txBody>
      </p:sp>
      <p:sp>
        <p:nvSpPr>
          <p:cNvPr id="20" name="Marcador de texto 6"/>
          <p:cNvSpPr>
            <a:spLocks noGrp="1"/>
          </p:cNvSpPr>
          <p:nvPr>
            <p:ph type="body" sz="quarter" idx="34" hasCustomPrompt="1"/>
          </p:nvPr>
        </p:nvSpPr>
        <p:spPr>
          <a:xfrm>
            <a:off x="336109" y="476672"/>
            <a:ext cx="8783832" cy="432048"/>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cs typeface="Karla"/>
              </a:defRPr>
            </a:lvl1pPr>
          </a:lstStyle>
          <a:p>
            <a:pPr lvl="0"/>
            <a:r>
              <a:rPr lang="en-US" noProof="0" dirty="0"/>
              <a:t>Headline (Karla 50)</a:t>
            </a:r>
          </a:p>
        </p:txBody>
      </p:sp>
      <p:sp>
        <p:nvSpPr>
          <p:cNvPr id="10" name="Marcador de texto 2">
            <a:extLst>
              <a:ext uri="{FF2B5EF4-FFF2-40B4-BE49-F238E27FC236}">
                <a16:creationId xmlns:a16="http://schemas.microsoft.com/office/drawing/2014/main" id="{CF695713-D994-4AC4-8233-431774390435}"/>
              </a:ext>
            </a:extLst>
          </p:cNvPr>
          <p:cNvSpPr>
            <a:spLocks noGrp="1"/>
          </p:cNvSpPr>
          <p:nvPr>
            <p:ph type="body" sz="quarter" idx="37" hasCustomPrompt="1"/>
          </p:nvPr>
        </p:nvSpPr>
        <p:spPr>
          <a:xfrm>
            <a:off x="336111" y="1448780"/>
            <a:ext cx="5581685" cy="4786884"/>
          </a:xfrm>
          <a:prstGeom prst="rect">
            <a:avLst/>
          </a:prstGeom>
        </p:spPr>
        <p:txBody>
          <a:bodyPr lIns="34267" tIns="17132" rIns="34267" bIns="17132"/>
          <a:lstStyle>
            <a:lvl1pPr marL="171297" indent="-171297">
              <a:buClr>
                <a:schemeClr val="tx1"/>
              </a:buClr>
              <a:buFont typeface="Arial" panose="020B0604020202020204" pitchFamily="34" charset="0"/>
              <a:buChar char="•"/>
              <a:defRPr sz="1800" baseline="0">
                <a:solidFill>
                  <a:schemeClr val="tx1"/>
                </a:solidFill>
                <a:latin typeface="+mn-lt"/>
                <a:cs typeface="Noto Sans Regular"/>
              </a:defRPr>
            </a:lvl1pPr>
            <a:lvl2pPr>
              <a:buClr>
                <a:schemeClr val="tx2"/>
              </a:buClr>
              <a:defRPr sz="1800">
                <a:solidFill>
                  <a:schemeClr val="tx2"/>
                </a:solidFill>
                <a:latin typeface="+mn-lt"/>
                <a:cs typeface="Noto Sans Regular"/>
              </a:defRPr>
            </a:lvl2pPr>
            <a:lvl3pPr marL="1189569" marR="0" indent="-237913" algn="l" defTabSz="457109" rtl="0" eaLnBrk="1" fontAlgn="base" latinLnBrk="0" hangingPunct="1">
              <a:lnSpc>
                <a:spcPct val="100000"/>
              </a:lnSpc>
              <a:spcBef>
                <a:spcPct val="20000"/>
              </a:spcBef>
              <a:spcAft>
                <a:spcPct val="0"/>
              </a:spcAft>
              <a:buClrTx/>
              <a:buSzTx/>
              <a:buFontTx/>
              <a:buChar char="•"/>
              <a:tabLst/>
              <a:defRPr sz="1800">
                <a:solidFill>
                  <a:schemeClr val="tx1"/>
                </a:solidFill>
                <a:latin typeface="+mn-lt"/>
                <a:cs typeface="Noto Sans"/>
              </a:defRPr>
            </a:lvl3pPr>
            <a:lvl4pPr>
              <a:defRPr>
                <a:latin typeface="+mn-lt"/>
              </a:defRPr>
            </a:lvl4pPr>
            <a:lvl5pPr>
              <a:defRPr>
                <a:latin typeface="+mn-lt"/>
              </a:defRPr>
            </a:lvl5pPr>
          </a:lstStyle>
          <a:p>
            <a:pPr lvl="0"/>
            <a:r>
              <a:rPr lang="en-US" noProof="0" dirty="0"/>
              <a:t>Body text (Noto Sans 36)</a:t>
            </a:r>
          </a:p>
          <a:p>
            <a:pPr lvl="1"/>
            <a:r>
              <a:rPr lang="en-US" noProof="0" dirty="0"/>
              <a:t>Sub bullet</a:t>
            </a:r>
          </a:p>
          <a:p>
            <a:pPr lvl="2"/>
            <a:r>
              <a:rPr lang="en-US" noProof="0" dirty="0"/>
              <a:t>Extra bullet</a:t>
            </a:r>
          </a:p>
          <a:p>
            <a:pPr marL="1665396" marR="0" lvl="3" indent="-237913" algn="l" defTabSz="457109" rtl="0" eaLnBrk="1" fontAlgn="base" latinLnBrk="0" hangingPunct="1">
              <a:lnSpc>
                <a:spcPct val="100000"/>
              </a:lnSpc>
              <a:spcBef>
                <a:spcPct val="20000"/>
              </a:spcBef>
              <a:spcAft>
                <a:spcPct val="0"/>
              </a:spcAft>
              <a:buClrTx/>
              <a:buSzTx/>
              <a:buFontTx/>
              <a:buChar char="•"/>
              <a:tabLst/>
              <a:defRPr/>
            </a:pPr>
            <a:r>
              <a:rPr lang="en-US" noProof="0" dirty="0"/>
              <a:t>Extra bullet</a:t>
            </a:r>
          </a:p>
          <a:p>
            <a:pPr lvl="2"/>
            <a:endParaRPr lang="en-US" noProof="0" dirty="0"/>
          </a:p>
          <a:p>
            <a:pPr lvl="1"/>
            <a:endParaRPr lang="en-US" noProof="0" dirty="0"/>
          </a:p>
        </p:txBody>
      </p:sp>
    </p:spTree>
    <p:extLst>
      <p:ext uri="{BB962C8B-B14F-4D97-AF65-F5344CB8AC3E}">
        <p14:creationId xmlns:p14="http://schemas.microsoft.com/office/powerpoint/2010/main" val="17611520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image" Target="../media/image3.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0.xml"/><Relationship Id="rId13" Type="http://schemas.openxmlformats.org/officeDocument/2006/relationships/oleObject" Target="../embeddings/oleObject10.bin"/><Relationship Id="rId3" Type="http://schemas.openxmlformats.org/officeDocument/2006/relationships/slideLayout" Target="../slideLayouts/slideLayout75.xml"/><Relationship Id="rId7" Type="http://schemas.openxmlformats.org/officeDocument/2006/relationships/slideLayout" Target="../slideLayouts/slideLayout79.xml"/><Relationship Id="rId12" Type="http://schemas.openxmlformats.org/officeDocument/2006/relationships/tags" Target="../tags/tag67.xml"/><Relationship Id="rId2" Type="http://schemas.openxmlformats.org/officeDocument/2006/relationships/slideLayout" Target="../slideLayouts/slideLayout74.xml"/><Relationship Id="rId16" Type="http://schemas.openxmlformats.org/officeDocument/2006/relationships/image" Target="../media/image3.jpeg"/><Relationship Id="rId1" Type="http://schemas.openxmlformats.org/officeDocument/2006/relationships/slideLayout" Target="../slideLayouts/slideLayout73.xml"/><Relationship Id="rId6" Type="http://schemas.openxmlformats.org/officeDocument/2006/relationships/slideLayout" Target="../slideLayouts/slideLayout78.xml"/><Relationship Id="rId11" Type="http://schemas.openxmlformats.org/officeDocument/2006/relationships/tags" Target="../tags/tag66.xml"/><Relationship Id="rId5" Type="http://schemas.openxmlformats.org/officeDocument/2006/relationships/slideLayout" Target="../slideLayouts/slideLayout77.xml"/><Relationship Id="rId15" Type="http://schemas.openxmlformats.org/officeDocument/2006/relationships/image" Target="../media/image2.jpeg"/><Relationship Id="rId10" Type="http://schemas.openxmlformats.org/officeDocument/2006/relationships/tags" Target="../tags/tag65.xml"/><Relationship Id="rId4" Type="http://schemas.openxmlformats.org/officeDocument/2006/relationships/slideLayout" Target="../slideLayouts/slideLayout76.xml"/><Relationship Id="rId9" Type="http://schemas.openxmlformats.org/officeDocument/2006/relationships/theme" Target="../theme/theme10.xml"/><Relationship Id="rId14"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13" Type="http://schemas.openxmlformats.org/officeDocument/2006/relationships/slideLayout" Target="../slideLayouts/slideLayout93.xml"/><Relationship Id="rId18" Type="http://schemas.openxmlformats.org/officeDocument/2006/relationships/slideLayout" Target="../slideLayouts/slideLayout98.xml"/><Relationship Id="rId26" Type="http://schemas.openxmlformats.org/officeDocument/2006/relationships/slideLayout" Target="../slideLayouts/slideLayout106.xml"/><Relationship Id="rId39" Type="http://schemas.openxmlformats.org/officeDocument/2006/relationships/oleObject" Target="../embeddings/oleObject11.bin"/><Relationship Id="rId21" Type="http://schemas.openxmlformats.org/officeDocument/2006/relationships/slideLayout" Target="../slideLayouts/slideLayout101.xml"/><Relationship Id="rId34" Type="http://schemas.openxmlformats.org/officeDocument/2006/relationships/slideLayout" Target="../slideLayouts/slideLayout114.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slideLayout" Target="../slideLayouts/slideLayout105.xml"/><Relationship Id="rId33" Type="http://schemas.openxmlformats.org/officeDocument/2006/relationships/slideLayout" Target="../slideLayouts/slideLayout113.xml"/><Relationship Id="rId38" Type="http://schemas.openxmlformats.org/officeDocument/2006/relationships/tags" Target="../tags/tag72.xml"/><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slideLayout" Target="../slideLayouts/slideLayout100.xml"/><Relationship Id="rId29" Type="http://schemas.openxmlformats.org/officeDocument/2006/relationships/slideLayout" Target="../slideLayouts/slideLayout109.x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slideLayout" Target="../slideLayouts/slideLayout104.xml"/><Relationship Id="rId32" Type="http://schemas.openxmlformats.org/officeDocument/2006/relationships/slideLayout" Target="../slideLayouts/slideLayout112.xml"/><Relationship Id="rId37" Type="http://schemas.openxmlformats.org/officeDocument/2006/relationships/theme" Target="../theme/theme11.xml"/><Relationship Id="rId40" Type="http://schemas.openxmlformats.org/officeDocument/2006/relationships/image" Target="../media/image7.emf"/><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slideLayout" Target="../slideLayouts/slideLayout103.xml"/><Relationship Id="rId28" Type="http://schemas.openxmlformats.org/officeDocument/2006/relationships/slideLayout" Target="../slideLayouts/slideLayout108.xml"/><Relationship Id="rId36" Type="http://schemas.openxmlformats.org/officeDocument/2006/relationships/slideLayout" Target="../slideLayouts/slideLayout116.xml"/><Relationship Id="rId10" Type="http://schemas.openxmlformats.org/officeDocument/2006/relationships/slideLayout" Target="../slideLayouts/slideLayout90.xml"/><Relationship Id="rId19" Type="http://schemas.openxmlformats.org/officeDocument/2006/relationships/slideLayout" Target="../slideLayouts/slideLayout99.xml"/><Relationship Id="rId31" Type="http://schemas.openxmlformats.org/officeDocument/2006/relationships/slideLayout" Target="../slideLayouts/slideLayout111.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slideLayout" Target="../slideLayouts/slideLayout102.xml"/><Relationship Id="rId27" Type="http://schemas.openxmlformats.org/officeDocument/2006/relationships/slideLayout" Target="../slideLayouts/slideLayout107.xml"/><Relationship Id="rId30" Type="http://schemas.openxmlformats.org/officeDocument/2006/relationships/slideLayout" Target="../slideLayouts/slideLayout110.xml"/><Relationship Id="rId35" Type="http://schemas.openxmlformats.org/officeDocument/2006/relationships/slideLayout" Target="../slideLayouts/slideLayout115.xml"/><Relationship Id="rId8" Type="http://schemas.openxmlformats.org/officeDocument/2006/relationships/slideLayout" Target="../slideLayouts/slideLayout88.xml"/><Relationship Id="rId3" Type="http://schemas.openxmlformats.org/officeDocument/2006/relationships/slideLayout" Target="../slideLayouts/slideLayout83.xml"/></Relationships>
</file>

<file path=ppt/slideMasters/_rels/slideMaster12.xml.rels><?xml version="1.0" encoding="UTF-8" standalone="yes"?>
<Relationships xmlns="http://schemas.openxmlformats.org/package/2006/relationships"><Relationship Id="rId13" Type="http://schemas.openxmlformats.org/officeDocument/2006/relationships/slideLayout" Target="../slideLayouts/slideLayout129.xml"/><Relationship Id="rId18" Type="http://schemas.openxmlformats.org/officeDocument/2006/relationships/slideLayout" Target="../slideLayouts/slideLayout134.xml"/><Relationship Id="rId26" Type="http://schemas.openxmlformats.org/officeDocument/2006/relationships/slideLayout" Target="../slideLayouts/slideLayout142.xml"/><Relationship Id="rId39" Type="http://schemas.openxmlformats.org/officeDocument/2006/relationships/image" Target="../media/image24.emf"/><Relationship Id="rId21" Type="http://schemas.openxmlformats.org/officeDocument/2006/relationships/slideLayout" Target="../slideLayouts/slideLayout137.xml"/><Relationship Id="rId34" Type="http://schemas.openxmlformats.org/officeDocument/2006/relationships/slideLayout" Target="../slideLayouts/slideLayout150.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5" Type="http://schemas.openxmlformats.org/officeDocument/2006/relationships/slideLayout" Target="../slideLayouts/slideLayout141.xml"/><Relationship Id="rId33" Type="http://schemas.openxmlformats.org/officeDocument/2006/relationships/slideLayout" Target="../slideLayouts/slideLayout149.xml"/><Relationship Id="rId38" Type="http://schemas.openxmlformats.org/officeDocument/2006/relationships/oleObject" Target="../embeddings/oleObject12.bin"/><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slideLayout" Target="../slideLayouts/slideLayout136.xml"/><Relationship Id="rId29" Type="http://schemas.openxmlformats.org/officeDocument/2006/relationships/slideLayout" Target="../slideLayouts/slideLayout145.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slideLayout" Target="../slideLayouts/slideLayout140.xml"/><Relationship Id="rId32" Type="http://schemas.openxmlformats.org/officeDocument/2006/relationships/slideLayout" Target="../slideLayouts/slideLayout148.xml"/><Relationship Id="rId37" Type="http://schemas.openxmlformats.org/officeDocument/2006/relationships/tags" Target="../tags/tag73.xml"/><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slideLayout" Target="../slideLayouts/slideLayout139.xml"/><Relationship Id="rId28" Type="http://schemas.openxmlformats.org/officeDocument/2006/relationships/slideLayout" Target="../slideLayouts/slideLayout144.xml"/><Relationship Id="rId36" Type="http://schemas.openxmlformats.org/officeDocument/2006/relationships/theme" Target="../theme/theme12.xml"/><Relationship Id="rId10" Type="http://schemas.openxmlformats.org/officeDocument/2006/relationships/slideLayout" Target="../slideLayouts/slideLayout126.xml"/><Relationship Id="rId19" Type="http://schemas.openxmlformats.org/officeDocument/2006/relationships/slideLayout" Target="../slideLayouts/slideLayout135.xml"/><Relationship Id="rId31" Type="http://schemas.openxmlformats.org/officeDocument/2006/relationships/slideLayout" Target="../slideLayouts/slideLayout147.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slideLayout" Target="../slideLayouts/slideLayout138.xml"/><Relationship Id="rId27" Type="http://schemas.openxmlformats.org/officeDocument/2006/relationships/slideLayout" Target="../slideLayouts/slideLayout143.xml"/><Relationship Id="rId30" Type="http://schemas.openxmlformats.org/officeDocument/2006/relationships/slideLayout" Target="../slideLayouts/slideLayout146.xml"/><Relationship Id="rId35" Type="http://schemas.openxmlformats.org/officeDocument/2006/relationships/slideLayout" Target="../slideLayouts/slideLayout151.xml"/><Relationship Id="rId8" Type="http://schemas.openxmlformats.org/officeDocument/2006/relationships/slideLayout" Target="../slideLayouts/slideLayout124.xml"/><Relationship Id="rId3" Type="http://schemas.openxmlformats.org/officeDocument/2006/relationships/slideLayout" Target="../slideLayouts/slideLayout119.xml"/></Relationships>
</file>

<file path=ppt/slideMasters/_rels/slideMaster13.xml.rels><?xml version="1.0" encoding="UTF-8" standalone="yes"?>
<Relationships xmlns="http://schemas.openxmlformats.org/package/2006/relationships"><Relationship Id="rId13" Type="http://schemas.openxmlformats.org/officeDocument/2006/relationships/slideLayout" Target="../slideLayouts/slideLayout164.xml"/><Relationship Id="rId18" Type="http://schemas.openxmlformats.org/officeDocument/2006/relationships/slideLayout" Target="../slideLayouts/slideLayout169.xml"/><Relationship Id="rId26" Type="http://schemas.openxmlformats.org/officeDocument/2006/relationships/slideLayout" Target="../slideLayouts/slideLayout177.xml"/><Relationship Id="rId39" Type="http://schemas.openxmlformats.org/officeDocument/2006/relationships/oleObject" Target="../embeddings/oleObject13.bin"/><Relationship Id="rId21" Type="http://schemas.openxmlformats.org/officeDocument/2006/relationships/slideLayout" Target="../slideLayouts/slideLayout172.xml"/><Relationship Id="rId34" Type="http://schemas.openxmlformats.org/officeDocument/2006/relationships/slideLayout" Target="../slideLayouts/slideLayout185.xml"/><Relationship Id="rId7" Type="http://schemas.openxmlformats.org/officeDocument/2006/relationships/slideLayout" Target="../slideLayouts/slideLayout158.xml"/><Relationship Id="rId12" Type="http://schemas.openxmlformats.org/officeDocument/2006/relationships/slideLayout" Target="../slideLayouts/slideLayout163.xml"/><Relationship Id="rId17" Type="http://schemas.openxmlformats.org/officeDocument/2006/relationships/slideLayout" Target="../slideLayouts/slideLayout168.xml"/><Relationship Id="rId25" Type="http://schemas.openxmlformats.org/officeDocument/2006/relationships/slideLayout" Target="../slideLayouts/slideLayout176.xml"/><Relationship Id="rId33" Type="http://schemas.openxmlformats.org/officeDocument/2006/relationships/slideLayout" Target="../slideLayouts/slideLayout184.xml"/><Relationship Id="rId38" Type="http://schemas.openxmlformats.org/officeDocument/2006/relationships/tags" Target="../tags/tag74.xml"/><Relationship Id="rId2" Type="http://schemas.openxmlformats.org/officeDocument/2006/relationships/slideLayout" Target="../slideLayouts/slideLayout153.xml"/><Relationship Id="rId16" Type="http://schemas.openxmlformats.org/officeDocument/2006/relationships/slideLayout" Target="../slideLayouts/slideLayout167.xml"/><Relationship Id="rId20" Type="http://schemas.openxmlformats.org/officeDocument/2006/relationships/slideLayout" Target="../slideLayouts/slideLayout171.xml"/><Relationship Id="rId29" Type="http://schemas.openxmlformats.org/officeDocument/2006/relationships/slideLayout" Target="../slideLayouts/slideLayout180.xml"/><Relationship Id="rId1" Type="http://schemas.openxmlformats.org/officeDocument/2006/relationships/slideLayout" Target="../slideLayouts/slideLayout152.xml"/><Relationship Id="rId6" Type="http://schemas.openxmlformats.org/officeDocument/2006/relationships/slideLayout" Target="../slideLayouts/slideLayout157.xml"/><Relationship Id="rId11" Type="http://schemas.openxmlformats.org/officeDocument/2006/relationships/slideLayout" Target="../slideLayouts/slideLayout162.xml"/><Relationship Id="rId24" Type="http://schemas.openxmlformats.org/officeDocument/2006/relationships/slideLayout" Target="../slideLayouts/slideLayout175.xml"/><Relationship Id="rId32" Type="http://schemas.openxmlformats.org/officeDocument/2006/relationships/slideLayout" Target="../slideLayouts/slideLayout183.xml"/><Relationship Id="rId37" Type="http://schemas.openxmlformats.org/officeDocument/2006/relationships/theme" Target="../theme/theme13.xml"/><Relationship Id="rId40" Type="http://schemas.openxmlformats.org/officeDocument/2006/relationships/image" Target="../media/image24.emf"/><Relationship Id="rId5" Type="http://schemas.openxmlformats.org/officeDocument/2006/relationships/slideLayout" Target="../slideLayouts/slideLayout156.xml"/><Relationship Id="rId15" Type="http://schemas.openxmlformats.org/officeDocument/2006/relationships/slideLayout" Target="../slideLayouts/slideLayout166.xml"/><Relationship Id="rId23" Type="http://schemas.openxmlformats.org/officeDocument/2006/relationships/slideLayout" Target="../slideLayouts/slideLayout174.xml"/><Relationship Id="rId28" Type="http://schemas.openxmlformats.org/officeDocument/2006/relationships/slideLayout" Target="../slideLayouts/slideLayout179.xml"/><Relationship Id="rId36" Type="http://schemas.openxmlformats.org/officeDocument/2006/relationships/slideLayout" Target="../slideLayouts/slideLayout187.xml"/><Relationship Id="rId10" Type="http://schemas.openxmlformats.org/officeDocument/2006/relationships/slideLayout" Target="../slideLayouts/slideLayout161.xml"/><Relationship Id="rId19" Type="http://schemas.openxmlformats.org/officeDocument/2006/relationships/slideLayout" Target="../slideLayouts/slideLayout170.xml"/><Relationship Id="rId31" Type="http://schemas.openxmlformats.org/officeDocument/2006/relationships/slideLayout" Target="../slideLayouts/slideLayout182.xml"/><Relationship Id="rId4" Type="http://schemas.openxmlformats.org/officeDocument/2006/relationships/slideLayout" Target="../slideLayouts/slideLayout155.xml"/><Relationship Id="rId9" Type="http://schemas.openxmlformats.org/officeDocument/2006/relationships/slideLayout" Target="../slideLayouts/slideLayout160.xml"/><Relationship Id="rId14" Type="http://schemas.openxmlformats.org/officeDocument/2006/relationships/slideLayout" Target="../slideLayouts/slideLayout165.xml"/><Relationship Id="rId22" Type="http://schemas.openxmlformats.org/officeDocument/2006/relationships/slideLayout" Target="../slideLayouts/slideLayout173.xml"/><Relationship Id="rId27" Type="http://schemas.openxmlformats.org/officeDocument/2006/relationships/slideLayout" Target="../slideLayouts/slideLayout178.xml"/><Relationship Id="rId30" Type="http://schemas.openxmlformats.org/officeDocument/2006/relationships/slideLayout" Target="../slideLayouts/slideLayout181.xml"/><Relationship Id="rId35" Type="http://schemas.openxmlformats.org/officeDocument/2006/relationships/slideLayout" Target="../slideLayouts/slideLayout186.xml"/><Relationship Id="rId8" Type="http://schemas.openxmlformats.org/officeDocument/2006/relationships/slideLayout" Target="../slideLayouts/slideLayout159.xml"/><Relationship Id="rId3" Type="http://schemas.openxmlformats.org/officeDocument/2006/relationships/slideLayout" Target="../slideLayouts/slideLayout15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oleObject" Target="../embeddings/oleObject2.bin"/><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tags" Target="../tags/tag11.xml"/><Relationship Id="rId2" Type="http://schemas.openxmlformats.org/officeDocument/2006/relationships/slideLayout" Target="../slideLayouts/slideLayout10.xml"/><Relationship Id="rId16" Type="http://schemas.openxmlformats.org/officeDocument/2006/relationships/image" Target="../media/image3.jpeg"/><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tags" Target="../tags/tag10.xml"/><Relationship Id="rId5" Type="http://schemas.openxmlformats.org/officeDocument/2006/relationships/slideLayout" Target="../slideLayouts/slideLayout13.xml"/><Relationship Id="rId15" Type="http://schemas.openxmlformats.org/officeDocument/2006/relationships/image" Target="../media/image2.jpeg"/><Relationship Id="rId10" Type="http://schemas.openxmlformats.org/officeDocument/2006/relationships/tags" Target="../tags/tag9.xml"/><Relationship Id="rId4" Type="http://schemas.openxmlformats.org/officeDocument/2006/relationships/slideLayout" Target="../slideLayouts/slideLayout12.xml"/><Relationship Id="rId9" Type="http://schemas.openxmlformats.org/officeDocument/2006/relationships/theme" Target="../theme/theme2.xml"/><Relationship Id="rId1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oleObject" Target="../embeddings/oleObject3.bin"/><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tags" Target="../tags/tag18.xml"/><Relationship Id="rId2" Type="http://schemas.openxmlformats.org/officeDocument/2006/relationships/slideLayout" Target="../slideLayouts/slideLayout18.xml"/><Relationship Id="rId16" Type="http://schemas.openxmlformats.org/officeDocument/2006/relationships/image" Target="../media/image3.jpe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ags" Target="../tags/tag17.xml"/><Relationship Id="rId5" Type="http://schemas.openxmlformats.org/officeDocument/2006/relationships/slideLayout" Target="../slideLayouts/slideLayout21.xml"/><Relationship Id="rId15" Type="http://schemas.openxmlformats.org/officeDocument/2006/relationships/image" Target="../media/image2.jpeg"/><Relationship Id="rId10" Type="http://schemas.openxmlformats.org/officeDocument/2006/relationships/tags" Target="../tags/tag16.xml"/><Relationship Id="rId4" Type="http://schemas.openxmlformats.org/officeDocument/2006/relationships/slideLayout" Target="../slideLayouts/slideLayout20.xml"/><Relationship Id="rId9" Type="http://schemas.openxmlformats.org/officeDocument/2006/relationships/theme" Target="../theme/theme3.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oleObject" Target="../embeddings/oleObject4.bin"/><Relationship Id="rId3" Type="http://schemas.openxmlformats.org/officeDocument/2006/relationships/slideLayout" Target="../slideLayouts/slideLayout27.xml"/><Relationship Id="rId7" Type="http://schemas.openxmlformats.org/officeDocument/2006/relationships/slideLayout" Target="../slideLayouts/slideLayout31.xml"/><Relationship Id="rId12" Type="http://schemas.openxmlformats.org/officeDocument/2006/relationships/tags" Target="../tags/tag25.xml"/><Relationship Id="rId2" Type="http://schemas.openxmlformats.org/officeDocument/2006/relationships/slideLayout" Target="../slideLayouts/slideLayout26.xml"/><Relationship Id="rId16" Type="http://schemas.openxmlformats.org/officeDocument/2006/relationships/image" Target="../media/image3.jpeg"/><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tags" Target="../tags/tag24.xml"/><Relationship Id="rId5" Type="http://schemas.openxmlformats.org/officeDocument/2006/relationships/slideLayout" Target="../slideLayouts/slideLayout29.xml"/><Relationship Id="rId15" Type="http://schemas.openxmlformats.org/officeDocument/2006/relationships/image" Target="../media/image2.jpeg"/><Relationship Id="rId10" Type="http://schemas.openxmlformats.org/officeDocument/2006/relationships/tags" Target="../tags/tag23.xml"/><Relationship Id="rId4" Type="http://schemas.openxmlformats.org/officeDocument/2006/relationships/slideLayout" Target="../slideLayouts/slideLayout28.xml"/><Relationship Id="rId9" Type="http://schemas.openxmlformats.org/officeDocument/2006/relationships/theme" Target="../theme/theme4.xml"/><Relationship Id="rId1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oleObject" Target="../embeddings/oleObject5.bin"/><Relationship Id="rId3" Type="http://schemas.openxmlformats.org/officeDocument/2006/relationships/slideLayout" Target="../slideLayouts/slideLayout35.xml"/><Relationship Id="rId7" Type="http://schemas.openxmlformats.org/officeDocument/2006/relationships/slideLayout" Target="../slideLayouts/slideLayout39.xml"/><Relationship Id="rId12" Type="http://schemas.openxmlformats.org/officeDocument/2006/relationships/tags" Target="../tags/tag32.xml"/><Relationship Id="rId2" Type="http://schemas.openxmlformats.org/officeDocument/2006/relationships/slideLayout" Target="../slideLayouts/slideLayout34.xml"/><Relationship Id="rId16" Type="http://schemas.openxmlformats.org/officeDocument/2006/relationships/image" Target="../media/image3.jpeg"/><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tags" Target="../tags/tag31.xml"/><Relationship Id="rId5" Type="http://schemas.openxmlformats.org/officeDocument/2006/relationships/slideLayout" Target="../slideLayouts/slideLayout37.xml"/><Relationship Id="rId15" Type="http://schemas.openxmlformats.org/officeDocument/2006/relationships/image" Target="../media/image2.jpeg"/><Relationship Id="rId10" Type="http://schemas.openxmlformats.org/officeDocument/2006/relationships/tags" Target="../tags/tag30.xml"/><Relationship Id="rId4" Type="http://schemas.openxmlformats.org/officeDocument/2006/relationships/slideLayout" Target="../slideLayouts/slideLayout36.xml"/><Relationship Id="rId9" Type="http://schemas.openxmlformats.org/officeDocument/2006/relationships/theme" Target="../theme/theme5.xml"/><Relationship Id="rId14"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oleObject" Target="../embeddings/oleObject6.bin"/><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ags" Target="../tags/tag39.xml"/><Relationship Id="rId2" Type="http://schemas.openxmlformats.org/officeDocument/2006/relationships/slideLayout" Target="../slideLayouts/slideLayout42.xml"/><Relationship Id="rId16" Type="http://schemas.openxmlformats.org/officeDocument/2006/relationships/image" Target="../media/image3.jpeg"/><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tags" Target="../tags/tag38.xml"/><Relationship Id="rId5" Type="http://schemas.openxmlformats.org/officeDocument/2006/relationships/slideLayout" Target="../slideLayouts/slideLayout45.xml"/><Relationship Id="rId15" Type="http://schemas.openxmlformats.org/officeDocument/2006/relationships/image" Target="../media/image2.jpeg"/><Relationship Id="rId10" Type="http://schemas.openxmlformats.org/officeDocument/2006/relationships/tags" Target="../tags/tag37.xml"/><Relationship Id="rId4" Type="http://schemas.openxmlformats.org/officeDocument/2006/relationships/slideLayout" Target="../slideLayouts/slideLayout44.xml"/><Relationship Id="rId9" Type="http://schemas.openxmlformats.org/officeDocument/2006/relationships/theme" Target="../theme/theme6.xml"/><Relationship Id="rId14"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oleObject" Target="../embeddings/oleObject7.bin"/><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ags" Target="../tags/tag46.xml"/><Relationship Id="rId2" Type="http://schemas.openxmlformats.org/officeDocument/2006/relationships/slideLayout" Target="../slideLayouts/slideLayout50.xml"/><Relationship Id="rId16" Type="http://schemas.openxmlformats.org/officeDocument/2006/relationships/image" Target="../media/image3.jpe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tags" Target="../tags/tag45.xml"/><Relationship Id="rId5" Type="http://schemas.openxmlformats.org/officeDocument/2006/relationships/slideLayout" Target="../slideLayouts/slideLayout53.xml"/><Relationship Id="rId15" Type="http://schemas.openxmlformats.org/officeDocument/2006/relationships/image" Target="../media/image2.jpeg"/><Relationship Id="rId10" Type="http://schemas.openxmlformats.org/officeDocument/2006/relationships/tags" Target="../tags/tag44.xml"/><Relationship Id="rId4" Type="http://schemas.openxmlformats.org/officeDocument/2006/relationships/slideLayout" Target="../slideLayouts/slideLayout52.xml"/><Relationship Id="rId9" Type="http://schemas.openxmlformats.org/officeDocument/2006/relationships/theme" Target="../theme/theme7.xml"/><Relationship Id="rId14" Type="http://schemas.openxmlformats.org/officeDocument/2006/relationships/image" Target="../media/image1.emf"/></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64.xml"/><Relationship Id="rId13" Type="http://schemas.openxmlformats.org/officeDocument/2006/relationships/oleObject" Target="../embeddings/oleObject8.bin"/><Relationship Id="rId3" Type="http://schemas.openxmlformats.org/officeDocument/2006/relationships/slideLayout" Target="../slideLayouts/slideLayout59.xml"/><Relationship Id="rId7" Type="http://schemas.openxmlformats.org/officeDocument/2006/relationships/slideLayout" Target="../slideLayouts/slideLayout63.xml"/><Relationship Id="rId12" Type="http://schemas.openxmlformats.org/officeDocument/2006/relationships/tags" Target="../tags/tag53.xml"/><Relationship Id="rId2" Type="http://schemas.openxmlformats.org/officeDocument/2006/relationships/slideLayout" Target="../slideLayouts/slideLayout58.xml"/><Relationship Id="rId16" Type="http://schemas.openxmlformats.org/officeDocument/2006/relationships/image" Target="../media/image3.jpeg"/><Relationship Id="rId1" Type="http://schemas.openxmlformats.org/officeDocument/2006/relationships/slideLayout" Target="../slideLayouts/slideLayout57.xml"/><Relationship Id="rId6" Type="http://schemas.openxmlformats.org/officeDocument/2006/relationships/slideLayout" Target="../slideLayouts/slideLayout62.xml"/><Relationship Id="rId11" Type="http://schemas.openxmlformats.org/officeDocument/2006/relationships/tags" Target="../tags/tag52.xml"/><Relationship Id="rId5" Type="http://schemas.openxmlformats.org/officeDocument/2006/relationships/slideLayout" Target="../slideLayouts/slideLayout61.xml"/><Relationship Id="rId15" Type="http://schemas.openxmlformats.org/officeDocument/2006/relationships/image" Target="../media/image2.jpeg"/><Relationship Id="rId10" Type="http://schemas.openxmlformats.org/officeDocument/2006/relationships/tags" Target="../tags/tag51.xml"/><Relationship Id="rId4" Type="http://schemas.openxmlformats.org/officeDocument/2006/relationships/slideLayout" Target="../slideLayouts/slideLayout60.xml"/><Relationship Id="rId9" Type="http://schemas.openxmlformats.org/officeDocument/2006/relationships/theme" Target="../theme/theme8.xml"/><Relationship Id="rId14"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oleObject" Target="../embeddings/oleObject9.bin"/><Relationship Id="rId3" Type="http://schemas.openxmlformats.org/officeDocument/2006/relationships/slideLayout" Target="../slideLayouts/slideLayout67.xml"/><Relationship Id="rId7" Type="http://schemas.openxmlformats.org/officeDocument/2006/relationships/slideLayout" Target="../slideLayouts/slideLayout71.xml"/><Relationship Id="rId12" Type="http://schemas.openxmlformats.org/officeDocument/2006/relationships/tags" Target="../tags/tag60.xml"/><Relationship Id="rId2" Type="http://schemas.openxmlformats.org/officeDocument/2006/relationships/slideLayout" Target="../slideLayouts/slideLayout66.xml"/><Relationship Id="rId16" Type="http://schemas.openxmlformats.org/officeDocument/2006/relationships/image" Target="../media/image3.jpeg"/><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tags" Target="../tags/tag59.xml"/><Relationship Id="rId5" Type="http://schemas.openxmlformats.org/officeDocument/2006/relationships/slideLayout" Target="../slideLayouts/slideLayout69.xml"/><Relationship Id="rId15" Type="http://schemas.openxmlformats.org/officeDocument/2006/relationships/image" Target="../media/image2.jpeg"/><Relationship Id="rId10" Type="http://schemas.openxmlformats.org/officeDocument/2006/relationships/tags" Target="../tags/tag58.xml"/><Relationship Id="rId4" Type="http://schemas.openxmlformats.org/officeDocument/2006/relationships/slideLayout" Target="../slideLayouts/slideLayout68.xml"/><Relationship Id="rId9" Type="http://schemas.openxmlformats.org/officeDocument/2006/relationships/theme" Target="../theme/theme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1178831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3" name="Object 2"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1"/>
            </p:custDataLst>
          </p:nvPr>
        </p:nvSpPr>
        <p:spPr bwMode="auto">
          <a:xfrm>
            <a:off x="0" y="0"/>
            <a:ext cx="158750" cy="158750"/>
          </a:xfrm>
          <a:prstGeom prst="rect">
            <a:avLst/>
          </a:prstGeom>
          <a:noFill/>
          <a:ln w="952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a:ea typeface="+mj-ea"/>
              <a:cs typeface="Arial" pitchFamily="34" charset="0"/>
              <a:sym typeface="Arial"/>
            </a:endParaRPr>
          </a:p>
        </p:txBody>
      </p:sp>
      <p:sp>
        <p:nvSpPr>
          <p:cNvPr id="4099" name="Rectangle 3"/>
          <p:cNvSpPr>
            <a:spLocks noGrp="1" noChangeArrowheads="1"/>
          </p:cNvSpPr>
          <p:nvPr>
            <p:ph type="body" idx="1"/>
          </p:nvPr>
        </p:nvSpPr>
        <p:spPr bwMode="auto">
          <a:xfrm>
            <a:off x="508000" y="1341439"/>
            <a:ext cx="11176000" cy="4575268"/>
          </a:xfrm>
          <a:prstGeom prst="rect">
            <a:avLst/>
          </a:prstGeom>
          <a:noFill/>
          <a:ln w="9525" algn="ctr">
            <a:noFill/>
            <a:miter lim="800000"/>
            <a:headEnd/>
            <a:tailEnd/>
          </a:ln>
        </p:spPr>
        <p:txBody>
          <a:bodyPr vert="horz" wrap="square" lIns="91440" tIns="41029" rIns="91440" bIns="4102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1" name="Rectangle 7"/>
          <p:cNvSpPr>
            <a:spLocks noChangeArrowheads="1"/>
          </p:cNvSpPr>
          <p:nvPr/>
        </p:nvSpPr>
        <p:spPr bwMode="white">
          <a:xfrm flipV="1">
            <a:off x="0" y="6177243"/>
            <a:ext cx="12192000" cy="684960"/>
          </a:xfrm>
          <a:prstGeom prst="rect">
            <a:avLst/>
          </a:prstGeom>
          <a:solidFill>
            <a:srgbClr val="FFFFFF"/>
          </a:solidFill>
          <a:ln w="19050">
            <a:noFill/>
            <a:miter lim="800000"/>
            <a:headEnd/>
            <a:tailEnd/>
          </a:ln>
          <a:effectLst/>
        </p:spPr>
        <p:txBody>
          <a:bodyPr wrap="none" lIns="82058" tIns="41029" rIns="82058" bIns="41029" anchor="ctr"/>
          <a:lstStyle/>
          <a:p>
            <a:pPr algn="ctr" fontAlgn="base">
              <a:spcBef>
                <a:spcPct val="0"/>
              </a:spcBef>
              <a:spcAft>
                <a:spcPct val="0"/>
              </a:spcAft>
              <a:defRPr/>
            </a:pPr>
            <a:endParaRPr lang="en-US" sz="1300">
              <a:solidFill>
                <a:srgbClr val="000000"/>
              </a:solidFill>
              <a:cs typeface="Arial" charset="0"/>
            </a:endParaRPr>
          </a:p>
        </p:txBody>
      </p:sp>
      <p:sp>
        <p:nvSpPr>
          <p:cNvPr id="4103" name="Rectangle 145"/>
          <p:cNvSpPr>
            <a:spLocks noGrp="1" noChangeArrowheads="1"/>
          </p:cNvSpPr>
          <p:nvPr>
            <p:ph type="title"/>
          </p:nvPr>
        </p:nvSpPr>
        <p:spPr bwMode="auto">
          <a:xfrm>
            <a:off x="508000" y="337075"/>
            <a:ext cx="11047307" cy="470647"/>
          </a:xfrm>
          <a:prstGeom prst="rect">
            <a:avLst/>
          </a:prstGeom>
          <a:noFill/>
          <a:ln w="9525">
            <a:noFill/>
            <a:miter lim="800000"/>
            <a:headEnd/>
            <a:tailEnd/>
          </a:ln>
        </p:spPr>
        <p:txBody>
          <a:bodyPr vert="horz" wrap="square" lIns="91440" tIns="45714" rIns="91440" bIns="45714" numCol="1" anchor="b" anchorCtr="0" compatLnSpc="1">
            <a:prstTxWarp prst="textNoShape">
              <a:avLst/>
            </a:prstTxWarp>
          </a:bodyPr>
          <a:lstStyle/>
          <a:p>
            <a:pPr lvl="0"/>
            <a:r>
              <a:rPr lang="en-US" dirty="0"/>
              <a:t>Click to edit Master title style</a:t>
            </a:r>
          </a:p>
        </p:txBody>
      </p:sp>
      <p:sp>
        <p:nvSpPr>
          <p:cNvPr id="14" name="plhSlideNumber"/>
          <p:cNvSpPr>
            <a:spLocks noGrp="1"/>
          </p:cNvSpPr>
          <p:nvPr>
            <p:ph type="sldNum" sz="quarter" idx="4"/>
          </p:nvPr>
        </p:nvSpPr>
        <p:spPr>
          <a:xfrm>
            <a:off x="8785014" y="6339114"/>
            <a:ext cx="2844031" cy="365592"/>
          </a:xfrm>
          <a:prstGeom prst="rect">
            <a:avLst/>
          </a:prstGeom>
        </p:spPr>
        <p:txBody>
          <a:bodyPr lIns="82058" tIns="41029" rIns="82058" bIns="41029"/>
          <a:lstStyle>
            <a:lvl1pPr algn="r">
              <a:defRPr sz="900">
                <a:solidFill>
                  <a:srgbClr val="4B4B4B"/>
                </a:solidFill>
                <a:latin typeface="+mn-lt"/>
              </a:defRPr>
            </a:lvl1pPr>
          </a:lstStyle>
          <a:p>
            <a:pPr fontAlgn="base">
              <a:spcBef>
                <a:spcPct val="0"/>
              </a:spcBef>
              <a:spcAft>
                <a:spcPct val="0"/>
              </a:spcAft>
            </a:pPr>
            <a:fld id="{E189E361-82B6-4274-A833-6E3626364A67}" type="slidenum">
              <a:rPr lang="en-US" smtClean="0">
                <a:cs typeface="Arial" charset="0"/>
              </a:rPr>
              <a:pPr fontAlgn="base">
                <a:spcBef>
                  <a:spcPct val="0"/>
                </a:spcBef>
                <a:spcAft>
                  <a:spcPct val="0"/>
                </a:spcAft>
              </a:pPr>
              <a:t>‹#›</a:t>
            </a:fld>
            <a:endParaRPr lang="en-US" dirty="0">
              <a:cs typeface="Arial" charset="0"/>
            </a:endParaRPr>
          </a:p>
        </p:txBody>
      </p:sp>
      <p:sp>
        <p:nvSpPr>
          <p:cNvPr id="15" name="shpStamp"/>
          <p:cNvSpPr txBox="1">
            <a:spLocks noChangeArrowheads="1"/>
          </p:cNvSpPr>
          <p:nvPr>
            <p:custDataLst>
              <p:tags r:id="rId12"/>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a:solidFill>
                  <a:srgbClr val="FF0000"/>
                </a:solidFill>
                <a:cs typeface="Arial" charset="0"/>
              </a:rPr>
              <a:t>DRAFT</a:t>
            </a:r>
            <a:endParaRPr lang="en-US" sz="1300" dirty="0">
              <a:solidFill>
                <a:srgbClr val="FF0000"/>
              </a:solidFill>
              <a:cs typeface="Arial" charset="0"/>
            </a:endParaRPr>
          </a:p>
        </p:txBody>
      </p:sp>
      <p:sp>
        <p:nvSpPr>
          <p:cNvPr id="11" name="ClientLogo" hidden="1"/>
          <p:cNvSpPr/>
          <p:nvPr/>
        </p:nvSpPr>
        <p:spPr bwMode="auto">
          <a:xfrm>
            <a:off x="8312733" y="6248849"/>
            <a:ext cx="3048000" cy="484094"/>
          </a:xfrm>
          <a:prstGeom prst="rect">
            <a:avLst/>
          </a:prstGeom>
          <a:solidFill>
            <a:srgbClr val="FEDF87"/>
          </a:solidFill>
          <a:ln w="9525" cap="flat" cmpd="sng" algn="ctr">
            <a:solidFill>
              <a:srgbClr val="FF0000"/>
            </a:solidFill>
            <a:prstDash val="solid"/>
            <a:round/>
            <a:headEnd type="none" w="med" len="med"/>
            <a:tailEnd type="none" w="med" len="med"/>
          </a:ln>
          <a:effectLst/>
        </p:spPr>
        <p:txBody>
          <a:bodyPr vert="horz" wrap="square" lIns="0" tIns="0" rIns="16412" bIns="16412" numCol="1" rtlCol="0" anchor="ctr" anchorCtr="0" compatLnSpc="1">
            <a:prstTxWarp prst="textNoShape">
              <a:avLst/>
            </a:prstTxWarp>
          </a:bodyPr>
          <a:lstStyle/>
          <a:p>
            <a:pPr algn="ctr" defTabSz="820583" fontAlgn="base">
              <a:spcBef>
                <a:spcPct val="0"/>
              </a:spcBef>
              <a:spcAft>
                <a:spcPct val="0"/>
              </a:spcAft>
            </a:pPr>
            <a:r>
              <a:rPr lang="en-US" sz="700" b="1" dirty="0">
                <a:solidFill>
                  <a:srgbClr val="FF0000"/>
                </a:solidFill>
                <a:cs typeface="Arial" pitchFamily="34" charset="0"/>
              </a:rPr>
              <a:t>PresBuilder  Client Logo Placeholder </a:t>
            </a:r>
            <a:r>
              <a:rPr lang="en-US" sz="700" dirty="0">
                <a:solidFill>
                  <a:srgbClr val="FF0000"/>
                </a:solidFill>
                <a:cs typeface="Arial" pitchFamily="34" charset="0"/>
              </a:rPr>
              <a:t>– </a:t>
            </a:r>
            <a:br>
              <a:rPr lang="en-US" sz="700" dirty="0">
                <a:solidFill>
                  <a:srgbClr val="FF0000"/>
                </a:solidFill>
                <a:cs typeface="Arial" pitchFamily="34" charset="0"/>
              </a:rPr>
            </a:br>
            <a:r>
              <a:rPr lang="en-US" sz="700" dirty="0">
                <a:solidFill>
                  <a:srgbClr val="FF0000"/>
                </a:solidFill>
                <a:cs typeface="Arial" pitchFamily="34" charset="0"/>
              </a:rPr>
              <a:t>Delete this box if you see it on a slide, but DO NOT REMOVE this box from the slide layout. </a:t>
            </a:r>
          </a:p>
        </p:txBody>
      </p:sp>
      <p:pic>
        <p:nvPicPr>
          <p:cNvPr id="16" name="Picture 7" descr="ppt_int_gradient_top_v2"/>
          <p:cNvPicPr>
            <a:picLocks noChangeAspect="1" noChangeArrowheads="1"/>
          </p:cNvPicPr>
          <p:nvPr/>
        </p:nvPicPr>
        <p:blipFill>
          <a:blip r:embed="rId15" cstate="print"/>
          <a:srcRect/>
          <a:stretch>
            <a:fillRect/>
          </a:stretch>
        </p:blipFill>
        <p:spPr bwMode="auto">
          <a:xfrm>
            <a:off x="0" y="6553200"/>
            <a:ext cx="12192000" cy="304800"/>
          </a:xfrm>
          <a:prstGeom prst="rect">
            <a:avLst/>
          </a:prstGeom>
          <a:noFill/>
          <a:ln w="9525">
            <a:noFill/>
            <a:miter lim="800000"/>
            <a:headEnd/>
            <a:tailEnd/>
          </a:ln>
        </p:spPr>
      </p:pic>
      <p:pic>
        <p:nvPicPr>
          <p:cNvPr id="17" name="Picture 12" descr="ppt_cvr_logo_v3"/>
          <p:cNvPicPr>
            <a:picLocks noChangeAspect="1" noChangeArrowheads="1"/>
          </p:cNvPicPr>
          <p:nvPr/>
        </p:nvPicPr>
        <p:blipFill>
          <a:blip r:embed="rId16" cstate="print"/>
          <a:srcRect/>
          <a:stretch>
            <a:fillRect/>
          </a:stretch>
        </p:blipFill>
        <p:spPr bwMode="auto">
          <a:xfrm>
            <a:off x="514773" y="5999164"/>
            <a:ext cx="2133600" cy="566737"/>
          </a:xfrm>
          <a:prstGeom prst="rect">
            <a:avLst/>
          </a:prstGeom>
          <a:noFill/>
          <a:ln w="9525">
            <a:noFill/>
            <a:miter lim="800000"/>
            <a:headEnd/>
            <a:tailEnd/>
          </a:ln>
        </p:spPr>
      </p:pic>
    </p:spTree>
    <p:extLst>
      <p:ext uri="{BB962C8B-B14F-4D97-AF65-F5344CB8AC3E}">
        <p14:creationId xmlns:p14="http://schemas.microsoft.com/office/powerpoint/2010/main" val="3653661020"/>
      </p:ext>
    </p:extLst>
  </p:cSld>
  <p:clrMap bg1="lt1" tx1="dk1" bg2="lt2" tx2="dk2" accent1="accent1" accent2="accent2" accent3="accent3" accent4="accent4" accent5="accent5" accent6="accent6" hlink="hlink" folHlink="folHlink"/>
  <p:sldLayoutIdLst>
    <p:sldLayoutId id="2147483784" r:id="rId1"/>
    <p:sldLayoutId id="2147483785" r:id="rId2"/>
    <p:sldLayoutId id="2147483786" r:id="rId3"/>
    <p:sldLayoutId id="2147483787" r:id="rId4"/>
    <p:sldLayoutId id="2147483788" r:id="rId5"/>
    <p:sldLayoutId id="2147483789" r:id="rId6"/>
    <p:sldLayoutId id="2147483790" r:id="rId7"/>
    <p:sldLayoutId id="2147483791" r:id="rId8"/>
  </p:sldLayoutIdLst>
  <p:hf hdr="0" dt="0"/>
  <p:txStyles>
    <p:titleStyle>
      <a:lvl1pPr algn="l" defTabSz="914608" rtl="0" eaLnBrk="1" fontAlgn="base" hangingPunct="1">
        <a:lnSpc>
          <a:spcPct val="80000"/>
        </a:lnSpc>
        <a:spcBef>
          <a:spcPct val="0"/>
        </a:spcBef>
        <a:spcAft>
          <a:spcPct val="0"/>
        </a:spcAft>
        <a:defRPr sz="2400">
          <a:solidFill>
            <a:srgbClr val="7E8083"/>
          </a:solidFill>
          <a:latin typeface="+mj-lt"/>
          <a:ea typeface="+mj-ea"/>
          <a:cs typeface="Calibri" pitchFamily="34" charset="0"/>
        </a:defRPr>
      </a:lvl1pPr>
      <a:lvl2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2pPr>
      <a:lvl3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3pPr>
      <a:lvl4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4pPr>
      <a:lvl5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5pPr>
      <a:lvl6pPr marL="410291"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6pPr>
      <a:lvl7pPr marL="820583"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7pPr>
      <a:lvl8pPr marL="1230874"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8pPr>
      <a:lvl9pPr marL="1641165"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9pPr>
    </p:titleStyle>
    <p:bodyStyle>
      <a:lvl1pPr marL="205146" indent="-205146" algn="l" defTabSz="914608" rtl="0" eaLnBrk="1" fontAlgn="base" hangingPunct="1">
        <a:lnSpc>
          <a:spcPct val="110000"/>
        </a:lnSpc>
        <a:spcBef>
          <a:spcPts val="905"/>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1pPr>
      <a:lvl2pPr marL="410291" indent="-203721" algn="l" defTabSz="914608" rtl="0" eaLnBrk="1" fontAlgn="base" hangingPunct="1">
        <a:lnSpc>
          <a:spcPct val="110000"/>
        </a:lnSpc>
        <a:spcBef>
          <a:spcPts val="302"/>
        </a:spcBef>
        <a:spcAft>
          <a:spcPct val="0"/>
        </a:spcAft>
        <a:buClr>
          <a:srgbClr val="CE361D"/>
        </a:buClr>
        <a:buSzPct val="85000"/>
        <a:buFont typeface="Wingdings 2" pitchFamily="18" charset="2"/>
        <a:buChar char=""/>
        <a:defRPr lang="en-US" sz="1300" dirty="0" smtClean="0">
          <a:solidFill>
            <a:srgbClr val="4B4B4B"/>
          </a:solidFill>
          <a:latin typeface="+mn-lt"/>
          <a:ea typeface="+mn-ea"/>
          <a:cs typeface="Calibri" pitchFamily="34" charset="0"/>
        </a:defRPr>
      </a:lvl2pPr>
      <a:lvl3pPr marL="615437" indent="-203721" algn="l" defTabSz="914608" rtl="0" eaLnBrk="1" fontAlgn="base" hangingPunct="1">
        <a:lnSpc>
          <a:spcPct val="110000"/>
        </a:lnSpc>
        <a:spcBef>
          <a:spcPts val="302"/>
        </a:spcBef>
        <a:spcAft>
          <a:spcPct val="0"/>
        </a:spcAft>
        <a:buClr>
          <a:srgbClr val="CE361D"/>
        </a:buClr>
        <a:buSzPct val="100000"/>
        <a:buFont typeface="Wingdings" pitchFamily="2" charset="2"/>
        <a:buChar char=""/>
        <a:defRPr lang="en-US" sz="1300" dirty="0" smtClean="0">
          <a:solidFill>
            <a:srgbClr val="4B4B4B"/>
          </a:solidFill>
          <a:latin typeface="+mn-lt"/>
          <a:ea typeface="+mn-ea"/>
          <a:cs typeface="Calibri" pitchFamily="34" charset="0"/>
        </a:defRPr>
      </a:lvl3pPr>
      <a:lvl4pPr marL="819158" indent="-202296" algn="l" defTabSz="914608" rtl="0" eaLnBrk="1" fontAlgn="base" hangingPunct="1">
        <a:lnSpc>
          <a:spcPct val="110000"/>
        </a:lnSpc>
        <a:spcBef>
          <a:spcPts val="302"/>
        </a:spcBef>
        <a:spcAft>
          <a:spcPct val="0"/>
        </a:spcAft>
        <a:buClr>
          <a:srgbClr val="CE361D"/>
        </a:buClr>
        <a:buSzPct val="80000"/>
        <a:buFont typeface="Wingdings 3" pitchFamily="18" charset="2"/>
        <a:buChar char=""/>
        <a:defRPr lang="en-US" sz="1300" dirty="0" smtClean="0">
          <a:solidFill>
            <a:srgbClr val="4B4B4B"/>
          </a:solidFill>
          <a:latin typeface="+mn-lt"/>
          <a:ea typeface="+mn-ea"/>
          <a:cs typeface="Calibri" pitchFamily="34" charset="0"/>
        </a:defRPr>
      </a:lvl4pPr>
      <a:lvl5pPr marL="1025728" indent="-205146" algn="l" defTabSz="914608" rtl="0" eaLnBrk="1" fontAlgn="base" hangingPunct="1">
        <a:lnSpc>
          <a:spcPct val="110000"/>
        </a:lnSpc>
        <a:spcBef>
          <a:spcPts val="302"/>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5pPr>
      <a:lvl6pPr marL="1233723" indent="-205146" algn="l" defTabSz="914608" rtl="0" eaLnBrk="1" fontAlgn="base" hangingPunct="1">
        <a:lnSpc>
          <a:spcPct val="110000"/>
        </a:lnSpc>
        <a:spcBef>
          <a:spcPts val="302"/>
        </a:spcBef>
        <a:spcAft>
          <a:spcPct val="0"/>
        </a:spcAft>
        <a:buClr>
          <a:schemeClr val="tx2"/>
        </a:buClr>
        <a:buSzPct val="85000"/>
        <a:buFont typeface="Wingdings 2" pitchFamily="18" charset="2"/>
        <a:buChar char="¡"/>
        <a:defRPr lang="en-US" sz="1300" baseline="0" dirty="0" smtClean="0">
          <a:solidFill>
            <a:schemeClr val="tx1"/>
          </a:solidFill>
          <a:latin typeface="+mn-lt"/>
          <a:ea typeface="+mn-ea"/>
          <a:cs typeface="+mn-cs"/>
        </a:defRPr>
      </a:lvl6pPr>
      <a:lvl7pPr marL="1433170" indent="-199447" algn="l" defTabSz="914608" rtl="0" eaLnBrk="1" fontAlgn="base" hangingPunct="1">
        <a:lnSpc>
          <a:spcPct val="110000"/>
        </a:lnSpc>
        <a:spcBef>
          <a:spcPts val="302"/>
        </a:spcBef>
        <a:spcAft>
          <a:spcPct val="0"/>
        </a:spcAft>
        <a:buClr>
          <a:schemeClr val="tx2"/>
        </a:buClr>
        <a:buSzPct val="100000"/>
        <a:buFont typeface="Wingdings" pitchFamily="2" charset="2"/>
        <a:buChar char="w"/>
        <a:defRPr lang="en-US" sz="1300" baseline="0" dirty="0" smtClean="0">
          <a:solidFill>
            <a:schemeClr val="tx1"/>
          </a:solidFill>
          <a:latin typeface="+mn-lt"/>
          <a:ea typeface="+mn-ea"/>
          <a:cs typeface="+mn-cs"/>
        </a:defRPr>
      </a:lvl7pPr>
      <a:lvl8pPr marL="1641165" indent="-207995" algn="l" defTabSz="914608" rtl="0" eaLnBrk="1" fontAlgn="base" hangingPunct="1">
        <a:lnSpc>
          <a:spcPct val="110000"/>
        </a:lnSpc>
        <a:spcBef>
          <a:spcPts val="302"/>
        </a:spcBef>
        <a:spcAft>
          <a:spcPct val="0"/>
        </a:spcAft>
        <a:buClr>
          <a:schemeClr val="tx2"/>
        </a:buClr>
        <a:buSzPct val="80000"/>
        <a:buFont typeface="Wingdings 3" pitchFamily="18" charset="2"/>
        <a:buChar char=""/>
        <a:defRPr lang="en-US" sz="1300" baseline="0" dirty="0" smtClean="0">
          <a:solidFill>
            <a:schemeClr val="tx1"/>
          </a:solidFill>
          <a:latin typeface="+mn-lt"/>
          <a:ea typeface="+mn-ea"/>
          <a:cs typeface="+mn-cs"/>
        </a:defRPr>
      </a:lvl8pPr>
      <a:lvl9pPr marL="1846311" indent="-205146" algn="l" defTabSz="914608" rtl="0" eaLnBrk="1" fontAlgn="base" hangingPunct="1">
        <a:lnSpc>
          <a:spcPct val="110000"/>
        </a:lnSpc>
        <a:spcBef>
          <a:spcPts val="302"/>
        </a:spcBef>
        <a:spcAft>
          <a:spcPct val="0"/>
        </a:spcAft>
        <a:buClr>
          <a:schemeClr val="tx2"/>
        </a:buClr>
        <a:buSzPct val="100000"/>
        <a:buFont typeface="Wingdings 2" pitchFamily="18" charset="2"/>
        <a:buChar char=""/>
        <a:defRPr lang="en-US" sz="1300" baseline="0" dirty="0" smtClean="0">
          <a:solidFill>
            <a:schemeClr val="tx1"/>
          </a:solidFill>
          <a:latin typeface="+mn-lt"/>
          <a:ea typeface="+mn-ea"/>
          <a:cs typeface="+mn-cs"/>
        </a:defRPr>
      </a:lvl9pPr>
    </p:bodyStyle>
    <p:otherStyle>
      <a:defPPr>
        <a:defRPr lang="en-US"/>
      </a:defPPr>
      <a:lvl1pPr marL="0" algn="l" defTabSz="820583" rtl="0" eaLnBrk="1" latinLnBrk="0" hangingPunct="1">
        <a:defRPr sz="1100" kern="1200">
          <a:solidFill>
            <a:schemeClr val="tx1"/>
          </a:solidFill>
          <a:latin typeface="+mn-lt"/>
          <a:ea typeface="+mn-ea"/>
          <a:cs typeface="+mn-cs"/>
        </a:defRPr>
      </a:lvl1pPr>
      <a:lvl2pPr marL="410291" algn="l" defTabSz="820583" rtl="0" eaLnBrk="1" latinLnBrk="0" hangingPunct="1">
        <a:defRPr sz="1100" kern="1200">
          <a:solidFill>
            <a:schemeClr val="tx1"/>
          </a:solidFill>
          <a:latin typeface="+mn-lt"/>
          <a:ea typeface="+mn-ea"/>
          <a:cs typeface="+mn-cs"/>
        </a:defRPr>
      </a:lvl2pPr>
      <a:lvl3pPr marL="820583" algn="l" defTabSz="820583" rtl="0" eaLnBrk="1" latinLnBrk="0" hangingPunct="1">
        <a:defRPr sz="1100" kern="1200">
          <a:solidFill>
            <a:schemeClr val="tx1"/>
          </a:solidFill>
          <a:latin typeface="+mn-lt"/>
          <a:ea typeface="+mn-ea"/>
          <a:cs typeface="+mn-cs"/>
        </a:defRPr>
      </a:lvl3pPr>
      <a:lvl4pPr marL="1230874" algn="l" defTabSz="820583" rtl="0" eaLnBrk="1" latinLnBrk="0" hangingPunct="1">
        <a:defRPr sz="1100" kern="1200">
          <a:solidFill>
            <a:schemeClr val="tx1"/>
          </a:solidFill>
          <a:latin typeface="+mn-lt"/>
          <a:ea typeface="+mn-ea"/>
          <a:cs typeface="+mn-cs"/>
        </a:defRPr>
      </a:lvl4pPr>
      <a:lvl5pPr marL="1641165" algn="l" defTabSz="820583" rtl="0" eaLnBrk="1" latinLnBrk="0" hangingPunct="1">
        <a:defRPr sz="1100" kern="1200">
          <a:solidFill>
            <a:schemeClr val="tx1"/>
          </a:solidFill>
          <a:latin typeface="+mn-lt"/>
          <a:ea typeface="+mn-ea"/>
          <a:cs typeface="+mn-cs"/>
        </a:defRPr>
      </a:lvl5pPr>
      <a:lvl6pPr marL="2051456" algn="l" defTabSz="820583" rtl="0" eaLnBrk="1" latinLnBrk="0" hangingPunct="1">
        <a:defRPr sz="1100" kern="1200">
          <a:solidFill>
            <a:schemeClr val="tx1"/>
          </a:solidFill>
          <a:latin typeface="+mn-lt"/>
          <a:ea typeface="+mn-ea"/>
          <a:cs typeface="+mn-cs"/>
        </a:defRPr>
      </a:lvl6pPr>
      <a:lvl7pPr marL="2461748" algn="l" defTabSz="820583" rtl="0" eaLnBrk="1" latinLnBrk="0" hangingPunct="1">
        <a:defRPr sz="1100" kern="1200">
          <a:solidFill>
            <a:schemeClr val="tx1"/>
          </a:solidFill>
          <a:latin typeface="+mn-lt"/>
          <a:ea typeface="+mn-ea"/>
          <a:cs typeface="+mn-cs"/>
        </a:defRPr>
      </a:lvl7pPr>
      <a:lvl8pPr marL="2872039" algn="l" defTabSz="820583" rtl="0" eaLnBrk="1" latinLnBrk="0" hangingPunct="1">
        <a:defRPr sz="1100" kern="1200">
          <a:solidFill>
            <a:schemeClr val="tx1"/>
          </a:solidFill>
          <a:latin typeface="+mn-lt"/>
          <a:ea typeface="+mn-ea"/>
          <a:cs typeface="+mn-cs"/>
        </a:defRPr>
      </a:lvl8pPr>
      <a:lvl9pPr marL="3282330" algn="l" defTabSz="820583" rtl="0" eaLnBrk="1" latinLnBrk="0" hangingPunct="1">
        <a:defRPr sz="11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41089739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3" name="Object 2"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1"/>
            </p:custDataLst>
          </p:nvPr>
        </p:nvSpPr>
        <p:spPr bwMode="auto">
          <a:xfrm>
            <a:off x="0" y="0"/>
            <a:ext cx="158750" cy="158750"/>
          </a:xfrm>
          <a:prstGeom prst="rect">
            <a:avLst/>
          </a:prstGeom>
          <a:noFill/>
          <a:ln w="952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a:ea typeface="+mj-ea"/>
              <a:cs typeface="Arial" pitchFamily="34" charset="0"/>
              <a:sym typeface="Arial"/>
            </a:endParaRPr>
          </a:p>
        </p:txBody>
      </p:sp>
      <p:sp>
        <p:nvSpPr>
          <p:cNvPr id="4099" name="Rectangle 3"/>
          <p:cNvSpPr>
            <a:spLocks noGrp="1" noChangeArrowheads="1"/>
          </p:cNvSpPr>
          <p:nvPr>
            <p:ph type="body" idx="1"/>
          </p:nvPr>
        </p:nvSpPr>
        <p:spPr bwMode="auto">
          <a:xfrm>
            <a:off x="508000" y="1341439"/>
            <a:ext cx="11176000" cy="4575268"/>
          </a:xfrm>
          <a:prstGeom prst="rect">
            <a:avLst/>
          </a:prstGeom>
          <a:noFill/>
          <a:ln w="9525" algn="ctr">
            <a:noFill/>
            <a:miter lim="800000"/>
            <a:headEnd/>
            <a:tailEnd/>
          </a:ln>
        </p:spPr>
        <p:txBody>
          <a:bodyPr vert="horz" wrap="square" lIns="91440" tIns="41029" rIns="91440" bIns="4102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1" name="Rectangle 7"/>
          <p:cNvSpPr>
            <a:spLocks noChangeArrowheads="1"/>
          </p:cNvSpPr>
          <p:nvPr/>
        </p:nvSpPr>
        <p:spPr bwMode="white">
          <a:xfrm flipV="1">
            <a:off x="0" y="6177243"/>
            <a:ext cx="12192000" cy="684960"/>
          </a:xfrm>
          <a:prstGeom prst="rect">
            <a:avLst/>
          </a:prstGeom>
          <a:solidFill>
            <a:srgbClr val="FFFFFF"/>
          </a:solidFill>
          <a:ln w="19050">
            <a:noFill/>
            <a:miter lim="800000"/>
            <a:headEnd/>
            <a:tailEnd/>
          </a:ln>
          <a:effectLst/>
        </p:spPr>
        <p:txBody>
          <a:bodyPr wrap="none" lIns="82058" tIns="41029" rIns="82058" bIns="41029" anchor="ctr"/>
          <a:lstStyle/>
          <a:p>
            <a:pPr algn="ctr" fontAlgn="base">
              <a:spcBef>
                <a:spcPct val="0"/>
              </a:spcBef>
              <a:spcAft>
                <a:spcPct val="0"/>
              </a:spcAft>
              <a:defRPr/>
            </a:pPr>
            <a:endParaRPr lang="en-US" sz="1300">
              <a:solidFill>
                <a:srgbClr val="000000"/>
              </a:solidFill>
              <a:cs typeface="Arial" charset="0"/>
            </a:endParaRPr>
          </a:p>
        </p:txBody>
      </p:sp>
      <p:sp>
        <p:nvSpPr>
          <p:cNvPr id="4103" name="Rectangle 145"/>
          <p:cNvSpPr>
            <a:spLocks noGrp="1" noChangeArrowheads="1"/>
          </p:cNvSpPr>
          <p:nvPr>
            <p:ph type="title"/>
          </p:nvPr>
        </p:nvSpPr>
        <p:spPr bwMode="auto">
          <a:xfrm>
            <a:off x="508000" y="337075"/>
            <a:ext cx="11047307" cy="470647"/>
          </a:xfrm>
          <a:prstGeom prst="rect">
            <a:avLst/>
          </a:prstGeom>
          <a:noFill/>
          <a:ln w="9525">
            <a:noFill/>
            <a:miter lim="800000"/>
            <a:headEnd/>
            <a:tailEnd/>
          </a:ln>
        </p:spPr>
        <p:txBody>
          <a:bodyPr vert="horz" wrap="square" lIns="91440" tIns="45714" rIns="91440" bIns="45714" numCol="1" anchor="b" anchorCtr="0" compatLnSpc="1">
            <a:prstTxWarp prst="textNoShape">
              <a:avLst/>
            </a:prstTxWarp>
          </a:bodyPr>
          <a:lstStyle/>
          <a:p>
            <a:pPr lvl="0"/>
            <a:r>
              <a:rPr lang="en-US" dirty="0"/>
              <a:t>Click to edit Master title style</a:t>
            </a:r>
          </a:p>
        </p:txBody>
      </p:sp>
      <p:sp>
        <p:nvSpPr>
          <p:cNvPr id="14" name="plhSlideNumber"/>
          <p:cNvSpPr>
            <a:spLocks noGrp="1"/>
          </p:cNvSpPr>
          <p:nvPr>
            <p:ph type="sldNum" sz="quarter" idx="4"/>
          </p:nvPr>
        </p:nvSpPr>
        <p:spPr>
          <a:xfrm>
            <a:off x="8785014" y="6339114"/>
            <a:ext cx="2844031" cy="365592"/>
          </a:xfrm>
          <a:prstGeom prst="rect">
            <a:avLst/>
          </a:prstGeom>
        </p:spPr>
        <p:txBody>
          <a:bodyPr lIns="82058" tIns="41029" rIns="82058" bIns="41029"/>
          <a:lstStyle>
            <a:lvl1pPr algn="r">
              <a:defRPr sz="900">
                <a:solidFill>
                  <a:srgbClr val="4B4B4B"/>
                </a:solidFill>
                <a:latin typeface="+mn-lt"/>
              </a:defRPr>
            </a:lvl1pPr>
          </a:lstStyle>
          <a:p>
            <a:pPr fontAlgn="base">
              <a:spcBef>
                <a:spcPct val="0"/>
              </a:spcBef>
              <a:spcAft>
                <a:spcPct val="0"/>
              </a:spcAft>
            </a:pPr>
            <a:fld id="{E189E361-82B6-4274-A833-6E3626364A67}" type="slidenum">
              <a:rPr lang="en-US" smtClean="0">
                <a:cs typeface="Arial" charset="0"/>
              </a:rPr>
              <a:pPr fontAlgn="base">
                <a:spcBef>
                  <a:spcPct val="0"/>
                </a:spcBef>
                <a:spcAft>
                  <a:spcPct val="0"/>
                </a:spcAft>
              </a:pPr>
              <a:t>‹#›</a:t>
            </a:fld>
            <a:endParaRPr lang="en-US" dirty="0">
              <a:cs typeface="Arial" charset="0"/>
            </a:endParaRPr>
          </a:p>
        </p:txBody>
      </p:sp>
      <p:sp>
        <p:nvSpPr>
          <p:cNvPr id="15" name="shpStamp"/>
          <p:cNvSpPr txBox="1">
            <a:spLocks noChangeArrowheads="1"/>
          </p:cNvSpPr>
          <p:nvPr>
            <p:custDataLst>
              <p:tags r:id="rId12"/>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a:solidFill>
                  <a:srgbClr val="FF0000"/>
                </a:solidFill>
                <a:cs typeface="Arial" charset="0"/>
              </a:rPr>
              <a:t>DRAFT</a:t>
            </a:r>
            <a:endParaRPr lang="en-US" sz="1300" dirty="0">
              <a:solidFill>
                <a:srgbClr val="FF0000"/>
              </a:solidFill>
              <a:cs typeface="Arial" charset="0"/>
            </a:endParaRPr>
          </a:p>
        </p:txBody>
      </p:sp>
      <p:sp>
        <p:nvSpPr>
          <p:cNvPr id="11" name="ClientLogo" hidden="1"/>
          <p:cNvSpPr/>
          <p:nvPr/>
        </p:nvSpPr>
        <p:spPr bwMode="auto">
          <a:xfrm>
            <a:off x="8312733" y="6248849"/>
            <a:ext cx="3048000" cy="484094"/>
          </a:xfrm>
          <a:prstGeom prst="rect">
            <a:avLst/>
          </a:prstGeom>
          <a:solidFill>
            <a:srgbClr val="FEDF87"/>
          </a:solidFill>
          <a:ln w="9525" cap="flat" cmpd="sng" algn="ctr">
            <a:solidFill>
              <a:srgbClr val="FF0000"/>
            </a:solidFill>
            <a:prstDash val="solid"/>
            <a:round/>
            <a:headEnd type="none" w="med" len="med"/>
            <a:tailEnd type="none" w="med" len="med"/>
          </a:ln>
          <a:effectLst/>
        </p:spPr>
        <p:txBody>
          <a:bodyPr vert="horz" wrap="square" lIns="0" tIns="0" rIns="16412" bIns="16412" numCol="1" rtlCol="0" anchor="ctr" anchorCtr="0" compatLnSpc="1">
            <a:prstTxWarp prst="textNoShape">
              <a:avLst/>
            </a:prstTxWarp>
          </a:bodyPr>
          <a:lstStyle/>
          <a:p>
            <a:pPr algn="ctr" defTabSz="820583" fontAlgn="base">
              <a:spcBef>
                <a:spcPct val="0"/>
              </a:spcBef>
              <a:spcAft>
                <a:spcPct val="0"/>
              </a:spcAft>
            </a:pPr>
            <a:r>
              <a:rPr lang="en-US" sz="700" b="1" dirty="0">
                <a:solidFill>
                  <a:srgbClr val="FF0000"/>
                </a:solidFill>
                <a:cs typeface="Arial" pitchFamily="34" charset="0"/>
              </a:rPr>
              <a:t>PresBuilder  Client Logo Placeholder </a:t>
            </a:r>
            <a:r>
              <a:rPr lang="en-US" sz="700" dirty="0">
                <a:solidFill>
                  <a:srgbClr val="FF0000"/>
                </a:solidFill>
                <a:cs typeface="Arial" pitchFamily="34" charset="0"/>
              </a:rPr>
              <a:t>– </a:t>
            </a:r>
            <a:br>
              <a:rPr lang="en-US" sz="700" dirty="0">
                <a:solidFill>
                  <a:srgbClr val="FF0000"/>
                </a:solidFill>
                <a:cs typeface="Arial" pitchFamily="34" charset="0"/>
              </a:rPr>
            </a:br>
            <a:r>
              <a:rPr lang="en-US" sz="700" dirty="0">
                <a:solidFill>
                  <a:srgbClr val="FF0000"/>
                </a:solidFill>
                <a:cs typeface="Arial" pitchFamily="34" charset="0"/>
              </a:rPr>
              <a:t>Delete this box if you see it on a slide, but DO NOT REMOVE this box from the slide layout. </a:t>
            </a:r>
          </a:p>
        </p:txBody>
      </p:sp>
      <p:pic>
        <p:nvPicPr>
          <p:cNvPr id="16" name="Picture 7" descr="ppt_int_gradient_top_v2"/>
          <p:cNvPicPr>
            <a:picLocks noChangeAspect="1" noChangeArrowheads="1"/>
          </p:cNvPicPr>
          <p:nvPr/>
        </p:nvPicPr>
        <p:blipFill>
          <a:blip r:embed="rId15" cstate="print"/>
          <a:srcRect/>
          <a:stretch>
            <a:fillRect/>
          </a:stretch>
        </p:blipFill>
        <p:spPr bwMode="auto">
          <a:xfrm>
            <a:off x="0" y="6553200"/>
            <a:ext cx="12192000" cy="304800"/>
          </a:xfrm>
          <a:prstGeom prst="rect">
            <a:avLst/>
          </a:prstGeom>
          <a:noFill/>
          <a:ln w="9525">
            <a:noFill/>
            <a:miter lim="800000"/>
            <a:headEnd/>
            <a:tailEnd/>
          </a:ln>
        </p:spPr>
      </p:pic>
      <p:pic>
        <p:nvPicPr>
          <p:cNvPr id="17" name="Picture 12" descr="ppt_cvr_logo_v3"/>
          <p:cNvPicPr>
            <a:picLocks noChangeAspect="1" noChangeArrowheads="1"/>
          </p:cNvPicPr>
          <p:nvPr/>
        </p:nvPicPr>
        <p:blipFill>
          <a:blip r:embed="rId16" cstate="print"/>
          <a:srcRect/>
          <a:stretch>
            <a:fillRect/>
          </a:stretch>
        </p:blipFill>
        <p:spPr bwMode="auto">
          <a:xfrm>
            <a:off x="514773" y="5999164"/>
            <a:ext cx="2133600" cy="566737"/>
          </a:xfrm>
          <a:prstGeom prst="rect">
            <a:avLst/>
          </a:prstGeom>
          <a:noFill/>
          <a:ln w="9525">
            <a:noFill/>
            <a:miter lim="800000"/>
            <a:headEnd/>
            <a:tailEnd/>
          </a:ln>
        </p:spPr>
      </p:pic>
    </p:spTree>
    <p:extLst>
      <p:ext uri="{BB962C8B-B14F-4D97-AF65-F5344CB8AC3E}">
        <p14:creationId xmlns:p14="http://schemas.microsoft.com/office/powerpoint/2010/main" val="4038278372"/>
      </p:ext>
    </p:extLst>
  </p:cSld>
  <p:clrMap bg1="lt1" tx1="dk1" bg2="lt2" tx2="dk2" accent1="accent1" accent2="accent2" accent3="accent3" accent4="accent4" accent5="accent5" accent6="accent6" hlink="hlink" folHlink="folHlink"/>
  <p:sldLayoutIdLst>
    <p:sldLayoutId id="2147483869" r:id="rId1"/>
    <p:sldLayoutId id="2147483870" r:id="rId2"/>
    <p:sldLayoutId id="2147483871" r:id="rId3"/>
    <p:sldLayoutId id="2147483872" r:id="rId4"/>
    <p:sldLayoutId id="2147483873" r:id="rId5"/>
    <p:sldLayoutId id="2147483874" r:id="rId6"/>
    <p:sldLayoutId id="2147483875" r:id="rId7"/>
    <p:sldLayoutId id="2147483876" r:id="rId8"/>
  </p:sldLayoutIdLst>
  <p:hf hdr="0" dt="0"/>
  <p:txStyles>
    <p:titleStyle>
      <a:lvl1pPr algn="l" defTabSz="914608" rtl="0" eaLnBrk="1" fontAlgn="base" hangingPunct="1">
        <a:lnSpc>
          <a:spcPct val="80000"/>
        </a:lnSpc>
        <a:spcBef>
          <a:spcPct val="0"/>
        </a:spcBef>
        <a:spcAft>
          <a:spcPct val="0"/>
        </a:spcAft>
        <a:defRPr sz="2400">
          <a:solidFill>
            <a:srgbClr val="7E8083"/>
          </a:solidFill>
          <a:latin typeface="+mj-lt"/>
          <a:ea typeface="+mj-ea"/>
          <a:cs typeface="Calibri" pitchFamily="34" charset="0"/>
        </a:defRPr>
      </a:lvl1pPr>
      <a:lvl2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2pPr>
      <a:lvl3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3pPr>
      <a:lvl4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4pPr>
      <a:lvl5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5pPr>
      <a:lvl6pPr marL="410291"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6pPr>
      <a:lvl7pPr marL="820583"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7pPr>
      <a:lvl8pPr marL="1230874"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8pPr>
      <a:lvl9pPr marL="1641165"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9pPr>
    </p:titleStyle>
    <p:bodyStyle>
      <a:lvl1pPr marL="205146" indent="-205146" algn="l" defTabSz="914608" rtl="0" eaLnBrk="1" fontAlgn="base" hangingPunct="1">
        <a:lnSpc>
          <a:spcPct val="110000"/>
        </a:lnSpc>
        <a:spcBef>
          <a:spcPts val="905"/>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1pPr>
      <a:lvl2pPr marL="410291" indent="-203721" algn="l" defTabSz="914608" rtl="0" eaLnBrk="1" fontAlgn="base" hangingPunct="1">
        <a:lnSpc>
          <a:spcPct val="110000"/>
        </a:lnSpc>
        <a:spcBef>
          <a:spcPts val="302"/>
        </a:spcBef>
        <a:spcAft>
          <a:spcPct val="0"/>
        </a:spcAft>
        <a:buClr>
          <a:srgbClr val="CE361D"/>
        </a:buClr>
        <a:buSzPct val="85000"/>
        <a:buFont typeface="Wingdings 2" pitchFamily="18" charset="2"/>
        <a:buChar char=""/>
        <a:defRPr lang="en-US" sz="1300" dirty="0" smtClean="0">
          <a:solidFill>
            <a:srgbClr val="4B4B4B"/>
          </a:solidFill>
          <a:latin typeface="+mn-lt"/>
          <a:ea typeface="+mn-ea"/>
          <a:cs typeface="Calibri" pitchFamily="34" charset="0"/>
        </a:defRPr>
      </a:lvl2pPr>
      <a:lvl3pPr marL="615437" indent="-203721" algn="l" defTabSz="914608" rtl="0" eaLnBrk="1" fontAlgn="base" hangingPunct="1">
        <a:lnSpc>
          <a:spcPct val="110000"/>
        </a:lnSpc>
        <a:spcBef>
          <a:spcPts val="302"/>
        </a:spcBef>
        <a:spcAft>
          <a:spcPct val="0"/>
        </a:spcAft>
        <a:buClr>
          <a:srgbClr val="CE361D"/>
        </a:buClr>
        <a:buSzPct val="100000"/>
        <a:buFont typeface="Wingdings" pitchFamily="2" charset="2"/>
        <a:buChar char=""/>
        <a:defRPr lang="en-US" sz="1300" dirty="0" smtClean="0">
          <a:solidFill>
            <a:srgbClr val="4B4B4B"/>
          </a:solidFill>
          <a:latin typeface="+mn-lt"/>
          <a:ea typeface="+mn-ea"/>
          <a:cs typeface="Calibri" pitchFamily="34" charset="0"/>
        </a:defRPr>
      </a:lvl3pPr>
      <a:lvl4pPr marL="819158" indent="-202296" algn="l" defTabSz="914608" rtl="0" eaLnBrk="1" fontAlgn="base" hangingPunct="1">
        <a:lnSpc>
          <a:spcPct val="110000"/>
        </a:lnSpc>
        <a:spcBef>
          <a:spcPts val="302"/>
        </a:spcBef>
        <a:spcAft>
          <a:spcPct val="0"/>
        </a:spcAft>
        <a:buClr>
          <a:srgbClr val="CE361D"/>
        </a:buClr>
        <a:buSzPct val="80000"/>
        <a:buFont typeface="Wingdings 3" pitchFamily="18" charset="2"/>
        <a:buChar char=""/>
        <a:defRPr lang="en-US" sz="1300" dirty="0" smtClean="0">
          <a:solidFill>
            <a:srgbClr val="4B4B4B"/>
          </a:solidFill>
          <a:latin typeface="+mn-lt"/>
          <a:ea typeface="+mn-ea"/>
          <a:cs typeface="Calibri" pitchFamily="34" charset="0"/>
        </a:defRPr>
      </a:lvl4pPr>
      <a:lvl5pPr marL="1025728" indent="-205146" algn="l" defTabSz="914608" rtl="0" eaLnBrk="1" fontAlgn="base" hangingPunct="1">
        <a:lnSpc>
          <a:spcPct val="110000"/>
        </a:lnSpc>
        <a:spcBef>
          <a:spcPts val="302"/>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5pPr>
      <a:lvl6pPr marL="1233723" indent="-205146" algn="l" defTabSz="914608" rtl="0" eaLnBrk="1" fontAlgn="base" hangingPunct="1">
        <a:lnSpc>
          <a:spcPct val="110000"/>
        </a:lnSpc>
        <a:spcBef>
          <a:spcPts val="302"/>
        </a:spcBef>
        <a:spcAft>
          <a:spcPct val="0"/>
        </a:spcAft>
        <a:buClr>
          <a:schemeClr val="tx2"/>
        </a:buClr>
        <a:buSzPct val="85000"/>
        <a:buFont typeface="Wingdings 2" pitchFamily="18" charset="2"/>
        <a:buChar char="¡"/>
        <a:defRPr lang="en-US" sz="1300" baseline="0" dirty="0" smtClean="0">
          <a:solidFill>
            <a:schemeClr val="tx1"/>
          </a:solidFill>
          <a:latin typeface="+mn-lt"/>
          <a:ea typeface="+mn-ea"/>
          <a:cs typeface="+mn-cs"/>
        </a:defRPr>
      </a:lvl6pPr>
      <a:lvl7pPr marL="1433170" indent="-199447" algn="l" defTabSz="914608" rtl="0" eaLnBrk="1" fontAlgn="base" hangingPunct="1">
        <a:lnSpc>
          <a:spcPct val="110000"/>
        </a:lnSpc>
        <a:spcBef>
          <a:spcPts val="302"/>
        </a:spcBef>
        <a:spcAft>
          <a:spcPct val="0"/>
        </a:spcAft>
        <a:buClr>
          <a:schemeClr val="tx2"/>
        </a:buClr>
        <a:buSzPct val="100000"/>
        <a:buFont typeface="Wingdings" pitchFamily="2" charset="2"/>
        <a:buChar char="w"/>
        <a:defRPr lang="en-US" sz="1300" baseline="0" dirty="0" smtClean="0">
          <a:solidFill>
            <a:schemeClr val="tx1"/>
          </a:solidFill>
          <a:latin typeface="+mn-lt"/>
          <a:ea typeface="+mn-ea"/>
          <a:cs typeface="+mn-cs"/>
        </a:defRPr>
      </a:lvl7pPr>
      <a:lvl8pPr marL="1641165" indent="-207995" algn="l" defTabSz="914608" rtl="0" eaLnBrk="1" fontAlgn="base" hangingPunct="1">
        <a:lnSpc>
          <a:spcPct val="110000"/>
        </a:lnSpc>
        <a:spcBef>
          <a:spcPts val="302"/>
        </a:spcBef>
        <a:spcAft>
          <a:spcPct val="0"/>
        </a:spcAft>
        <a:buClr>
          <a:schemeClr val="tx2"/>
        </a:buClr>
        <a:buSzPct val="80000"/>
        <a:buFont typeface="Wingdings 3" pitchFamily="18" charset="2"/>
        <a:buChar char=""/>
        <a:defRPr lang="en-US" sz="1300" baseline="0" dirty="0" smtClean="0">
          <a:solidFill>
            <a:schemeClr val="tx1"/>
          </a:solidFill>
          <a:latin typeface="+mn-lt"/>
          <a:ea typeface="+mn-ea"/>
          <a:cs typeface="+mn-cs"/>
        </a:defRPr>
      </a:lvl8pPr>
      <a:lvl9pPr marL="1846311" indent="-205146" algn="l" defTabSz="914608" rtl="0" eaLnBrk="1" fontAlgn="base" hangingPunct="1">
        <a:lnSpc>
          <a:spcPct val="110000"/>
        </a:lnSpc>
        <a:spcBef>
          <a:spcPts val="302"/>
        </a:spcBef>
        <a:spcAft>
          <a:spcPct val="0"/>
        </a:spcAft>
        <a:buClr>
          <a:schemeClr val="tx2"/>
        </a:buClr>
        <a:buSzPct val="100000"/>
        <a:buFont typeface="Wingdings 2" pitchFamily="18" charset="2"/>
        <a:buChar char=""/>
        <a:defRPr lang="en-US" sz="1300" baseline="0" dirty="0" smtClean="0">
          <a:solidFill>
            <a:schemeClr val="tx1"/>
          </a:solidFill>
          <a:latin typeface="+mn-lt"/>
          <a:ea typeface="+mn-ea"/>
          <a:cs typeface="+mn-cs"/>
        </a:defRPr>
      </a:lvl9pPr>
    </p:bodyStyle>
    <p:otherStyle>
      <a:defPPr>
        <a:defRPr lang="en-US"/>
      </a:defPPr>
      <a:lvl1pPr marL="0" algn="l" defTabSz="820583" rtl="0" eaLnBrk="1" latinLnBrk="0" hangingPunct="1">
        <a:defRPr sz="1100" kern="1200">
          <a:solidFill>
            <a:schemeClr val="tx1"/>
          </a:solidFill>
          <a:latin typeface="+mn-lt"/>
          <a:ea typeface="+mn-ea"/>
          <a:cs typeface="+mn-cs"/>
        </a:defRPr>
      </a:lvl1pPr>
      <a:lvl2pPr marL="410291" algn="l" defTabSz="820583" rtl="0" eaLnBrk="1" latinLnBrk="0" hangingPunct="1">
        <a:defRPr sz="1100" kern="1200">
          <a:solidFill>
            <a:schemeClr val="tx1"/>
          </a:solidFill>
          <a:latin typeface="+mn-lt"/>
          <a:ea typeface="+mn-ea"/>
          <a:cs typeface="+mn-cs"/>
        </a:defRPr>
      </a:lvl2pPr>
      <a:lvl3pPr marL="820583" algn="l" defTabSz="820583" rtl="0" eaLnBrk="1" latinLnBrk="0" hangingPunct="1">
        <a:defRPr sz="1100" kern="1200">
          <a:solidFill>
            <a:schemeClr val="tx1"/>
          </a:solidFill>
          <a:latin typeface="+mn-lt"/>
          <a:ea typeface="+mn-ea"/>
          <a:cs typeface="+mn-cs"/>
        </a:defRPr>
      </a:lvl3pPr>
      <a:lvl4pPr marL="1230874" algn="l" defTabSz="820583" rtl="0" eaLnBrk="1" latinLnBrk="0" hangingPunct="1">
        <a:defRPr sz="1100" kern="1200">
          <a:solidFill>
            <a:schemeClr val="tx1"/>
          </a:solidFill>
          <a:latin typeface="+mn-lt"/>
          <a:ea typeface="+mn-ea"/>
          <a:cs typeface="+mn-cs"/>
        </a:defRPr>
      </a:lvl4pPr>
      <a:lvl5pPr marL="1641165" algn="l" defTabSz="820583" rtl="0" eaLnBrk="1" latinLnBrk="0" hangingPunct="1">
        <a:defRPr sz="1100" kern="1200">
          <a:solidFill>
            <a:schemeClr val="tx1"/>
          </a:solidFill>
          <a:latin typeface="+mn-lt"/>
          <a:ea typeface="+mn-ea"/>
          <a:cs typeface="+mn-cs"/>
        </a:defRPr>
      </a:lvl5pPr>
      <a:lvl6pPr marL="2051456" algn="l" defTabSz="820583" rtl="0" eaLnBrk="1" latinLnBrk="0" hangingPunct="1">
        <a:defRPr sz="1100" kern="1200">
          <a:solidFill>
            <a:schemeClr val="tx1"/>
          </a:solidFill>
          <a:latin typeface="+mn-lt"/>
          <a:ea typeface="+mn-ea"/>
          <a:cs typeface="+mn-cs"/>
        </a:defRPr>
      </a:lvl6pPr>
      <a:lvl7pPr marL="2461748" algn="l" defTabSz="820583" rtl="0" eaLnBrk="1" latinLnBrk="0" hangingPunct="1">
        <a:defRPr sz="1100" kern="1200">
          <a:solidFill>
            <a:schemeClr val="tx1"/>
          </a:solidFill>
          <a:latin typeface="+mn-lt"/>
          <a:ea typeface="+mn-ea"/>
          <a:cs typeface="+mn-cs"/>
        </a:defRPr>
      </a:lvl7pPr>
      <a:lvl8pPr marL="2872039" algn="l" defTabSz="820583" rtl="0" eaLnBrk="1" latinLnBrk="0" hangingPunct="1">
        <a:defRPr sz="1100" kern="1200">
          <a:solidFill>
            <a:schemeClr val="tx1"/>
          </a:solidFill>
          <a:latin typeface="+mn-lt"/>
          <a:ea typeface="+mn-ea"/>
          <a:cs typeface="+mn-cs"/>
        </a:defRPr>
      </a:lvl8pPr>
      <a:lvl9pPr marL="3282330" algn="l" defTabSz="820583" rtl="0" eaLnBrk="1" latinLnBrk="0" hangingPunct="1">
        <a:defRPr sz="11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8"/>
            </p:custDataLst>
            <p:extLst>
              <p:ext uri="{D42A27DB-BD31-4B8C-83A1-F6EECF244321}">
                <p14:modId xmlns:p14="http://schemas.microsoft.com/office/powerpoint/2010/main" val="943958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592" imgH="591" progId="TCLayout.ActiveDocument.1">
                  <p:embed/>
                </p:oleObj>
              </mc:Choice>
              <mc:Fallback>
                <p:oleObj name="think-cell Slide" r:id="rId39" imgW="592" imgH="591" progId="TCLayout.ActiveDocument.1">
                  <p:embed/>
                  <p:pic>
                    <p:nvPicPr>
                      <p:cNvPr id="2" name="Object 1" hidden="1"/>
                      <p:cNvPicPr/>
                      <p:nvPr/>
                    </p:nvPicPr>
                    <p:blipFill>
                      <a:blip r:embed="rId4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417542790"/>
      </p:ext>
    </p:extLst>
  </p:cSld>
  <p:clrMap bg1="lt1" tx1="dk1" bg2="lt2" tx2="dk2" accent1="accent1" accent2="accent2" accent3="accent3" accent4="accent4" accent5="accent5" accent6="accent6" hlink="hlink" folHlink="folHlink"/>
  <p:sldLayoutIdLst>
    <p:sldLayoutId id="2147483886" r:id="rId1"/>
    <p:sldLayoutId id="2147483887" r:id="rId2"/>
    <p:sldLayoutId id="2147483888" r:id="rId3"/>
    <p:sldLayoutId id="2147483889" r:id="rId4"/>
    <p:sldLayoutId id="2147483890" r:id="rId5"/>
    <p:sldLayoutId id="2147483891" r:id="rId6"/>
    <p:sldLayoutId id="2147483892" r:id="rId7"/>
    <p:sldLayoutId id="2147483893" r:id="rId8"/>
    <p:sldLayoutId id="2147483894" r:id="rId9"/>
    <p:sldLayoutId id="2147483895" r:id="rId10"/>
    <p:sldLayoutId id="2147483896" r:id="rId11"/>
    <p:sldLayoutId id="2147483897" r:id="rId12"/>
    <p:sldLayoutId id="2147483898" r:id="rId13"/>
    <p:sldLayoutId id="2147483899" r:id="rId14"/>
    <p:sldLayoutId id="2147483900" r:id="rId15"/>
    <p:sldLayoutId id="2147483901" r:id="rId16"/>
    <p:sldLayoutId id="2147483902" r:id="rId17"/>
    <p:sldLayoutId id="2147483903" r:id="rId18"/>
    <p:sldLayoutId id="2147483904" r:id="rId19"/>
    <p:sldLayoutId id="2147483905" r:id="rId20"/>
    <p:sldLayoutId id="2147483906" r:id="rId21"/>
    <p:sldLayoutId id="2147483907" r:id="rId22"/>
    <p:sldLayoutId id="2147483908" r:id="rId23"/>
    <p:sldLayoutId id="2147483909" r:id="rId24"/>
    <p:sldLayoutId id="2147483910" r:id="rId25"/>
    <p:sldLayoutId id="2147483911" r:id="rId26"/>
    <p:sldLayoutId id="2147483912" r:id="rId27"/>
    <p:sldLayoutId id="2147483913" r:id="rId28"/>
    <p:sldLayoutId id="2147483914" r:id="rId29"/>
    <p:sldLayoutId id="2147483915" r:id="rId30"/>
    <p:sldLayoutId id="2147483916" r:id="rId31"/>
    <p:sldLayoutId id="2147483917" r:id="rId32"/>
    <p:sldLayoutId id="2147483918" r:id="rId33"/>
    <p:sldLayoutId id="2147483919" r:id="rId34"/>
    <p:sldLayoutId id="2147483920" r:id="rId35"/>
    <p:sldLayoutId id="2147484024" r:id="rId36"/>
  </p:sldLayoutIdLst>
  <p:hf hdr="0"/>
  <p:txStyles>
    <p:titleStyle>
      <a:lvl1pPr algn="l" rtl="0" eaLnBrk="1" fontAlgn="base" hangingPunct="1">
        <a:spcBef>
          <a:spcPct val="0"/>
        </a:spcBef>
        <a:spcAft>
          <a:spcPct val="0"/>
        </a:spcAft>
        <a:defRPr sz="1200" b="1" cap="small">
          <a:solidFill>
            <a:srgbClr val="E2001A"/>
          </a:solidFill>
          <a:latin typeface="Verdana"/>
          <a:ea typeface="MS PGothic" pitchFamily="34" charset="-128"/>
          <a:cs typeface="Verdana"/>
        </a:defRPr>
      </a:lvl1pPr>
      <a:lvl2pPr algn="l" rtl="0" eaLnBrk="1" fontAlgn="base" hangingPunct="1">
        <a:spcBef>
          <a:spcPct val="0"/>
        </a:spcBef>
        <a:spcAft>
          <a:spcPct val="0"/>
        </a:spcAft>
        <a:defRPr sz="1200" b="1">
          <a:solidFill>
            <a:srgbClr val="E2001A"/>
          </a:solidFill>
          <a:latin typeface="Verdana" charset="0"/>
          <a:ea typeface="MS PGothic" pitchFamily="34" charset="-128"/>
          <a:cs typeface="Verdana" charset="0"/>
        </a:defRPr>
      </a:lvl2pPr>
      <a:lvl3pPr algn="l" rtl="0" eaLnBrk="1" fontAlgn="base" hangingPunct="1">
        <a:spcBef>
          <a:spcPct val="0"/>
        </a:spcBef>
        <a:spcAft>
          <a:spcPct val="0"/>
        </a:spcAft>
        <a:defRPr sz="1200" b="1">
          <a:solidFill>
            <a:srgbClr val="E2001A"/>
          </a:solidFill>
          <a:latin typeface="Verdana" charset="0"/>
          <a:ea typeface="MS PGothic" pitchFamily="34" charset="-128"/>
          <a:cs typeface="Verdana" charset="0"/>
        </a:defRPr>
      </a:lvl3pPr>
      <a:lvl4pPr algn="l" rtl="0" eaLnBrk="1" fontAlgn="base" hangingPunct="1">
        <a:spcBef>
          <a:spcPct val="0"/>
        </a:spcBef>
        <a:spcAft>
          <a:spcPct val="0"/>
        </a:spcAft>
        <a:defRPr sz="1200" b="1">
          <a:solidFill>
            <a:srgbClr val="E2001A"/>
          </a:solidFill>
          <a:latin typeface="Verdana" charset="0"/>
          <a:ea typeface="MS PGothic" pitchFamily="34" charset="-128"/>
          <a:cs typeface="Verdana" charset="0"/>
        </a:defRPr>
      </a:lvl4pPr>
      <a:lvl5pPr algn="l" rtl="0" eaLnBrk="1" fontAlgn="base" hangingPunct="1">
        <a:spcBef>
          <a:spcPct val="0"/>
        </a:spcBef>
        <a:spcAft>
          <a:spcPct val="0"/>
        </a:spcAft>
        <a:defRPr sz="1200" b="1">
          <a:solidFill>
            <a:srgbClr val="E2001A"/>
          </a:solidFill>
          <a:latin typeface="Verdana" charset="0"/>
          <a:ea typeface="MS PGothic" pitchFamily="34" charset="-128"/>
          <a:cs typeface="Verdana" charset="0"/>
        </a:defRPr>
      </a:lvl5pPr>
      <a:lvl6pPr marL="475867" algn="l" rtl="0" eaLnBrk="1" fontAlgn="base" hangingPunct="1">
        <a:spcBef>
          <a:spcPct val="0"/>
        </a:spcBef>
        <a:spcAft>
          <a:spcPct val="0"/>
        </a:spcAft>
        <a:defRPr sz="2533">
          <a:solidFill>
            <a:schemeClr val="bg1"/>
          </a:solidFill>
          <a:latin typeface="Calibri" pitchFamily="-112" charset="0"/>
          <a:ea typeface="ＭＳ Ｐゴシック" pitchFamily="-112" charset="-128"/>
          <a:cs typeface="ＭＳ Ｐゴシック" pitchFamily="-112" charset="-128"/>
        </a:defRPr>
      </a:lvl6pPr>
      <a:lvl7pPr marL="951730" algn="l" rtl="0" eaLnBrk="1" fontAlgn="base" hangingPunct="1">
        <a:spcBef>
          <a:spcPct val="0"/>
        </a:spcBef>
        <a:spcAft>
          <a:spcPct val="0"/>
        </a:spcAft>
        <a:defRPr sz="2533">
          <a:solidFill>
            <a:schemeClr val="bg1"/>
          </a:solidFill>
          <a:latin typeface="Calibri" pitchFamily="-112" charset="0"/>
          <a:ea typeface="ＭＳ Ｐゴシック" pitchFamily="-112" charset="-128"/>
          <a:cs typeface="ＭＳ Ｐゴシック" pitchFamily="-112" charset="-128"/>
        </a:defRPr>
      </a:lvl7pPr>
      <a:lvl8pPr marL="1427597" algn="l" rtl="0" eaLnBrk="1" fontAlgn="base" hangingPunct="1">
        <a:spcBef>
          <a:spcPct val="0"/>
        </a:spcBef>
        <a:spcAft>
          <a:spcPct val="0"/>
        </a:spcAft>
        <a:defRPr sz="2533">
          <a:solidFill>
            <a:schemeClr val="bg1"/>
          </a:solidFill>
          <a:latin typeface="Calibri" pitchFamily="-112" charset="0"/>
          <a:ea typeface="ＭＳ Ｐゴシック" pitchFamily="-112" charset="-128"/>
          <a:cs typeface="ＭＳ Ｐゴシック" pitchFamily="-112" charset="-128"/>
        </a:defRPr>
      </a:lvl8pPr>
      <a:lvl9pPr marL="1903462" algn="l" rtl="0" eaLnBrk="1" fontAlgn="base" hangingPunct="1">
        <a:spcBef>
          <a:spcPct val="0"/>
        </a:spcBef>
        <a:spcAft>
          <a:spcPct val="0"/>
        </a:spcAft>
        <a:defRPr sz="2533">
          <a:solidFill>
            <a:schemeClr val="bg1"/>
          </a:solidFill>
          <a:latin typeface="Calibri" pitchFamily="-112" charset="0"/>
          <a:ea typeface="ＭＳ Ｐゴシック" pitchFamily="-112" charset="-128"/>
          <a:cs typeface="ＭＳ Ｐゴシック" pitchFamily="-112" charset="-128"/>
        </a:defRPr>
      </a:lvl9pPr>
    </p:titleStyle>
    <p:bodyStyle>
      <a:lvl1pPr marL="356871" indent="-356871" algn="l" rtl="0" eaLnBrk="1" fontAlgn="base" hangingPunct="1">
        <a:spcBef>
          <a:spcPct val="20000"/>
        </a:spcBef>
        <a:spcAft>
          <a:spcPct val="0"/>
        </a:spcAft>
        <a:buChar char="•"/>
        <a:defRPr sz="1200">
          <a:solidFill>
            <a:srgbClr val="888888"/>
          </a:solidFill>
          <a:latin typeface="Arial"/>
          <a:ea typeface="MS PGothic" pitchFamily="34" charset="-128"/>
          <a:cs typeface="Arial"/>
        </a:defRPr>
      </a:lvl1pPr>
      <a:lvl2pPr marL="773219" indent="-297392" algn="l" rtl="0" eaLnBrk="1" fontAlgn="base" hangingPunct="1">
        <a:spcBef>
          <a:spcPct val="20000"/>
        </a:spcBef>
        <a:spcAft>
          <a:spcPct val="0"/>
        </a:spcAft>
        <a:buChar char="–"/>
        <a:defRPr sz="1200">
          <a:solidFill>
            <a:srgbClr val="888888"/>
          </a:solidFill>
          <a:latin typeface="Arial"/>
          <a:ea typeface="MS PGothic" pitchFamily="34" charset="-128"/>
          <a:cs typeface="Arial"/>
        </a:defRPr>
      </a:lvl2pPr>
      <a:lvl3pPr marL="1189569"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3pPr>
      <a:lvl4pPr marL="1665396"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4pPr>
      <a:lvl5pPr marL="2141224"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5pPr>
      <a:lvl6pPr marL="2617260" indent="-237931" algn="l" rtl="0" eaLnBrk="1" latinLnBrk="0" hangingPunct="1">
        <a:spcBef>
          <a:spcPct val="20000"/>
        </a:spcBef>
        <a:buChar char="•"/>
        <a:defRPr sz="2133">
          <a:solidFill>
            <a:schemeClr val="tx1"/>
          </a:solidFill>
          <a:latin typeface="+mn-lt"/>
          <a:ea typeface="+mn-ea"/>
          <a:cs typeface="+mn-cs"/>
        </a:defRPr>
      </a:lvl6pPr>
      <a:lvl7pPr marL="3093125" indent="-237931" algn="l" rtl="0" eaLnBrk="1" latinLnBrk="0" hangingPunct="1">
        <a:spcBef>
          <a:spcPct val="20000"/>
        </a:spcBef>
        <a:buChar char="•"/>
        <a:defRPr sz="2133">
          <a:solidFill>
            <a:schemeClr val="tx1"/>
          </a:solidFill>
          <a:latin typeface="+mn-lt"/>
          <a:ea typeface="+mn-ea"/>
          <a:cs typeface="+mn-cs"/>
        </a:defRPr>
      </a:lvl7pPr>
      <a:lvl8pPr marL="3568992" indent="-237931" algn="l" rtl="0" eaLnBrk="1" latinLnBrk="0" hangingPunct="1">
        <a:spcBef>
          <a:spcPct val="20000"/>
        </a:spcBef>
        <a:buChar char="•"/>
        <a:defRPr sz="2133">
          <a:solidFill>
            <a:schemeClr val="tx1"/>
          </a:solidFill>
          <a:latin typeface="+mn-lt"/>
          <a:ea typeface="+mn-ea"/>
          <a:cs typeface="+mn-cs"/>
        </a:defRPr>
      </a:lvl8pPr>
      <a:lvl9pPr marL="4044857" indent="-237931" algn="l" rtl="0" eaLnBrk="1" latinLnBrk="0" hangingPunct="1">
        <a:spcBef>
          <a:spcPct val="20000"/>
        </a:spcBef>
        <a:buChar char="•"/>
        <a:defRPr sz="2133">
          <a:solidFill>
            <a:schemeClr val="tx1"/>
          </a:solidFill>
          <a:latin typeface="+mn-lt"/>
          <a:ea typeface="+mn-ea"/>
          <a:cs typeface="+mn-cs"/>
        </a:defRPr>
      </a:lvl9pPr>
    </p:bodyStyle>
    <p:otherStyle>
      <a:lvl1pPr marL="0" algn="l" rtl="0" eaLnBrk="1" hangingPunct="1">
        <a:defRPr>
          <a:solidFill>
            <a:schemeClr val="tx1"/>
          </a:solidFill>
          <a:latin typeface="+mn-lt"/>
          <a:ea typeface="+mn-ea"/>
          <a:cs typeface="+mn-cs"/>
        </a:defRPr>
      </a:lvl1pPr>
      <a:lvl2pPr marL="475867" algn="l" rtl="0" eaLnBrk="1" hangingPunct="1">
        <a:defRPr>
          <a:solidFill>
            <a:schemeClr val="tx1"/>
          </a:solidFill>
          <a:latin typeface="+mn-lt"/>
          <a:ea typeface="+mn-ea"/>
          <a:cs typeface="+mn-cs"/>
        </a:defRPr>
      </a:lvl2pPr>
      <a:lvl3pPr marL="951730" algn="l" rtl="0" eaLnBrk="1" hangingPunct="1">
        <a:defRPr>
          <a:solidFill>
            <a:schemeClr val="tx1"/>
          </a:solidFill>
          <a:latin typeface="+mn-lt"/>
          <a:ea typeface="+mn-ea"/>
          <a:cs typeface="+mn-cs"/>
        </a:defRPr>
      </a:lvl3pPr>
      <a:lvl4pPr marL="1427597" algn="l" rtl="0" eaLnBrk="1" hangingPunct="1">
        <a:defRPr>
          <a:solidFill>
            <a:schemeClr val="tx1"/>
          </a:solidFill>
          <a:latin typeface="+mn-lt"/>
          <a:ea typeface="+mn-ea"/>
          <a:cs typeface="+mn-cs"/>
        </a:defRPr>
      </a:lvl4pPr>
      <a:lvl5pPr marL="1903462" algn="l" rtl="0" eaLnBrk="1" hangingPunct="1">
        <a:defRPr>
          <a:solidFill>
            <a:schemeClr val="tx1"/>
          </a:solidFill>
          <a:latin typeface="+mn-lt"/>
          <a:ea typeface="+mn-ea"/>
          <a:cs typeface="+mn-cs"/>
        </a:defRPr>
      </a:lvl5pPr>
      <a:lvl6pPr marL="2379327" algn="l" rtl="0" eaLnBrk="1" hangingPunct="1">
        <a:defRPr>
          <a:solidFill>
            <a:schemeClr val="tx1"/>
          </a:solidFill>
          <a:latin typeface="+mn-lt"/>
          <a:ea typeface="+mn-ea"/>
          <a:cs typeface="+mn-cs"/>
        </a:defRPr>
      </a:lvl6pPr>
      <a:lvl7pPr marL="2855194" algn="l" rtl="0" eaLnBrk="1" hangingPunct="1">
        <a:defRPr>
          <a:solidFill>
            <a:schemeClr val="tx1"/>
          </a:solidFill>
          <a:latin typeface="+mn-lt"/>
          <a:ea typeface="+mn-ea"/>
          <a:cs typeface="+mn-cs"/>
        </a:defRPr>
      </a:lvl7pPr>
      <a:lvl8pPr marL="3331058" algn="l" rtl="0" eaLnBrk="1" hangingPunct="1">
        <a:defRPr>
          <a:solidFill>
            <a:schemeClr val="tx1"/>
          </a:solidFill>
          <a:latin typeface="+mn-lt"/>
          <a:ea typeface="+mn-ea"/>
          <a:cs typeface="+mn-cs"/>
        </a:defRPr>
      </a:lvl8pPr>
      <a:lvl9pPr marL="3806925" algn="l" rtl="0" eaLnBrk="1" hangingPunct="1">
        <a:defRPr>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7"/>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8" imgW="353" imgH="353" progId="TCLayout.ActiveDocument.1">
                  <p:embed/>
                </p:oleObj>
              </mc:Choice>
              <mc:Fallback>
                <p:oleObj name="think-cell Slide" r:id="rId38" imgW="353" imgH="353" progId="TCLayout.ActiveDocument.1">
                  <p:embed/>
                  <p:pic>
                    <p:nvPicPr>
                      <p:cNvPr id="2" name="Object 1" hidden="1"/>
                      <p:cNvPicPr/>
                      <p:nvPr/>
                    </p:nvPicPr>
                    <p:blipFill>
                      <a:blip r:embed="rId39"/>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3847647103"/>
      </p:ext>
    </p:extLst>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 id="2147483950" r:id="rId14"/>
    <p:sldLayoutId id="2147483951" r:id="rId15"/>
    <p:sldLayoutId id="2147483952" r:id="rId16"/>
    <p:sldLayoutId id="2147483953" r:id="rId17"/>
    <p:sldLayoutId id="2147483954" r:id="rId18"/>
    <p:sldLayoutId id="2147483955" r:id="rId19"/>
    <p:sldLayoutId id="2147483956" r:id="rId20"/>
    <p:sldLayoutId id="2147483957" r:id="rId21"/>
    <p:sldLayoutId id="2147483958" r:id="rId22"/>
    <p:sldLayoutId id="2147483959" r:id="rId23"/>
    <p:sldLayoutId id="2147483960" r:id="rId24"/>
    <p:sldLayoutId id="2147483961" r:id="rId25"/>
    <p:sldLayoutId id="2147483962" r:id="rId26"/>
    <p:sldLayoutId id="2147483963" r:id="rId27"/>
    <p:sldLayoutId id="2147483964" r:id="rId28"/>
    <p:sldLayoutId id="2147483965" r:id="rId29"/>
    <p:sldLayoutId id="2147483966" r:id="rId30"/>
    <p:sldLayoutId id="2147483967" r:id="rId31"/>
    <p:sldLayoutId id="2147483968" r:id="rId32"/>
    <p:sldLayoutId id="2147483969" r:id="rId33"/>
    <p:sldLayoutId id="2147483970" r:id="rId34"/>
    <p:sldLayoutId id="2147483971" r:id="rId35"/>
  </p:sldLayoutIdLst>
  <p:hf hdr="0"/>
  <p:txStyles>
    <p:titleStyle>
      <a:lvl1pPr algn="l" rtl="0" eaLnBrk="1" fontAlgn="base" hangingPunct="1">
        <a:spcBef>
          <a:spcPct val="0"/>
        </a:spcBef>
        <a:spcAft>
          <a:spcPct val="0"/>
        </a:spcAft>
        <a:defRPr sz="1200" b="1" cap="small">
          <a:solidFill>
            <a:srgbClr val="E2001A"/>
          </a:solidFill>
          <a:latin typeface="Verdana"/>
          <a:ea typeface="MS PGothic" pitchFamily="34" charset="-128"/>
          <a:cs typeface="Verdana"/>
        </a:defRPr>
      </a:lvl1pPr>
      <a:lvl2pPr algn="l" rtl="0" eaLnBrk="1" fontAlgn="base" hangingPunct="1">
        <a:spcBef>
          <a:spcPct val="0"/>
        </a:spcBef>
        <a:spcAft>
          <a:spcPct val="0"/>
        </a:spcAft>
        <a:defRPr sz="1200" b="1">
          <a:solidFill>
            <a:srgbClr val="E2001A"/>
          </a:solidFill>
          <a:latin typeface="Verdana" charset="0"/>
          <a:ea typeface="MS PGothic" pitchFamily="34" charset="-128"/>
          <a:cs typeface="Verdana" charset="0"/>
        </a:defRPr>
      </a:lvl2pPr>
      <a:lvl3pPr algn="l" rtl="0" eaLnBrk="1" fontAlgn="base" hangingPunct="1">
        <a:spcBef>
          <a:spcPct val="0"/>
        </a:spcBef>
        <a:spcAft>
          <a:spcPct val="0"/>
        </a:spcAft>
        <a:defRPr sz="1200" b="1">
          <a:solidFill>
            <a:srgbClr val="E2001A"/>
          </a:solidFill>
          <a:latin typeface="Verdana" charset="0"/>
          <a:ea typeface="MS PGothic" pitchFamily="34" charset="-128"/>
          <a:cs typeface="Verdana" charset="0"/>
        </a:defRPr>
      </a:lvl3pPr>
      <a:lvl4pPr algn="l" rtl="0" eaLnBrk="1" fontAlgn="base" hangingPunct="1">
        <a:spcBef>
          <a:spcPct val="0"/>
        </a:spcBef>
        <a:spcAft>
          <a:spcPct val="0"/>
        </a:spcAft>
        <a:defRPr sz="1200" b="1">
          <a:solidFill>
            <a:srgbClr val="E2001A"/>
          </a:solidFill>
          <a:latin typeface="Verdana" charset="0"/>
          <a:ea typeface="MS PGothic" pitchFamily="34" charset="-128"/>
          <a:cs typeface="Verdana" charset="0"/>
        </a:defRPr>
      </a:lvl4pPr>
      <a:lvl5pPr algn="l" rtl="0" eaLnBrk="1" fontAlgn="base" hangingPunct="1">
        <a:spcBef>
          <a:spcPct val="0"/>
        </a:spcBef>
        <a:spcAft>
          <a:spcPct val="0"/>
        </a:spcAft>
        <a:defRPr sz="1200" b="1">
          <a:solidFill>
            <a:srgbClr val="E2001A"/>
          </a:solidFill>
          <a:latin typeface="Verdana" charset="0"/>
          <a:ea typeface="MS PGothic" pitchFamily="34" charset="-128"/>
          <a:cs typeface="Verdana" charset="0"/>
        </a:defRPr>
      </a:lvl5pPr>
      <a:lvl6pPr marL="475867" algn="l" rtl="0" eaLnBrk="1" fontAlgn="base" hangingPunct="1">
        <a:spcBef>
          <a:spcPct val="0"/>
        </a:spcBef>
        <a:spcAft>
          <a:spcPct val="0"/>
        </a:spcAft>
        <a:defRPr sz="2533">
          <a:solidFill>
            <a:schemeClr val="bg1"/>
          </a:solidFill>
          <a:latin typeface="Calibri" pitchFamily="-112" charset="0"/>
          <a:ea typeface="ＭＳ Ｐゴシック" pitchFamily="-112" charset="-128"/>
          <a:cs typeface="ＭＳ Ｐゴシック" pitchFamily="-112" charset="-128"/>
        </a:defRPr>
      </a:lvl6pPr>
      <a:lvl7pPr marL="951730" algn="l" rtl="0" eaLnBrk="1" fontAlgn="base" hangingPunct="1">
        <a:spcBef>
          <a:spcPct val="0"/>
        </a:spcBef>
        <a:spcAft>
          <a:spcPct val="0"/>
        </a:spcAft>
        <a:defRPr sz="2533">
          <a:solidFill>
            <a:schemeClr val="bg1"/>
          </a:solidFill>
          <a:latin typeface="Calibri" pitchFamily="-112" charset="0"/>
          <a:ea typeface="ＭＳ Ｐゴシック" pitchFamily="-112" charset="-128"/>
          <a:cs typeface="ＭＳ Ｐゴシック" pitchFamily="-112" charset="-128"/>
        </a:defRPr>
      </a:lvl7pPr>
      <a:lvl8pPr marL="1427597" algn="l" rtl="0" eaLnBrk="1" fontAlgn="base" hangingPunct="1">
        <a:spcBef>
          <a:spcPct val="0"/>
        </a:spcBef>
        <a:spcAft>
          <a:spcPct val="0"/>
        </a:spcAft>
        <a:defRPr sz="2533">
          <a:solidFill>
            <a:schemeClr val="bg1"/>
          </a:solidFill>
          <a:latin typeface="Calibri" pitchFamily="-112" charset="0"/>
          <a:ea typeface="ＭＳ Ｐゴシック" pitchFamily="-112" charset="-128"/>
          <a:cs typeface="ＭＳ Ｐゴシック" pitchFamily="-112" charset="-128"/>
        </a:defRPr>
      </a:lvl8pPr>
      <a:lvl9pPr marL="1903462" algn="l" rtl="0" eaLnBrk="1" fontAlgn="base" hangingPunct="1">
        <a:spcBef>
          <a:spcPct val="0"/>
        </a:spcBef>
        <a:spcAft>
          <a:spcPct val="0"/>
        </a:spcAft>
        <a:defRPr sz="2533">
          <a:solidFill>
            <a:schemeClr val="bg1"/>
          </a:solidFill>
          <a:latin typeface="Calibri" pitchFamily="-112" charset="0"/>
          <a:ea typeface="ＭＳ Ｐゴシック" pitchFamily="-112" charset="-128"/>
          <a:cs typeface="ＭＳ Ｐゴシック" pitchFamily="-112" charset="-128"/>
        </a:defRPr>
      </a:lvl9pPr>
    </p:titleStyle>
    <p:bodyStyle>
      <a:lvl1pPr marL="356871" indent="-356871" algn="l" rtl="0" eaLnBrk="1" fontAlgn="base" hangingPunct="1">
        <a:spcBef>
          <a:spcPct val="20000"/>
        </a:spcBef>
        <a:spcAft>
          <a:spcPct val="0"/>
        </a:spcAft>
        <a:buChar char="•"/>
        <a:defRPr sz="1200">
          <a:solidFill>
            <a:srgbClr val="888888"/>
          </a:solidFill>
          <a:latin typeface="Arial"/>
          <a:ea typeface="MS PGothic" pitchFamily="34" charset="-128"/>
          <a:cs typeface="Arial"/>
        </a:defRPr>
      </a:lvl1pPr>
      <a:lvl2pPr marL="773219" indent="-297392" algn="l" rtl="0" eaLnBrk="1" fontAlgn="base" hangingPunct="1">
        <a:spcBef>
          <a:spcPct val="20000"/>
        </a:spcBef>
        <a:spcAft>
          <a:spcPct val="0"/>
        </a:spcAft>
        <a:buChar char="–"/>
        <a:defRPr sz="1200">
          <a:solidFill>
            <a:srgbClr val="888888"/>
          </a:solidFill>
          <a:latin typeface="Arial"/>
          <a:ea typeface="MS PGothic" pitchFamily="34" charset="-128"/>
          <a:cs typeface="Arial"/>
        </a:defRPr>
      </a:lvl2pPr>
      <a:lvl3pPr marL="1189569"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3pPr>
      <a:lvl4pPr marL="1665396"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4pPr>
      <a:lvl5pPr marL="2141224"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5pPr>
      <a:lvl6pPr marL="2617260" indent="-237931" algn="l" rtl="0" eaLnBrk="1" latinLnBrk="0" hangingPunct="1">
        <a:spcBef>
          <a:spcPct val="20000"/>
        </a:spcBef>
        <a:buChar char="•"/>
        <a:defRPr sz="2133">
          <a:solidFill>
            <a:schemeClr val="tx1"/>
          </a:solidFill>
          <a:latin typeface="+mn-lt"/>
          <a:ea typeface="+mn-ea"/>
          <a:cs typeface="+mn-cs"/>
        </a:defRPr>
      </a:lvl6pPr>
      <a:lvl7pPr marL="3093125" indent="-237931" algn="l" rtl="0" eaLnBrk="1" latinLnBrk="0" hangingPunct="1">
        <a:spcBef>
          <a:spcPct val="20000"/>
        </a:spcBef>
        <a:buChar char="•"/>
        <a:defRPr sz="2133">
          <a:solidFill>
            <a:schemeClr val="tx1"/>
          </a:solidFill>
          <a:latin typeface="+mn-lt"/>
          <a:ea typeface="+mn-ea"/>
          <a:cs typeface="+mn-cs"/>
        </a:defRPr>
      </a:lvl7pPr>
      <a:lvl8pPr marL="3568992" indent="-237931" algn="l" rtl="0" eaLnBrk="1" latinLnBrk="0" hangingPunct="1">
        <a:spcBef>
          <a:spcPct val="20000"/>
        </a:spcBef>
        <a:buChar char="•"/>
        <a:defRPr sz="2133">
          <a:solidFill>
            <a:schemeClr val="tx1"/>
          </a:solidFill>
          <a:latin typeface="+mn-lt"/>
          <a:ea typeface="+mn-ea"/>
          <a:cs typeface="+mn-cs"/>
        </a:defRPr>
      </a:lvl8pPr>
      <a:lvl9pPr marL="4044857" indent="-237931" algn="l" rtl="0" eaLnBrk="1" latinLnBrk="0" hangingPunct="1">
        <a:spcBef>
          <a:spcPct val="20000"/>
        </a:spcBef>
        <a:buChar char="•"/>
        <a:defRPr sz="2133">
          <a:solidFill>
            <a:schemeClr val="tx1"/>
          </a:solidFill>
          <a:latin typeface="+mn-lt"/>
          <a:ea typeface="+mn-ea"/>
          <a:cs typeface="+mn-cs"/>
        </a:defRPr>
      </a:lvl9pPr>
    </p:bodyStyle>
    <p:otherStyle>
      <a:lvl1pPr marL="0" algn="l" rtl="0" eaLnBrk="1" hangingPunct="1">
        <a:defRPr>
          <a:solidFill>
            <a:schemeClr val="tx1"/>
          </a:solidFill>
          <a:latin typeface="+mn-lt"/>
          <a:ea typeface="+mn-ea"/>
          <a:cs typeface="+mn-cs"/>
        </a:defRPr>
      </a:lvl1pPr>
      <a:lvl2pPr marL="475867" algn="l" rtl="0" eaLnBrk="1" hangingPunct="1">
        <a:defRPr>
          <a:solidFill>
            <a:schemeClr val="tx1"/>
          </a:solidFill>
          <a:latin typeface="+mn-lt"/>
          <a:ea typeface="+mn-ea"/>
          <a:cs typeface="+mn-cs"/>
        </a:defRPr>
      </a:lvl2pPr>
      <a:lvl3pPr marL="951730" algn="l" rtl="0" eaLnBrk="1" hangingPunct="1">
        <a:defRPr>
          <a:solidFill>
            <a:schemeClr val="tx1"/>
          </a:solidFill>
          <a:latin typeface="+mn-lt"/>
          <a:ea typeface="+mn-ea"/>
          <a:cs typeface="+mn-cs"/>
        </a:defRPr>
      </a:lvl3pPr>
      <a:lvl4pPr marL="1427597" algn="l" rtl="0" eaLnBrk="1" hangingPunct="1">
        <a:defRPr>
          <a:solidFill>
            <a:schemeClr val="tx1"/>
          </a:solidFill>
          <a:latin typeface="+mn-lt"/>
          <a:ea typeface="+mn-ea"/>
          <a:cs typeface="+mn-cs"/>
        </a:defRPr>
      </a:lvl4pPr>
      <a:lvl5pPr marL="1903462" algn="l" rtl="0" eaLnBrk="1" hangingPunct="1">
        <a:defRPr>
          <a:solidFill>
            <a:schemeClr val="tx1"/>
          </a:solidFill>
          <a:latin typeface="+mn-lt"/>
          <a:ea typeface="+mn-ea"/>
          <a:cs typeface="+mn-cs"/>
        </a:defRPr>
      </a:lvl5pPr>
      <a:lvl6pPr marL="2379327" algn="l" rtl="0" eaLnBrk="1" hangingPunct="1">
        <a:defRPr>
          <a:solidFill>
            <a:schemeClr val="tx1"/>
          </a:solidFill>
          <a:latin typeface="+mn-lt"/>
          <a:ea typeface="+mn-ea"/>
          <a:cs typeface="+mn-cs"/>
        </a:defRPr>
      </a:lvl6pPr>
      <a:lvl7pPr marL="2855194" algn="l" rtl="0" eaLnBrk="1" hangingPunct="1">
        <a:defRPr>
          <a:solidFill>
            <a:schemeClr val="tx1"/>
          </a:solidFill>
          <a:latin typeface="+mn-lt"/>
          <a:ea typeface="+mn-ea"/>
          <a:cs typeface="+mn-cs"/>
        </a:defRPr>
      </a:lvl7pPr>
      <a:lvl8pPr marL="3331058" algn="l" rtl="0" eaLnBrk="1" hangingPunct="1">
        <a:defRPr>
          <a:solidFill>
            <a:schemeClr val="tx1"/>
          </a:solidFill>
          <a:latin typeface="+mn-lt"/>
          <a:ea typeface="+mn-ea"/>
          <a:cs typeface="+mn-cs"/>
        </a:defRPr>
      </a:lvl8pPr>
      <a:lvl9pPr marL="3806925" algn="l" rtl="0" eaLnBrk="1" hangingPunct="1">
        <a:defRPr>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3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9" imgW="353" imgH="353" progId="TCLayout.ActiveDocument.1">
                  <p:embed/>
                </p:oleObj>
              </mc:Choice>
              <mc:Fallback>
                <p:oleObj name="think-cell Slide" r:id="rId39" imgW="353" imgH="353" progId="TCLayout.ActiveDocument.1">
                  <p:embed/>
                  <p:pic>
                    <p:nvPicPr>
                      <p:cNvPr id="2" name="Object 1" hidden="1"/>
                      <p:cNvPicPr/>
                      <p:nvPr/>
                    </p:nvPicPr>
                    <p:blipFill>
                      <a:blip r:embed="rId40"/>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74868574"/>
      </p:ext>
    </p:extLst>
  </p:cSld>
  <p:clrMap bg1="lt1" tx1="dk1" bg2="lt2" tx2="dk2" accent1="accent1" accent2="accent2" accent3="accent3" accent4="accent4" accent5="accent5" accent6="accent6" hlink="hlink" folHlink="folHlink"/>
  <p:sldLayoutIdLst>
    <p:sldLayoutId id="2147484026" r:id="rId1"/>
    <p:sldLayoutId id="2147484027" r:id="rId2"/>
    <p:sldLayoutId id="2147484028" r:id="rId3"/>
    <p:sldLayoutId id="2147484029" r:id="rId4"/>
    <p:sldLayoutId id="2147484030" r:id="rId5"/>
    <p:sldLayoutId id="2147484031" r:id="rId6"/>
    <p:sldLayoutId id="2147484032" r:id="rId7"/>
    <p:sldLayoutId id="2147484033" r:id="rId8"/>
    <p:sldLayoutId id="2147484034" r:id="rId9"/>
    <p:sldLayoutId id="2147484035" r:id="rId10"/>
    <p:sldLayoutId id="2147484036" r:id="rId11"/>
    <p:sldLayoutId id="2147484037" r:id="rId12"/>
    <p:sldLayoutId id="2147484038" r:id="rId13"/>
    <p:sldLayoutId id="2147484039" r:id="rId14"/>
    <p:sldLayoutId id="2147484040" r:id="rId15"/>
    <p:sldLayoutId id="2147484041" r:id="rId16"/>
    <p:sldLayoutId id="2147484042" r:id="rId17"/>
    <p:sldLayoutId id="2147484043" r:id="rId18"/>
    <p:sldLayoutId id="2147484044" r:id="rId19"/>
    <p:sldLayoutId id="2147484045" r:id="rId20"/>
    <p:sldLayoutId id="2147484046" r:id="rId21"/>
    <p:sldLayoutId id="2147484047" r:id="rId22"/>
    <p:sldLayoutId id="2147484048" r:id="rId23"/>
    <p:sldLayoutId id="2147484049" r:id="rId24"/>
    <p:sldLayoutId id="2147484050" r:id="rId25"/>
    <p:sldLayoutId id="2147484051" r:id="rId26"/>
    <p:sldLayoutId id="2147484052" r:id="rId27"/>
    <p:sldLayoutId id="2147484053" r:id="rId28"/>
    <p:sldLayoutId id="2147484054" r:id="rId29"/>
    <p:sldLayoutId id="2147484055" r:id="rId30"/>
    <p:sldLayoutId id="2147484056" r:id="rId31"/>
    <p:sldLayoutId id="2147484057" r:id="rId32"/>
    <p:sldLayoutId id="2147484058" r:id="rId33"/>
    <p:sldLayoutId id="2147484059" r:id="rId34"/>
    <p:sldLayoutId id="2147484060" r:id="rId35"/>
    <p:sldLayoutId id="2147484062" r:id="rId36"/>
  </p:sldLayoutIdLst>
  <p:hf hdr="0"/>
  <p:txStyles>
    <p:titleStyle>
      <a:lvl1pPr algn="l" rtl="0" eaLnBrk="1" fontAlgn="base" hangingPunct="1">
        <a:spcBef>
          <a:spcPct val="0"/>
        </a:spcBef>
        <a:spcAft>
          <a:spcPct val="0"/>
        </a:spcAft>
        <a:defRPr sz="1200" b="1" cap="small">
          <a:solidFill>
            <a:srgbClr val="E2001A"/>
          </a:solidFill>
          <a:latin typeface="Verdana"/>
          <a:ea typeface="MS PGothic" pitchFamily="34" charset="-128"/>
          <a:cs typeface="Verdana"/>
        </a:defRPr>
      </a:lvl1pPr>
      <a:lvl2pPr algn="l" rtl="0" eaLnBrk="1" fontAlgn="base" hangingPunct="1">
        <a:spcBef>
          <a:spcPct val="0"/>
        </a:spcBef>
        <a:spcAft>
          <a:spcPct val="0"/>
        </a:spcAft>
        <a:defRPr sz="1200" b="1">
          <a:solidFill>
            <a:srgbClr val="E2001A"/>
          </a:solidFill>
          <a:latin typeface="Verdana" charset="0"/>
          <a:ea typeface="MS PGothic" pitchFamily="34" charset="-128"/>
          <a:cs typeface="Verdana" charset="0"/>
        </a:defRPr>
      </a:lvl2pPr>
      <a:lvl3pPr algn="l" rtl="0" eaLnBrk="1" fontAlgn="base" hangingPunct="1">
        <a:spcBef>
          <a:spcPct val="0"/>
        </a:spcBef>
        <a:spcAft>
          <a:spcPct val="0"/>
        </a:spcAft>
        <a:defRPr sz="1200" b="1">
          <a:solidFill>
            <a:srgbClr val="E2001A"/>
          </a:solidFill>
          <a:latin typeface="Verdana" charset="0"/>
          <a:ea typeface="MS PGothic" pitchFamily="34" charset="-128"/>
          <a:cs typeface="Verdana" charset="0"/>
        </a:defRPr>
      </a:lvl3pPr>
      <a:lvl4pPr algn="l" rtl="0" eaLnBrk="1" fontAlgn="base" hangingPunct="1">
        <a:spcBef>
          <a:spcPct val="0"/>
        </a:spcBef>
        <a:spcAft>
          <a:spcPct val="0"/>
        </a:spcAft>
        <a:defRPr sz="1200" b="1">
          <a:solidFill>
            <a:srgbClr val="E2001A"/>
          </a:solidFill>
          <a:latin typeface="Verdana" charset="0"/>
          <a:ea typeface="MS PGothic" pitchFamily="34" charset="-128"/>
          <a:cs typeface="Verdana" charset="0"/>
        </a:defRPr>
      </a:lvl4pPr>
      <a:lvl5pPr algn="l" rtl="0" eaLnBrk="1" fontAlgn="base" hangingPunct="1">
        <a:spcBef>
          <a:spcPct val="0"/>
        </a:spcBef>
        <a:spcAft>
          <a:spcPct val="0"/>
        </a:spcAft>
        <a:defRPr sz="1200" b="1">
          <a:solidFill>
            <a:srgbClr val="E2001A"/>
          </a:solidFill>
          <a:latin typeface="Verdana" charset="0"/>
          <a:ea typeface="MS PGothic" pitchFamily="34" charset="-128"/>
          <a:cs typeface="Verdana" charset="0"/>
        </a:defRPr>
      </a:lvl5pPr>
      <a:lvl6pPr marL="475867" algn="l" rtl="0" eaLnBrk="1" fontAlgn="base" hangingPunct="1">
        <a:spcBef>
          <a:spcPct val="0"/>
        </a:spcBef>
        <a:spcAft>
          <a:spcPct val="0"/>
        </a:spcAft>
        <a:defRPr sz="2533">
          <a:solidFill>
            <a:schemeClr val="bg1"/>
          </a:solidFill>
          <a:latin typeface="Calibri" pitchFamily="-112" charset="0"/>
          <a:ea typeface="ＭＳ Ｐゴシック" pitchFamily="-112" charset="-128"/>
          <a:cs typeface="ＭＳ Ｐゴシック" pitchFamily="-112" charset="-128"/>
        </a:defRPr>
      </a:lvl6pPr>
      <a:lvl7pPr marL="951730" algn="l" rtl="0" eaLnBrk="1" fontAlgn="base" hangingPunct="1">
        <a:spcBef>
          <a:spcPct val="0"/>
        </a:spcBef>
        <a:spcAft>
          <a:spcPct val="0"/>
        </a:spcAft>
        <a:defRPr sz="2533">
          <a:solidFill>
            <a:schemeClr val="bg1"/>
          </a:solidFill>
          <a:latin typeface="Calibri" pitchFamily="-112" charset="0"/>
          <a:ea typeface="ＭＳ Ｐゴシック" pitchFamily="-112" charset="-128"/>
          <a:cs typeface="ＭＳ Ｐゴシック" pitchFamily="-112" charset="-128"/>
        </a:defRPr>
      </a:lvl7pPr>
      <a:lvl8pPr marL="1427597" algn="l" rtl="0" eaLnBrk="1" fontAlgn="base" hangingPunct="1">
        <a:spcBef>
          <a:spcPct val="0"/>
        </a:spcBef>
        <a:spcAft>
          <a:spcPct val="0"/>
        </a:spcAft>
        <a:defRPr sz="2533">
          <a:solidFill>
            <a:schemeClr val="bg1"/>
          </a:solidFill>
          <a:latin typeface="Calibri" pitchFamily="-112" charset="0"/>
          <a:ea typeface="ＭＳ Ｐゴシック" pitchFamily="-112" charset="-128"/>
          <a:cs typeface="ＭＳ Ｐゴシック" pitchFamily="-112" charset="-128"/>
        </a:defRPr>
      </a:lvl8pPr>
      <a:lvl9pPr marL="1903462" algn="l" rtl="0" eaLnBrk="1" fontAlgn="base" hangingPunct="1">
        <a:spcBef>
          <a:spcPct val="0"/>
        </a:spcBef>
        <a:spcAft>
          <a:spcPct val="0"/>
        </a:spcAft>
        <a:defRPr sz="2533">
          <a:solidFill>
            <a:schemeClr val="bg1"/>
          </a:solidFill>
          <a:latin typeface="Calibri" pitchFamily="-112" charset="0"/>
          <a:ea typeface="ＭＳ Ｐゴシック" pitchFamily="-112" charset="-128"/>
          <a:cs typeface="ＭＳ Ｐゴシック" pitchFamily="-112" charset="-128"/>
        </a:defRPr>
      </a:lvl9pPr>
    </p:titleStyle>
    <p:bodyStyle>
      <a:lvl1pPr marL="356871" indent="-356871" algn="l" rtl="0" eaLnBrk="1" fontAlgn="base" hangingPunct="1">
        <a:spcBef>
          <a:spcPct val="20000"/>
        </a:spcBef>
        <a:spcAft>
          <a:spcPct val="0"/>
        </a:spcAft>
        <a:buChar char="•"/>
        <a:defRPr sz="1200">
          <a:solidFill>
            <a:srgbClr val="888888"/>
          </a:solidFill>
          <a:latin typeface="Arial"/>
          <a:ea typeface="MS PGothic" pitchFamily="34" charset="-128"/>
          <a:cs typeface="Arial"/>
        </a:defRPr>
      </a:lvl1pPr>
      <a:lvl2pPr marL="773219" indent="-297392" algn="l" rtl="0" eaLnBrk="1" fontAlgn="base" hangingPunct="1">
        <a:spcBef>
          <a:spcPct val="20000"/>
        </a:spcBef>
        <a:spcAft>
          <a:spcPct val="0"/>
        </a:spcAft>
        <a:buChar char="–"/>
        <a:defRPr sz="1200">
          <a:solidFill>
            <a:srgbClr val="888888"/>
          </a:solidFill>
          <a:latin typeface="Arial"/>
          <a:ea typeface="MS PGothic" pitchFamily="34" charset="-128"/>
          <a:cs typeface="Arial"/>
        </a:defRPr>
      </a:lvl2pPr>
      <a:lvl3pPr marL="1189569"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3pPr>
      <a:lvl4pPr marL="1665396"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4pPr>
      <a:lvl5pPr marL="2141224"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5pPr>
      <a:lvl6pPr marL="2617260" indent="-237931" algn="l" rtl="0" eaLnBrk="1" latinLnBrk="0" hangingPunct="1">
        <a:spcBef>
          <a:spcPct val="20000"/>
        </a:spcBef>
        <a:buChar char="•"/>
        <a:defRPr sz="2133">
          <a:solidFill>
            <a:schemeClr val="tx1"/>
          </a:solidFill>
          <a:latin typeface="+mn-lt"/>
          <a:ea typeface="+mn-ea"/>
          <a:cs typeface="+mn-cs"/>
        </a:defRPr>
      </a:lvl6pPr>
      <a:lvl7pPr marL="3093125" indent="-237931" algn="l" rtl="0" eaLnBrk="1" latinLnBrk="0" hangingPunct="1">
        <a:spcBef>
          <a:spcPct val="20000"/>
        </a:spcBef>
        <a:buChar char="•"/>
        <a:defRPr sz="2133">
          <a:solidFill>
            <a:schemeClr val="tx1"/>
          </a:solidFill>
          <a:latin typeface="+mn-lt"/>
          <a:ea typeface="+mn-ea"/>
          <a:cs typeface="+mn-cs"/>
        </a:defRPr>
      </a:lvl7pPr>
      <a:lvl8pPr marL="3568992" indent="-237931" algn="l" rtl="0" eaLnBrk="1" latinLnBrk="0" hangingPunct="1">
        <a:spcBef>
          <a:spcPct val="20000"/>
        </a:spcBef>
        <a:buChar char="•"/>
        <a:defRPr sz="2133">
          <a:solidFill>
            <a:schemeClr val="tx1"/>
          </a:solidFill>
          <a:latin typeface="+mn-lt"/>
          <a:ea typeface="+mn-ea"/>
          <a:cs typeface="+mn-cs"/>
        </a:defRPr>
      </a:lvl8pPr>
      <a:lvl9pPr marL="4044857" indent="-237931" algn="l" rtl="0" eaLnBrk="1" latinLnBrk="0" hangingPunct="1">
        <a:spcBef>
          <a:spcPct val="20000"/>
        </a:spcBef>
        <a:buChar char="•"/>
        <a:defRPr sz="2133">
          <a:solidFill>
            <a:schemeClr val="tx1"/>
          </a:solidFill>
          <a:latin typeface="+mn-lt"/>
          <a:ea typeface="+mn-ea"/>
          <a:cs typeface="+mn-cs"/>
        </a:defRPr>
      </a:lvl9pPr>
    </p:bodyStyle>
    <p:otherStyle>
      <a:lvl1pPr marL="0" algn="l" rtl="0" eaLnBrk="1" hangingPunct="1">
        <a:defRPr>
          <a:solidFill>
            <a:schemeClr val="tx1"/>
          </a:solidFill>
          <a:latin typeface="+mn-lt"/>
          <a:ea typeface="+mn-ea"/>
          <a:cs typeface="+mn-cs"/>
        </a:defRPr>
      </a:lvl1pPr>
      <a:lvl2pPr marL="475867" algn="l" rtl="0" eaLnBrk="1" hangingPunct="1">
        <a:defRPr>
          <a:solidFill>
            <a:schemeClr val="tx1"/>
          </a:solidFill>
          <a:latin typeface="+mn-lt"/>
          <a:ea typeface="+mn-ea"/>
          <a:cs typeface="+mn-cs"/>
        </a:defRPr>
      </a:lvl2pPr>
      <a:lvl3pPr marL="951730" algn="l" rtl="0" eaLnBrk="1" hangingPunct="1">
        <a:defRPr>
          <a:solidFill>
            <a:schemeClr val="tx1"/>
          </a:solidFill>
          <a:latin typeface="+mn-lt"/>
          <a:ea typeface="+mn-ea"/>
          <a:cs typeface="+mn-cs"/>
        </a:defRPr>
      </a:lvl3pPr>
      <a:lvl4pPr marL="1427597" algn="l" rtl="0" eaLnBrk="1" hangingPunct="1">
        <a:defRPr>
          <a:solidFill>
            <a:schemeClr val="tx1"/>
          </a:solidFill>
          <a:latin typeface="+mn-lt"/>
          <a:ea typeface="+mn-ea"/>
          <a:cs typeface="+mn-cs"/>
        </a:defRPr>
      </a:lvl4pPr>
      <a:lvl5pPr marL="1903462" algn="l" rtl="0" eaLnBrk="1" hangingPunct="1">
        <a:defRPr>
          <a:solidFill>
            <a:schemeClr val="tx1"/>
          </a:solidFill>
          <a:latin typeface="+mn-lt"/>
          <a:ea typeface="+mn-ea"/>
          <a:cs typeface="+mn-cs"/>
        </a:defRPr>
      </a:lvl5pPr>
      <a:lvl6pPr marL="2379327" algn="l" rtl="0" eaLnBrk="1" hangingPunct="1">
        <a:defRPr>
          <a:solidFill>
            <a:schemeClr val="tx1"/>
          </a:solidFill>
          <a:latin typeface="+mn-lt"/>
          <a:ea typeface="+mn-ea"/>
          <a:cs typeface="+mn-cs"/>
        </a:defRPr>
      </a:lvl6pPr>
      <a:lvl7pPr marL="2855194" algn="l" rtl="0" eaLnBrk="1" hangingPunct="1">
        <a:defRPr>
          <a:solidFill>
            <a:schemeClr val="tx1"/>
          </a:solidFill>
          <a:latin typeface="+mn-lt"/>
          <a:ea typeface="+mn-ea"/>
          <a:cs typeface="+mn-cs"/>
        </a:defRPr>
      </a:lvl7pPr>
      <a:lvl8pPr marL="3331058" algn="l" rtl="0" eaLnBrk="1" hangingPunct="1">
        <a:defRPr>
          <a:solidFill>
            <a:schemeClr val="tx1"/>
          </a:solidFill>
          <a:latin typeface="+mn-lt"/>
          <a:ea typeface="+mn-ea"/>
          <a:cs typeface="+mn-cs"/>
        </a:defRPr>
      </a:lvl8pPr>
      <a:lvl9pPr marL="3806925" algn="l" rtl="0" eaLnBrk="1" hangingPunct="1">
        <a:defRPr>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32535457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3" name="Object 2"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1"/>
            </p:custDataLst>
          </p:nvPr>
        </p:nvSpPr>
        <p:spPr bwMode="auto">
          <a:xfrm>
            <a:off x="0" y="0"/>
            <a:ext cx="158750" cy="158750"/>
          </a:xfrm>
          <a:prstGeom prst="rect">
            <a:avLst/>
          </a:prstGeom>
          <a:noFill/>
          <a:ln w="952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a:ea typeface="+mj-ea"/>
              <a:cs typeface="Arial" pitchFamily="34" charset="0"/>
              <a:sym typeface="Arial"/>
            </a:endParaRPr>
          </a:p>
        </p:txBody>
      </p:sp>
      <p:sp>
        <p:nvSpPr>
          <p:cNvPr id="4099" name="Rectangle 3"/>
          <p:cNvSpPr>
            <a:spLocks noGrp="1" noChangeArrowheads="1"/>
          </p:cNvSpPr>
          <p:nvPr>
            <p:ph type="body" idx="1"/>
          </p:nvPr>
        </p:nvSpPr>
        <p:spPr bwMode="auto">
          <a:xfrm>
            <a:off x="508000" y="1341439"/>
            <a:ext cx="11176000" cy="4575268"/>
          </a:xfrm>
          <a:prstGeom prst="rect">
            <a:avLst/>
          </a:prstGeom>
          <a:noFill/>
          <a:ln w="9525" algn="ctr">
            <a:noFill/>
            <a:miter lim="800000"/>
            <a:headEnd/>
            <a:tailEnd/>
          </a:ln>
        </p:spPr>
        <p:txBody>
          <a:bodyPr vert="horz" wrap="square" lIns="91440" tIns="41029" rIns="91440" bIns="4102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1" name="Rectangle 7"/>
          <p:cNvSpPr>
            <a:spLocks noChangeArrowheads="1"/>
          </p:cNvSpPr>
          <p:nvPr/>
        </p:nvSpPr>
        <p:spPr bwMode="white">
          <a:xfrm flipV="1">
            <a:off x="0" y="6177243"/>
            <a:ext cx="12192000" cy="684960"/>
          </a:xfrm>
          <a:prstGeom prst="rect">
            <a:avLst/>
          </a:prstGeom>
          <a:solidFill>
            <a:srgbClr val="FFFFFF"/>
          </a:solidFill>
          <a:ln w="19050">
            <a:noFill/>
            <a:miter lim="800000"/>
            <a:headEnd/>
            <a:tailEnd/>
          </a:ln>
          <a:effectLst/>
        </p:spPr>
        <p:txBody>
          <a:bodyPr wrap="none" lIns="82058" tIns="41029" rIns="82058" bIns="41029" anchor="ctr"/>
          <a:lstStyle/>
          <a:p>
            <a:pPr algn="ctr" fontAlgn="base">
              <a:spcBef>
                <a:spcPct val="0"/>
              </a:spcBef>
              <a:spcAft>
                <a:spcPct val="0"/>
              </a:spcAft>
              <a:defRPr/>
            </a:pPr>
            <a:endParaRPr lang="en-US" sz="1300">
              <a:solidFill>
                <a:srgbClr val="000000"/>
              </a:solidFill>
              <a:cs typeface="Arial" charset="0"/>
            </a:endParaRPr>
          </a:p>
        </p:txBody>
      </p:sp>
      <p:sp>
        <p:nvSpPr>
          <p:cNvPr id="4103" name="Rectangle 145"/>
          <p:cNvSpPr>
            <a:spLocks noGrp="1" noChangeArrowheads="1"/>
          </p:cNvSpPr>
          <p:nvPr>
            <p:ph type="title"/>
          </p:nvPr>
        </p:nvSpPr>
        <p:spPr bwMode="auto">
          <a:xfrm>
            <a:off x="508000" y="337075"/>
            <a:ext cx="11047307" cy="470647"/>
          </a:xfrm>
          <a:prstGeom prst="rect">
            <a:avLst/>
          </a:prstGeom>
          <a:noFill/>
          <a:ln w="9525">
            <a:noFill/>
            <a:miter lim="800000"/>
            <a:headEnd/>
            <a:tailEnd/>
          </a:ln>
        </p:spPr>
        <p:txBody>
          <a:bodyPr vert="horz" wrap="square" lIns="91440" tIns="45714" rIns="91440" bIns="45714" numCol="1" anchor="b" anchorCtr="0" compatLnSpc="1">
            <a:prstTxWarp prst="textNoShape">
              <a:avLst/>
            </a:prstTxWarp>
          </a:bodyPr>
          <a:lstStyle/>
          <a:p>
            <a:pPr lvl="0"/>
            <a:r>
              <a:rPr lang="en-US" dirty="0"/>
              <a:t>Click to edit Master title style</a:t>
            </a:r>
          </a:p>
        </p:txBody>
      </p:sp>
      <p:sp>
        <p:nvSpPr>
          <p:cNvPr id="14" name="plhSlideNumber"/>
          <p:cNvSpPr>
            <a:spLocks noGrp="1"/>
          </p:cNvSpPr>
          <p:nvPr>
            <p:ph type="sldNum" sz="quarter" idx="4"/>
          </p:nvPr>
        </p:nvSpPr>
        <p:spPr>
          <a:xfrm>
            <a:off x="8785014" y="6339114"/>
            <a:ext cx="2844031" cy="365592"/>
          </a:xfrm>
          <a:prstGeom prst="rect">
            <a:avLst/>
          </a:prstGeom>
        </p:spPr>
        <p:txBody>
          <a:bodyPr lIns="82058" tIns="41029" rIns="82058" bIns="41029"/>
          <a:lstStyle>
            <a:lvl1pPr algn="r">
              <a:defRPr sz="900">
                <a:solidFill>
                  <a:srgbClr val="4B4B4B"/>
                </a:solidFill>
                <a:latin typeface="+mn-lt"/>
              </a:defRPr>
            </a:lvl1pPr>
          </a:lstStyle>
          <a:p>
            <a:pPr fontAlgn="base">
              <a:spcBef>
                <a:spcPct val="0"/>
              </a:spcBef>
              <a:spcAft>
                <a:spcPct val="0"/>
              </a:spcAft>
            </a:pPr>
            <a:fld id="{E189E361-82B6-4274-A833-6E3626364A67}" type="slidenum">
              <a:rPr lang="en-US" smtClean="0">
                <a:cs typeface="Arial" charset="0"/>
              </a:rPr>
              <a:pPr fontAlgn="base">
                <a:spcBef>
                  <a:spcPct val="0"/>
                </a:spcBef>
                <a:spcAft>
                  <a:spcPct val="0"/>
                </a:spcAft>
              </a:pPr>
              <a:t>‹#›</a:t>
            </a:fld>
            <a:endParaRPr lang="en-US" dirty="0">
              <a:cs typeface="Arial" charset="0"/>
            </a:endParaRPr>
          </a:p>
        </p:txBody>
      </p:sp>
      <p:sp>
        <p:nvSpPr>
          <p:cNvPr id="15" name="shpStamp"/>
          <p:cNvSpPr txBox="1">
            <a:spLocks noChangeArrowheads="1"/>
          </p:cNvSpPr>
          <p:nvPr>
            <p:custDataLst>
              <p:tags r:id="rId12"/>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a:solidFill>
                  <a:srgbClr val="FF0000"/>
                </a:solidFill>
                <a:cs typeface="Arial" charset="0"/>
              </a:rPr>
              <a:t>DRAFT</a:t>
            </a:r>
            <a:endParaRPr lang="en-US" sz="1300" dirty="0">
              <a:solidFill>
                <a:srgbClr val="FF0000"/>
              </a:solidFill>
              <a:cs typeface="Arial" charset="0"/>
            </a:endParaRPr>
          </a:p>
        </p:txBody>
      </p:sp>
      <p:sp>
        <p:nvSpPr>
          <p:cNvPr id="11" name="ClientLogo" hidden="1"/>
          <p:cNvSpPr/>
          <p:nvPr/>
        </p:nvSpPr>
        <p:spPr bwMode="auto">
          <a:xfrm>
            <a:off x="8312733" y="6248849"/>
            <a:ext cx="3048000" cy="484094"/>
          </a:xfrm>
          <a:prstGeom prst="rect">
            <a:avLst/>
          </a:prstGeom>
          <a:solidFill>
            <a:srgbClr val="FEDF87"/>
          </a:solidFill>
          <a:ln w="9525" cap="flat" cmpd="sng" algn="ctr">
            <a:solidFill>
              <a:srgbClr val="FF0000"/>
            </a:solidFill>
            <a:prstDash val="solid"/>
            <a:round/>
            <a:headEnd type="none" w="med" len="med"/>
            <a:tailEnd type="none" w="med" len="med"/>
          </a:ln>
          <a:effectLst/>
        </p:spPr>
        <p:txBody>
          <a:bodyPr vert="horz" wrap="square" lIns="0" tIns="0" rIns="16412" bIns="16412" numCol="1" rtlCol="0" anchor="ctr" anchorCtr="0" compatLnSpc="1">
            <a:prstTxWarp prst="textNoShape">
              <a:avLst/>
            </a:prstTxWarp>
          </a:bodyPr>
          <a:lstStyle/>
          <a:p>
            <a:pPr algn="ctr" defTabSz="820583" fontAlgn="base">
              <a:spcBef>
                <a:spcPct val="0"/>
              </a:spcBef>
              <a:spcAft>
                <a:spcPct val="0"/>
              </a:spcAft>
            </a:pPr>
            <a:r>
              <a:rPr lang="en-US" sz="700" b="1" dirty="0">
                <a:solidFill>
                  <a:srgbClr val="FF0000"/>
                </a:solidFill>
                <a:cs typeface="Arial" pitchFamily="34" charset="0"/>
              </a:rPr>
              <a:t>PresBuilder  Client Logo Placeholder </a:t>
            </a:r>
            <a:r>
              <a:rPr lang="en-US" sz="700" dirty="0">
                <a:solidFill>
                  <a:srgbClr val="FF0000"/>
                </a:solidFill>
                <a:cs typeface="Arial" pitchFamily="34" charset="0"/>
              </a:rPr>
              <a:t>– </a:t>
            </a:r>
            <a:br>
              <a:rPr lang="en-US" sz="700" dirty="0">
                <a:solidFill>
                  <a:srgbClr val="FF0000"/>
                </a:solidFill>
                <a:cs typeface="Arial" pitchFamily="34" charset="0"/>
              </a:rPr>
            </a:br>
            <a:r>
              <a:rPr lang="en-US" sz="700" dirty="0">
                <a:solidFill>
                  <a:srgbClr val="FF0000"/>
                </a:solidFill>
                <a:cs typeface="Arial" pitchFamily="34" charset="0"/>
              </a:rPr>
              <a:t>Delete this box if you see it on a slide, but DO NOT REMOVE this box from the slide layout. </a:t>
            </a:r>
          </a:p>
        </p:txBody>
      </p:sp>
      <p:pic>
        <p:nvPicPr>
          <p:cNvPr id="16" name="Picture 7" descr="ppt_int_gradient_top_v2"/>
          <p:cNvPicPr>
            <a:picLocks noChangeAspect="1" noChangeArrowheads="1"/>
          </p:cNvPicPr>
          <p:nvPr/>
        </p:nvPicPr>
        <p:blipFill>
          <a:blip r:embed="rId15" cstate="print"/>
          <a:srcRect/>
          <a:stretch>
            <a:fillRect/>
          </a:stretch>
        </p:blipFill>
        <p:spPr bwMode="auto">
          <a:xfrm>
            <a:off x="0" y="6553200"/>
            <a:ext cx="12192000" cy="304800"/>
          </a:xfrm>
          <a:prstGeom prst="rect">
            <a:avLst/>
          </a:prstGeom>
          <a:noFill/>
          <a:ln w="9525">
            <a:noFill/>
            <a:miter lim="800000"/>
            <a:headEnd/>
            <a:tailEnd/>
          </a:ln>
        </p:spPr>
      </p:pic>
      <p:pic>
        <p:nvPicPr>
          <p:cNvPr id="17" name="Picture 12" descr="ppt_cvr_logo_v3"/>
          <p:cNvPicPr>
            <a:picLocks noChangeAspect="1" noChangeArrowheads="1"/>
          </p:cNvPicPr>
          <p:nvPr/>
        </p:nvPicPr>
        <p:blipFill>
          <a:blip r:embed="rId16" cstate="print"/>
          <a:srcRect/>
          <a:stretch>
            <a:fillRect/>
          </a:stretch>
        </p:blipFill>
        <p:spPr bwMode="auto">
          <a:xfrm>
            <a:off x="514773" y="5999164"/>
            <a:ext cx="2133600" cy="566737"/>
          </a:xfrm>
          <a:prstGeom prst="rect">
            <a:avLst/>
          </a:prstGeom>
          <a:noFill/>
          <a:ln w="9525">
            <a:noFill/>
            <a:miter lim="800000"/>
            <a:headEnd/>
            <a:tailEnd/>
          </a:ln>
        </p:spPr>
      </p:pic>
    </p:spTree>
    <p:extLst>
      <p:ext uri="{BB962C8B-B14F-4D97-AF65-F5344CB8AC3E}">
        <p14:creationId xmlns:p14="http://schemas.microsoft.com/office/powerpoint/2010/main" val="921959724"/>
      </p:ext>
    </p:extLst>
  </p:cSld>
  <p:clrMap bg1="lt1" tx1="dk1" bg2="lt2" tx2="dk2" accent1="accent1" accent2="accent2" accent3="accent3" accent4="accent4" accent5="accent5" accent6="accent6" hlink="hlink" folHlink="folHlink"/>
  <p:sldLayoutIdLst>
    <p:sldLayoutId id="2147483793" r:id="rId1"/>
    <p:sldLayoutId id="2147483794" r:id="rId2"/>
    <p:sldLayoutId id="2147483795" r:id="rId3"/>
    <p:sldLayoutId id="2147483796" r:id="rId4"/>
    <p:sldLayoutId id="2147483797" r:id="rId5"/>
    <p:sldLayoutId id="2147483798" r:id="rId6"/>
    <p:sldLayoutId id="2147483799" r:id="rId7"/>
    <p:sldLayoutId id="2147483800" r:id="rId8"/>
  </p:sldLayoutIdLst>
  <p:hf hdr="0" dt="0"/>
  <p:txStyles>
    <p:titleStyle>
      <a:lvl1pPr algn="l" defTabSz="914608" rtl="0" eaLnBrk="1" fontAlgn="base" hangingPunct="1">
        <a:lnSpc>
          <a:spcPct val="80000"/>
        </a:lnSpc>
        <a:spcBef>
          <a:spcPct val="0"/>
        </a:spcBef>
        <a:spcAft>
          <a:spcPct val="0"/>
        </a:spcAft>
        <a:defRPr sz="2400">
          <a:solidFill>
            <a:srgbClr val="7E8083"/>
          </a:solidFill>
          <a:latin typeface="+mj-lt"/>
          <a:ea typeface="+mj-ea"/>
          <a:cs typeface="Calibri" pitchFamily="34" charset="0"/>
        </a:defRPr>
      </a:lvl1pPr>
      <a:lvl2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2pPr>
      <a:lvl3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3pPr>
      <a:lvl4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4pPr>
      <a:lvl5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5pPr>
      <a:lvl6pPr marL="410291"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6pPr>
      <a:lvl7pPr marL="820583"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7pPr>
      <a:lvl8pPr marL="1230874"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8pPr>
      <a:lvl9pPr marL="1641165"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9pPr>
    </p:titleStyle>
    <p:bodyStyle>
      <a:lvl1pPr marL="205146" indent="-205146" algn="l" defTabSz="914608" rtl="0" eaLnBrk="1" fontAlgn="base" hangingPunct="1">
        <a:lnSpc>
          <a:spcPct val="110000"/>
        </a:lnSpc>
        <a:spcBef>
          <a:spcPts val="905"/>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1pPr>
      <a:lvl2pPr marL="410291" indent="-203721" algn="l" defTabSz="914608" rtl="0" eaLnBrk="1" fontAlgn="base" hangingPunct="1">
        <a:lnSpc>
          <a:spcPct val="110000"/>
        </a:lnSpc>
        <a:spcBef>
          <a:spcPts val="302"/>
        </a:spcBef>
        <a:spcAft>
          <a:spcPct val="0"/>
        </a:spcAft>
        <a:buClr>
          <a:srgbClr val="CE361D"/>
        </a:buClr>
        <a:buSzPct val="85000"/>
        <a:buFont typeface="Wingdings 2" pitchFamily="18" charset="2"/>
        <a:buChar char=""/>
        <a:defRPr lang="en-US" sz="1300" dirty="0" smtClean="0">
          <a:solidFill>
            <a:srgbClr val="4B4B4B"/>
          </a:solidFill>
          <a:latin typeface="+mn-lt"/>
          <a:ea typeface="+mn-ea"/>
          <a:cs typeface="Calibri" pitchFamily="34" charset="0"/>
        </a:defRPr>
      </a:lvl2pPr>
      <a:lvl3pPr marL="615437" indent="-203721" algn="l" defTabSz="914608" rtl="0" eaLnBrk="1" fontAlgn="base" hangingPunct="1">
        <a:lnSpc>
          <a:spcPct val="110000"/>
        </a:lnSpc>
        <a:spcBef>
          <a:spcPts val="302"/>
        </a:spcBef>
        <a:spcAft>
          <a:spcPct val="0"/>
        </a:spcAft>
        <a:buClr>
          <a:srgbClr val="CE361D"/>
        </a:buClr>
        <a:buSzPct val="100000"/>
        <a:buFont typeface="Wingdings" pitchFamily="2" charset="2"/>
        <a:buChar char=""/>
        <a:defRPr lang="en-US" sz="1300" dirty="0" smtClean="0">
          <a:solidFill>
            <a:srgbClr val="4B4B4B"/>
          </a:solidFill>
          <a:latin typeface="+mn-lt"/>
          <a:ea typeface="+mn-ea"/>
          <a:cs typeface="Calibri" pitchFamily="34" charset="0"/>
        </a:defRPr>
      </a:lvl3pPr>
      <a:lvl4pPr marL="819158" indent="-202296" algn="l" defTabSz="914608" rtl="0" eaLnBrk="1" fontAlgn="base" hangingPunct="1">
        <a:lnSpc>
          <a:spcPct val="110000"/>
        </a:lnSpc>
        <a:spcBef>
          <a:spcPts val="302"/>
        </a:spcBef>
        <a:spcAft>
          <a:spcPct val="0"/>
        </a:spcAft>
        <a:buClr>
          <a:srgbClr val="CE361D"/>
        </a:buClr>
        <a:buSzPct val="80000"/>
        <a:buFont typeface="Wingdings 3" pitchFamily="18" charset="2"/>
        <a:buChar char=""/>
        <a:defRPr lang="en-US" sz="1300" dirty="0" smtClean="0">
          <a:solidFill>
            <a:srgbClr val="4B4B4B"/>
          </a:solidFill>
          <a:latin typeface="+mn-lt"/>
          <a:ea typeface="+mn-ea"/>
          <a:cs typeface="Calibri" pitchFamily="34" charset="0"/>
        </a:defRPr>
      </a:lvl4pPr>
      <a:lvl5pPr marL="1025728" indent="-205146" algn="l" defTabSz="914608" rtl="0" eaLnBrk="1" fontAlgn="base" hangingPunct="1">
        <a:lnSpc>
          <a:spcPct val="110000"/>
        </a:lnSpc>
        <a:spcBef>
          <a:spcPts val="302"/>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5pPr>
      <a:lvl6pPr marL="1233723" indent="-205146" algn="l" defTabSz="914608" rtl="0" eaLnBrk="1" fontAlgn="base" hangingPunct="1">
        <a:lnSpc>
          <a:spcPct val="110000"/>
        </a:lnSpc>
        <a:spcBef>
          <a:spcPts val="302"/>
        </a:spcBef>
        <a:spcAft>
          <a:spcPct val="0"/>
        </a:spcAft>
        <a:buClr>
          <a:schemeClr val="tx2"/>
        </a:buClr>
        <a:buSzPct val="85000"/>
        <a:buFont typeface="Wingdings 2" pitchFamily="18" charset="2"/>
        <a:buChar char="¡"/>
        <a:defRPr lang="en-US" sz="1300" baseline="0" dirty="0" smtClean="0">
          <a:solidFill>
            <a:schemeClr val="tx1"/>
          </a:solidFill>
          <a:latin typeface="+mn-lt"/>
          <a:ea typeface="+mn-ea"/>
          <a:cs typeface="+mn-cs"/>
        </a:defRPr>
      </a:lvl6pPr>
      <a:lvl7pPr marL="1433170" indent="-199447" algn="l" defTabSz="914608" rtl="0" eaLnBrk="1" fontAlgn="base" hangingPunct="1">
        <a:lnSpc>
          <a:spcPct val="110000"/>
        </a:lnSpc>
        <a:spcBef>
          <a:spcPts val="302"/>
        </a:spcBef>
        <a:spcAft>
          <a:spcPct val="0"/>
        </a:spcAft>
        <a:buClr>
          <a:schemeClr val="tx2"/>
        </a:buClr>
        <a:buSzPct val="100000"/>
        <a:buFont typeface="Wingdings" pitchFamily="2" charset="2"/>
        <a:buChar char="w"/>
        <a:defRPr lang="en-US" sz="1300" baseline="0" dirty="0" smtClean="0">
          <a:solidFill>
            <a:schemeClr val="tx1"/>
          </a:solidFill>
          <a:latin typeface="+mn-lt"/>
          <a:ea typeface="+mn-ea"/>
          <a:cs typeface="+mn-cs"/>
        </a:defRPr>
      </a:lvl7pPr>
      <a:lvl8pPr marL="1641165" indent="-207995" algn="l" defTabSz="914608" rtl="0" eaLnBrk="1" fontAlgn="base" hangingPunct="1">
        <a:lnSpc>
          <a:spcPct val="110000"/>
        </a:lnSpc>
        <a:spcBef>
          <a:spcPts val="302"/>
        </a:spcBef>
        <a:spcAft>
          <a:spcPct val="0"/>
        </a:spcAft>
        <a:buClr>
          <a:schemeClr val="tx2"/>
        </a:buClr>
        <a:buSzPct val="80000"/>
        <a:buFont typeface="Wingdings 3" pitchFamily="18" charset="2"/>
        <a:buChar char=""/>
        <a:defRPr lang="en-US" sz="1300" baseline="0" dirty="0" smtClean="0">
          <a:solidFill>
            <a:schemeClr val="tx1"/>
          </a:solidFill>
          <a:latin typeface="+mn-lt"/>
          <a:ea typeface="+mn-ea"/>
          <a:cs typeface="+mn-cs"/>
        </a:defRPr>
      </a:lvl8pPr>
      <a:lvl9pPr marL="1846311" indent="-205146" algn="l" defTabSz="914608" rtl="0" eaLnBrk="1" fontAlgn="base" hangingPunct="1">
        <a:lnSpc>
          <a:spcPct val="110000"/>
        </a:lnSpc>
        <a:spcBef>
          <a:spcPts val="302"/>
        </a:spcBef>
        <a:spcAft>
          <a:spcPct val="0"/>
        </a:spcAft>
        <a:buClr>
          <a:schemeClr val="tx2"/>
        </a:buClr>
        <a:buSzPct val="100000"/>
        <a:buFont typeface="Wingdings 2" pitchFamily="18" charset="2"/>
        <a:buChar char=""/>
        <a:defRPr lang="en-US" sz="1300" baseline="0" dirty="0" smtClean="0">
          <a:solidFill>
            <a:schemeClr val="tx1"/>
          </a:solidFill>
          <a:latin typeface="+mn-lt"/>
          <a:ea typeface="+mn-ea"/>
          <a:cs typeface="+mn-cs"/>
        </a:defRPr>
      </a:lvl9pPr>
    </p:bodyStyle>
    <p:otherStyle>
      <a:defPPr>
        <a:defRPr lang="en-US"/>
      </a:defPPr>
      <a:lvl1pPr marL="0" algn="l" defTabSz="820583" rtl="0" eaLnBrk="1" latinLnBrk="0" hangingPunct="1">
        <a:defRPr sz="1100" kern="1200">
          <a:solidFill>
            <a:schemeClr val="tx1"/>
          </a:solidFill>
          <a:latin typeface="+mn-lt"/>
          <a:ea typeface="+mn-ea"/>
          <a:cs typeface="+mn-cs"/>
        </a:defRPr>
      </a:lvl1pPr>
      <a:lvl2pPr marL="410291" algn="l" defTabSz="820583" rtl="0" eaLnBrk="1" latinLnBrk="0" hangingPunct="1">
        <a:defRPr sz="1100" kern="1200">
          <a:solidFill>
            <a:schemeClr val="tx1"/>
          </a:solidFill>
          <a:latin typeface="+mn-lt"/>
          <a:ea typeface="+mn-ea"/>
          <a:cs typeface="+mn-cs"/>
        </a:defRPr>
      </a:lvl2pPr>
      <a:lvl3pPr marL="820583" algn="l" defTabSz="820583" rtl="0" eaLnBrk="1" latinLnBrk="0" hangingPunct="1">
        <a:defRPr sz="1100" kern="1200">
          <a:solidFill>
            <a:schemeClr val="tx1"/>
          </a:solidFill>
          <a:latin typeface="+mn-lt"/>
          <a:ea typeface="+mn-ea"/>
          <a:cs typeface="+mn-cs"/>
        </a:defRPr>
      </a:lvl3pPr>
      <a:lvl4pPr marL="1230874" algn="l" defTabSz="820583" rtl="0" eaLnBrk="1" latinLnBrk="0" hangingPunct="1">
        <a:defRPr sz="1100" kern="1200">
          <a:solidFill>
            <a:schemeClr val="tx1"/>
          </a:solidFill>
          <a:latin typeface="+mn-lt"/>
          <a:ea typeface="+mn-ea"/>
          <a:cs typeface="+mn-cs"/>
        </a:defRPr>
      </a:lvl4pPr>
      <a:lvl5pPr marL="1641165" algn="l" defTabSz="820583" rtl="0" eaLnBrk="1" latinLnBrk="0" hangingPunct="1">
        <a:defRPr sz="1100" kern="1200">
          <a:solidFill>
            <a:schemeClr val="tx1"/>
          </a:solidFill>
          <a:latin typeface="+mn-lt"/>
          <a:ea typeface="+mn-ea"/>
          <a:cs typeface="+mn-cs"/>
        </a:defRPr>
      </a:lvl5pPr>
      <a:lvl6pPr marL="2051456" algn="l" defTabSz="820583" rtl="0" eaLnBrk="1" latinLnBrk="0" hangingPunct="1">
        <a:defRPr sz="1100" kern="1200">
          <a:solidFill>
            <a:schemeClr val="tx1"/>
          </a:solidFill>
          <a:latin typeface="+mn-lt"/>
          <a:ea typeface="+mn-ea"/>
          <a:cs typeface="+mn-cs"/>
        </a:defRPr>
      </a:lvl6pPr>
      <a:lvl7pPr marL="2461748" algn="l" defTabSz="820583" rtl="0" eaLnBrk="1" latinLnBrk="0" hangingPunct="1">
        <a:defRPr sz="1100" kern="1200">
          <a:solidFill>
            <a:schemeClr val="tx1"/>
          </a:solidFill>
          <a:latin typeface="+mn-lt"/>
          <a:ea typeface="+mn-ea"/>
          <a:cs typeface="+mn-cs"/>
        </a:defRPr>
      </a:lvl7pPr>
      <a:lvl8pPr marL="2872039" algn="l" defTabSz="820583" rtl="0" eaLnBrk="1" latinLnBrk="0" hangingPunct="1">
        <a:defRPr sz="1100" kern="1200">
          <a:solidFill>
            <a:schemeClr val="tx1"/>
          </a:solidFill>
          <a:latin typeface="+mn-lt"/>
          <a:ea typeface="+mn-ea"/>
          <a:cs typeface="+mn-cs"/>
        </a:defRPr>
      </a:lvl8pPr>
      <a:lvl9pPr marL="3282330" algn="l" defTabSz="820583" rtl="0" eaLnBrk="1" latinLnBrk="0" hangingPunct="1">
        <a:defRPr sz="1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3478007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3" name="Object 2"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1"/>
            </p:custDataLst>
          </p:nvPr>
        </p:nvSpPr>
        <p:spPr bwMode="auto">
          <a:xfrm>
            <a:off x="0" y="0"/>
            <a:ext cx="158750" cy="158750"/>
          </a:xfrm>
          <a:prstGeom prst="rect">
            <a:avLst/>
          </a:prstGeom>
          <a:noFill/>
          <a:ln w="952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a:ea typeface="+mj-ea"/>
              <a:cs typeface="Arial" pitchFamily="34" charset="0"/>
              <a:sym typeface="Arial"/>
            </a:endParaRPr>
          </a:p>
        </p:txBody>
      </p:sp>
      <p:sp>
        <p:nvSpPr>
          <p:cNvPr id="4099" name="Rectangle 3"/>
          <p:cNvSpPr>
            <a:spLocks noGrp="1" noChangeArrowheads="1"/>
          </p:cNvSpPr>
          <p:nvPr>
            <p:ph type="body" idx="1"/>
          </p:nvPr>
        </p:nvSpPr>
        <p:spPr bwMode="auto">
          <a:xfrm>
            <a:off x="508000" y="1341439"/>
            <a:ext cx="11176000" cy="4575268"/>
          </a:xfrm>
          <a:prstGeom prst="rect">
            <a:avLst/>
          </a:prstGeom>
          <a:noFill/>
          <a:ln w="9525" algn="ctr">
            <a:noFill/>
            <a:miter lim="800000"/>
            <a:headEnd/>
            <a:tailEnd/>
          </a:ln>
        </p:spPr>
        <p:txBody>
          <a:bodyPr vert="horz" wrap="square" lIns="91440" tIns="41029" rIns="91440" bIns="4102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1" name="Rectangle 7"/>
          <p:cNvSpPr>
            <a:spLocks noChangeArrowheads="1"/>
          </p:cNvSpPr>
          <p:nvPr/>
        </p:nvSpPr>
        <p:spPr bwMode="white">
          <a:xfrm flipV="1">
            <a:off x="0" y="6177243"/>
            <a:ext cx="12192000" cy="684960"/>
          </a:xfrm>
          <a:prstGeom prst="rect">
            <a:avLst/>
          </a:prstGeom>
          <a:solidFill>
            <a:srgbClr val="FFFFFF"/>
          </a:solidFill>
          <a:ln w="19050">
            <a:noFill/>
            <a:miter lim="800000"/>
            <a:headEnd/>
            <a:tailEnd/>
          </a:ln>
          <a:effectLst/>
        </p:spPr>
        <p:txBody>
          <a:bodyPr wrap="none" lIns="82058" tIns="41029" rIns="82058" bIns="41029" anchor="ctr"/>
          <a:lstStyle/>
          <a:p>
            <a:pPr algn="ctr" fontAlgn="base">
              <a:spcBef>
                <a:spcPct val="0"/>
              </a:spcBef>
              <a:spcAft>
                <a:spcPct val="0"/>
              </a:spcAft>
              <a:defRPr/>
            </a:pPr>
            <a:endParaRPr lang="en-US" sz="1300">
              <a:solidFill>
                <a:srgbClr val="000000"/>
              </a:solidFill>
              <a:cs typeface="Arial" charset="0"/>
            </a:endParaRPr>
          </a:p>
        </p:txBody>
      </p:sp>
      <p:sp>
        <p:nvSpPr>
          <p:cNvPr id="4103" name="Rectangle 145"/>
          <p:cNvSpPr>
            <a:spLocks noGrp="1" noChangeArrowheads="1"/>
          </p:cNvSpPr>
          <p:nvPr>
            <p:ph type="title"/>
          </p:nvPr>
        </p:nvSpPr>
        <p:spPr bwMode="auto">
          <a:xfrm>
            <a:off x="508000" y="337075"/>
            <a:ext cx="11047307" cy="470647"/>
          </a:xfrm>
          <a:prstGeom prst="rect">
            <a:avLst/>
          </a:prstGeom>
          <a:noFill/>
          <a:ln w="9525">
            <a:noFill/>
            <a:miter lim="800000"/>
            <a:headEnd/>
            <a:tailEnd/>
          </a:ln>
        </p:spPr>
        <p:txBody>
          <a:bodyPr vert="horz" wrap="square" lIns="91440" tIns="45714" rIns="91440" bIns="45714" numCol="1" anchor="b" anchorCtr="0" compatLnSpc="1">
            <a:prstTxWarp prst="textNoShape">
              <a:avLst/>
            </a:prstTxWarp>
          </a:bodyPr>
          <a:lstStyle/>
          <a:p>
            <a:pPr lvl="0"/>
            <a:r>
              <a:rPr lang="en-US" dirty="0"/>
              <a:t>Click to edit Master title style</a:t>
            </a:r>
          </a:p>
        </p:txBody>
      </p:sp>
      <p:sp>
        <p:nvSpPr>
          <p:cNvPr id="14" name="plhSlideNumber"/>
          <p:cNvSpPr>
            <a:spLocks noGrp="1"/>
          </p:cNvSpPr>
          <p:nvPr>
            <p:ph type="sldNum" sz="quarter" idx="4"/>
          </p:nvPr>
        </p:nvSpPr>
        <p:spPr>
          <a:xfrm>
            <a:off x="8785014" y="6339114"/>
            <a:ext cx="2844031" cy="365592"/>
          </a:xfrm>
          <a:prstGeom prst="rect">
            <a:avLst/>
          </a:prstGeom>
        </p:spPr>
        <p:txBody>
          <a:bodyPr lIns="82058" tIns="41029" rIns="82058" bIns="41029"/>
          <a:lstStyle>
            <a:lvl1pPr algn="r">
              <a:defRPr sz="900">
                <a:solidFill>
                  <a:srgbClr val="4B4B4B"/>
                </a:solidFill>
                <a:latin typeface="+mn-lt"/>
              </a:defRPr>
            </a:lvl1pPr>
          </a:lstStyle>
          <a:p>
            <a:pPr fontAlgn="base">
              <a:spcBef>
                <a:spcPct val="0"/>
              </a:spcBef>
              <a:spcAft>
                <a:spcPct val="0"/>
              </a:spcAft>
            </a:pPr>
            <a:fld id="{E189E361-82B6-4274-A833-6E3626364A67}" type="slidenum">
              <a:rPr lang="en-US" smtClean="0">
                <a:cs typeface="Arial" charset="0"/>
              </a:rPr>
              <a:pPr fontAlgn="base">
                <a:spcBef>
                  <a:spcPct val="0"/>
                </a:spcBef>
                <a:spcAft>
                  <a:spcPct val="0"/>
                </a:spcAft>
              </a:pPr>
              <a:t>‹#›</a:t>
            </a:fld>
            <a:endParaRPr lang="en-US" dirty="0">
              <a:cs typeface="Arial" charset="0"/>
            </a:endParaRPr>
          </a:p>
        </p:txBody>
      </p:sp>
      <p:sp>
        <p:nvSpPr>
          <p:cNvPr id="15" name="shpStamp"/>
          <p:cNvSpPr txBox="1">
            <a:spLocks noChangeArrowheads="1"/>
          </p:cNvSpPr>
          <p:nvPr>
            <p:custDataLst>
              <p:tags r:id="rId12"/>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a:solidFill>
                  <a:srgbClr val="FF0000"/>
                </a:solidFill>
                <a:cs typeface="Arial" charset="0"/>
              </a:rPr>
              <a:t>DRAFT</a:t>
            </a:r>
            <a:endParaRPr lang="en-US" sz="1300" dirty="0">
              <a:solidFill>
                <a:srgbClr val="FF0000"/>
              </a:solidFill>
              <a:cs typeface="Arial" charset="0"/>
            </a:endParaRPr>
          </a:p>
        </p:txBody>
      </p:sp>
      <p:sp>
        <p:nvSpPr>
          <p:cNvPr id="11" name="ClientLogo" hidden="1"/>
          <p:cNvSpPr/>
          <p:nvPr/>
        </p:nvSpPr>
        <p:spPr bwMode="auto">
          <a:xfrm>
            <a:off x="8312733" y="6248849"/>
            <a:ext cx="3048000" cy="484094"/>
          </a:xfrm>
          <a:prstGeom prst="rect">
            <a:avLst/>
          </a:prstGeom>
          <a:solidFill>
            <a:srgbClr val="FEDF87"/>
          </a:solidFill>
          <a:ln w="9525" cap="flat" cmpd="sng" algn="ctr">
            <a:solidFill>
              <a:srgbClr val="FF0000"/>
            </a:solidFill>
            <a:prstDash val="solid"/>
            <a:round/>
            <a:headEnd type="none" w="med" len="med"/>
            <a:tailEnd type="none" w="med" len="med"/>
          </a:ln>
          <a:effectLst/>
        </p:spPr>
        <p:txBody>
          <a:bodyPr vert="horz" wrap="square" lIns="0" tIns="0" rIns="16412" bIns="16412" numCol="1" rtlCol="0" anchor="ctr" anchorCtr="0" compatLnSpc="1">
            <a:prstTxWarp prst="textNoShape">
              <a:avLst/>
            </a:prstTxWarp>
          </a:bodyPr>
          <a:lstStyle/>
          <a:p>
            <a:pPr algn="ctr" defTabSz="820583" fontAlgn="base">
              <a:spcBef>
                <a:spcPct val="0"/>
              </a:spcBef>
              <a:spcAft>
                <a:spcPct val="0"/>
              </a:spcAft>
            </a:pPr>
            <a:r>
              <a:rPr lang="en-US" sz="700" b="1" dirty="0">
                <a:solidFill>
                  <a:srgbClr val="FF0000"/>
                </a:solidFill>
                <a:cs typeface="Arial" pitchFamily="34" charset="0"/>
              </a:rPr>
              <a:t>PresBuilder  Client Logo Placeholder </a:t>
            </a:r>
            <a:r>
              <a:rPr lang="en-US" sz="700" dirty="0">
                <a:solidFill>
                  <a:srgbClr val="FF0000"/>
                </a:solidFill>
                <a:cs typeface="Arial" pitchFamily="34" charset="0"/>
              </a:rPr>
              <a:t>– </a:t>
            </a:r>
            <a:br>
              <a:rPr lang="en-US" sz="700" dirty="0">
                <a:solidFill>
                  <a:srgbClr val="FF0000"/>
                </a:solidFill>
                <a:cs typeface="Arial" pitchFamily="34" charset="0"/>
              </a:rPr>
            </a:br>
            <a:r>
              <a:rPr lang="en-US" sz="700" dirty="0">
                <a:solidFill>
                  <a:srgbClr val="FF0000"/>
                </a:solidFill>
                <a:cs typeface="Arial" pitchFamily="34" charset="0"/>
              </a:rPr>
              <a:t>Delete this box if you see it on a slide, but DO NOT REMOVE this box from the slide layout. </a:t>
            </a:r>
          </a:p>
        </p:txBody>
      </p:sp>
      <p:pic>
        <p:nvPicPr>
          <p:cNvPr id="16" name="Picture 7" descr="ppt_int_gradient_top_v2"/>
          <p:cNvPicPr>
            <a:picLocks noChangeAspect="1" noChangeArrowheads="1"/>
          </p:cNvPicPr>
          <p:nvPr/>
        </p:nvPicPr>
        <p:blipFill>
          <a:blip r:embed="rId15" cstate="print"/>
          <a:srcRect/>
          <a:stretch>
            <a:fillRect/>
          </a:stretch>
        </p:blipFill>
        <p:spPr bwMode="auto">
          <a:xfrm>
            <a:off x="0" y="6553200"/>
            <a:ext cx="12192000" cy="304800"/>
          </a:xfrm>
          <a:prstGeom prst="rect">
            <a:avLst/>
          </a:prstGeom>
          <a:noFill/>
          <a:ln w="9525">
            <a:noFill/>
            <a:miter lim="800000"/>
            <a:headEnd/>
            <a:tailEnd/>
          </a:ln>
        </p:spPr>
      </p:pic>
      <p:pic>
        <p:nvPicPr>
          <p:cNvPr id="17" name="Picture 12" descr="ppt_cvr_logo_v3"/>
          <p:cNvPicPr>
            <a:picLocks noChangeAspect="1" noChangeArrowheads="1"/>
          </p:cNvPicPr>
          <p:nvPr/>
        </p:nvPicPr>
        <p:blipFill>
          <a:blip r:embed="rId16" cstate="print"/>
          <a:srcRect/>
          <a:stretch>
            <a:fillRect/>
          </a:stretch>
        </p:blipFill>
        <p:spPr bwMode="auto">
          <a:xfrm>
            <a:off x="514773" y="5999164"/>
            <a:ext cx="2133600" cy="566737"/>
          </a:xfrm>
          <a:prstGeom prst="rect">
            <a:avLst/>
          </a:prstGeom>
          <a:noFill/>
          <a:ln w="9525">
            <a:noFill/>
            <a:miter lim="800000"/>
            <a:headEnd/>
            <a:tailEnd/>
          </a:ln>
        </p:spPr>
      </p:pic>
    </p:spTree>
    <p:extLst>
      <p:ext uri="{BB962C8B-B14F-4D97-AF65-F5344CB8AC3E}">
        <p14:creationId xmlns:p14="http://schemas.microsoft.com/office/powerpoint/2010/main" val="923276517"/>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Lst>
  <p:hf hdr="0" dt="0"/>
  <p:txStyles>
    <p:titleStyle>
      <a:lvl1pPr algn="l" defTabSz="914608" rtl="0" eaLnBrk="1" fontAlgn="base" hangingPunct="1">
        <a:lnSpc>
          <a:spcPct val="80000"/>
        </a:lnSpc>
        <a:spcBef>
          <a:spcPct val="0"/>
        </a:spcBef>
        <a:spcAft>
          <a:spcPct val="0"/>
        </a:spcAft>
        <a:defRPr sz="2400">
          <a:solidFill>
            <a:srgbClr val="7E8083"/>
          </a:solidFill>
          <a:latin typeface="+mj-lt"/>
          <a:ea typeface="+mj-ea"/>
          <a:cs typeface="Calibri" pitchFamily="34" charset="0"/>
        </a:defRPr>
      </a:lvl1pPr>
      <a:lvl2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2pPr>
      <a:lvl3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3pPr>
      <a:lvl4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4pPr>
      <a:lvl5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5pPr>
      <a:lvl6pPr marL="410291"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6pPr>
      <a:lvl7pPr marL="820583"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7pPr>
      <a:lvl8pPr marL="1230874"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8pPr>
      <a:lvl9pPr marL="1641165"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9pPr>
    </p:titleStyle>
    <p:bodyStyle>
      <a:lvl1pPr marL="205146" indent="-205146" algn="l" defTabSz="914608" rtl="0" eaLnBrk="1" fontAlgn="base" hangingPunct="1">
        <a:lnSpc>
          <a:spcPct val="110000"/>
        </a:lnSpc>
        <a:spcBef>
          <a:spcPts val="905"/>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1pPr>
      <a:lvl2pPr marL="410291" indent="-203721" algn="l" defTabSz="914608" rtl="0" eaLnBrk="1" fontAlgn="base" hangingPunct="1">
        <a:lnSpc>
          <a:spcPct val="110000"/>
        </a:lnSpc>
        <a:spcBef>
          <a:spcPts val="302"/>
        </a:spcBef>
        <a:spcAft>
          <a:spcPct val="0"/>
        </a:spcAft>
        <a:buClr>
          <a:srgbClr val="CE361D"/>
        </a:buClr>
        <a:buSzPct val="85000"/>
        <a:buFont typeface="Wingdings 2" pitchFamily="18" charset="2"/>
        <a:buChar char=""/>
        <a:defRPr lang="en-US" sz="1300" dirty="0" smtClean="0">
          <a:solidFill>
            <a:srgbClr val="4B4B4B"/>
          </a:solidFill>
          <a:latin typeface="+mn-lt"/>
          <a:ea typeface="+mn-ea"/>
          <a:cs typeface="Calibri" pitchFamily="34" charset="0"/>
        </a:defRPr>
      </a:lvl2pPr>
      <a:lvl3pPr marL="615437" indent="-203721" algn="l" defTabSz="914608" rtl="0" eaLnBrk="1" fontAlgn="base" hangingPunct="1">
        <a:lnSpc>
          <a:spcPct val="110000"/>
        </a:lnSpc>
        <a:spcBef>
          <a:spcPts val="302"/>
        </a:spcBef>
        <a:spcAft>
          <a:spcPct val="0"/>
        </a:spcAft>
        <a:buClr>
          <a:srgbClr val="CE361D"/>
        </a:buClr>
        <a:buSzPct val="100000"/>
        <a:buFont typeface="Wingdings" pitchFamily="2" charset="2"/>
        <a:buChar char=""/>
        <a:defRPr lang="en-US" sz="1300" dirty="0" smtClean="0">
          <a:solidFill>
            <a:srgbClr val="4B4B4B"/>
          </a:solidFill>
          <a:latin typeface="+mn-lt"/>
          <a:ea typeface="+mn-ea"/>
          <a:cs typeface="Calibri" pitchFamily="34" charset="0"/>
        </a:defRPr>
      </a:lvl3pPr>
      <a:lvl4pPr marL="819158" indent="-202296" algn="l" defTabSz="914608" rtl="0" eaLnBrk="1" fontAlgn="base" hangingPunct="1">
        <a:lnSpc>
          <a:spcPct val="110000"/>
        </a:lnSpc>
        <a:spcBef>
          <a:spcPts val="302"/>
        </a:spcBef>
        <a:spcAft>
          <a:spcPct val="0"/>
        </a:spcAft>
        <a:buClr>
          <a:srgbClr val="CE361D"/>
        </a:buClr>
        <a:buSzPct val="80000"/>
        <a:buFont typeface="Wingdings 3" pitchFamily="18" charset="2"/>
        <a:buChar char=""/>
        <a:defRPr lang="en-US" sz="1300" dirty="0" smtClean="0">
          <a:solidFill>
            <a:srgbClr val="4B4B4B"/>
          </a:solidFill>
          <a:latin typeface="+mn-lt"/>
          <a:ea typeface="+mn-ea"/>
          <a:cs typeface="Calibri" pitchFamily="34" charset="0"/>
        </a:defRPr>
      </a:lvl4pPr>
      <a:lvl5pPr marL="1025728" indent="-205146" algn="l" defTabSz="914608" rtl="0" eaLnBrk="1" fontAlgn="base" hangingPunct="1">
        <a:lnSpc>
          <a:spcPct val="110000"/>
        </a:lnSpc>
        <a:spcBef>
          <a:spcPts val="302"/>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5pPr>
      <a:lvl6pPr marL="1233723" indent="-205146" algn="l" defTabSz="914608" rtl="0" eaLnBrk="1" fontAlgn="base" hangingPunct="1">
        <a:lnSpc>
          <a:spcPct val="110000"/>
        </a:lnSpc>
        <a:spcBef>
          <a:spcPts val="302"/>
        </a:spcBef>
        <a:spcAft>
          <a:spcPct val="0"/>
        </a:spcAft>
        <a:buClr>
          <a:schemeClr val="tx2"/>
        </a:buClr>
        <a:buSzPct val="85000"/>
        <a:buFont typeface="Wingdings 2" pitchFamily="18" charset="2"/>
        <a:buChar char="¡"/>
        <a:defRPr lang="en-US" sz="1300" baseline="0" dirty="0" smtClean="0">
          <a:solidFill>
            <a:schemeClr val="tx1"/>
          </a:solidFill>
          <a:latin typeface="+mn-lt"/>
          <a:ea typeface="+mn-ea"/>
          <a:cs typeface="+mn-cs"/>
        </a:defRPr>
      </a:lvl6pPr>
      <a:lvl7pPr marL="1433170" indent="-199447" algn="l" defTabSz="914608" rtl="0" eaLnBrk="1" fontAlgn="base" hangingPunct="1">
        <a:lnSpc>
          <a:spcPct val="110000"/>
        </a:lnSpc>
        <a:spcBef>
          <a:spcPts val="302"/>
        </a:spcBef>
        <a:spcAft>
          <a:spcPct val="0"/>
        </a:spcAft>
        <a:buClr>
          <a:schemeClr val="tx2"/>
        </a:buClr>
        <a:buSzPct val="100000"/>
        <a:buFont typeface="Wingdings" pitchFamily="2" charset="2"/>
        <a:buChar char="w"/>
        <a:defRPr lang="en-US" sz="1300" baseline="0" dirty="0" smtClean="0">
          <a:solidFill>
            <a:schemeClr val="tx1"/>
          </a:solidFill>
          <a:latin typeface="+mn-lt"/>
          <a:ea typeface="+mn-ea"/>
          <a:cs typeface="+mn-cs"/>
        </a:defRPr>
      </a:lvl7pPr>
      <a:lvl8pPr marL="1641165" indent="-207995" algn="l" defTabSz="914608" rtl="0" eaLnBrk="1" fontAlgn="base" hangingPunct="1">
        <a:lnSpc>
          <a:spcPct val="110000"/>
        </a:lnSpc>
        <a:spcBef>
          <a:spcPts val="302"/>
        </a:spcBef>
        <a:spcAft>
          <a:spcPct val="0"/>
        </a:spcAft>
        <a:buClr>
          <a:schemeClr val="tx2"/>
        </a:buClr>
        <a:buSzPct val="80000"/>
        <a:buFont typeface="Wingdings 3" pitchFamily="18" charset="2"/>
        <a:buChar char=""/>
        <a:defRPr lang="en-US" sz="1300" baseline="0" dirty="0" smtClean="0">
          <a:solidFill>
            <a:schemeClr val="tx1"/>
          </a:solidFill>
          <a:latin typeface="+mn-lt"/>
          <a:ea typeface="+mn-ea"/>
          <a:cs typeface="+mn-cs"/>
        </a:defRPr>
      </a:lvl8pPr>
      <a:lvl9pPr marL="1846311" indent="-205146" algn="l" defTabSz="914608" rtl="0" eaLnBrk="1" fontAlgn="base" hangingPunct="1">
        <a:lnSpc>
          <a:spcPct val="110000"/>
        </a:lnSpc>
        <a:spcBef>
          <a:spcPts val="302"/>
        </a:spcBef>
        <a:spcAft>
          <a:spcPct val="0"/>
        </a:spcAft>
        <a:buClr>
          <a:schemeClr val="tx2"/>
        </a:buClr>
        <a:buSzPct val="100000"/>
        <a:buFont typeface="Wingdings 2" pitchFamily="18" charset="2"/>
        <a:buChar char=""/>
        <a:defRPr lang="en-US" sz="1300" baseline="0" dirty="0" smtClean="0">
          <a:solidFill>
            <a:schemeClr val="tx1"/>
          </a:solidFill>
          <a:latin typeface="+mn-lt"/>
          <a:ea typeface="+mn-ea"/>
          <a:cs typeface="+mn-cs"/>
        </a:defRPr>
      </a:lvl9pPr>
    </p:bodyStyle>
    <p:otherStyle>
      <a:defPPr>
        <a:defRPr lang="en-US"/>
      </a:defPPr>
      <a:lvl1pPr marL="0" algn="l" defTabSz="820583" rtl="0" eaLnBrk="1" latinLnBrk="0" hangingPunct="1">
        <a:defRPr sz="1100" kern="1200">
          <a:solidFill>
            <a:schemeClr val="tx1"/>
          </a:solidFill>
          <a:latin typeface="+mn-lt"/>
          <a:ea typeface="+mn-ea"/>
          <a:cs typeface="+mn-cs"/>
        </a:defRPr>
      </a:lvl1pPr>
      <a:lvl2pPr marL="410291" algn="l" defTabSz="820583" rtl="0" eaLnBrk="1" latinLnBrk="0" hangingPunct="1">
        <a:defRPr sz="1100" kern="1200">
          <a:solidFill>
            <a:schemeClr val="tx1"/>
          </a:solidFill>
          <a:latin typeface="+mn-lt"/>
          <a:ea typeface="+mn-ea"/>
          <a:cs typeface="+mn-cs"/>
        </a:defRPr>
      </a:lvl2pPr>
      <a:lvl3pPr marL="820583" algn="l" defTabSz="820583" rtl="0" eaLnBrk="1" latinLnBrk="0" hangingPunct="1">
        <a:defRPr sz="1100" kern="1200">
          <a:solidFill>
            <a:schemeClr val="tx1"/>
          </a:solidFill>
          <a:latin typeface="+mn-lt"/>
          <a:ea typeface="+mn-ea"/>
          <a:cs typeface="+mn-cs"/>
        </a:defRPr>
      </a:lvl3pPr>
      <a:lvl4pPr marL="1230874" algn="l" defTabSz="820583" rtl="0" eaLnBrk="1" latinLnBrk="0" hangingPunct="1">
        <a:defRPr sz="1100" kern="1200">
          <a:solidFill>
            <a:schemeClr val="tx1"/>
          </a:solidFill>
          <a:latin typeface="+mn-lt"/>
          <a:ea typeface="+mn-ea"/>
          <a:cs typeface="+mn-cs"/>
        </a:defRPr>
      </a:lvl4pPr>
      <a:lvl5pPr marL="1641165" algn="l" defTabSz="820583" rtl="0" eaLnBrk="1" latinLnBrk="0" hangingPunct="1">
        <a:defRPr sz="1100" kern="1200">
          <a:solidFill>
            <a:schemeClr val="tx1"/>
          </a:solidFill>
          <a:latin typeface="+mn-lt"/>
          <a:ea typeface="+mn-ea"/>
          <a:cs typeface="+mn-cs"/>
        </a:defRPr>
      </a:lvl5pPr>
      <a:lvl6pPr marL="2051456" algn="l" defTabSz="820583" rtl="0" eaLnBrk="1" latinLnBrk="0" hangingPunct="1">
        <a:defRPr sz="1100" kern="1200">
          <a:solidFill>
            <a:schemeClr val="tx1"/>
          </a:solidFill>
          <a:latin typeface="+mn-lt"/>
          <a:ea typeface="+mn-ea"/>
          <a:cs typeface="+mn-cs"/>
        </a:defRPr>
      </a:lvl6pPr>
      <a:lvl7pPr marL="2461748" algn="l" defTabSz="820583" rtl="0" eaLnBrk="1" latinLnBrk="0" hangingPunct="1">
        <a:defRPr sz="1100" kern="1200">
          <a:solidFill>
            <a:schemeClr val="tx1"/>
          </a:solidFill>
          <a:latin typeface="+mn-lt"/>
          <a:ea typeface="+mn-ea"/>
          <a:cs typeface="+mn-cs"/>
        </a:defRPr>
      </a:lvl7pPr>
      <a:lvl8pPr marL="2872039" algn="l" defTabSz="820583" rtl="0" eaLnBrk="1" latinLnBrk="0" hangingPunct="1">
        <a:defRPr sz="1100" kern="1200">
          <a:solidFill>
            <a:schemeClr val="tx1"/>
          </a:solidFill>
          <a:latin typeface="+mn-lt"/>
          <a:ea typeface="+mn-ea"/>
          <a:cs typeface="+mn-cs"/>
        </a:defRPr>
      </a:lvl8pPr>
      <a:lvl9pPr marL="3282330" algn="l" defTabSz="820583" rtl="0" eaLnBrk="1" latinLnBrk="0" hangingPunct="1">
        <a:defRPr sz="11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12696761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3" name="Object 2"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1"/>
            </p:custDataLst>
          </p:nvPr>
        </p:nvSpPr>
        <p:spPr bwMode="auto">
          <a:xfrm>
            <a:off x="0" y="0"/>
            <a:ext cx="158750" cy="158750"/>
          </a:xfrm>
          <a:prstGeom prst="rect">
            <a:avLst/>
          </a:prstGeom>
          <a:noFill/>
          <a:ln w="952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a:ea typeface="+mj-ea"/>
              <a:cs typeface="Arial" pitchFamily="34" charset="0"/>
              <a:sym typeface="Arial"/>
            </a:endParaRPr>
          </a:p>
        </p:txBody>
      </p:sp>
      <p:sp>
        <p:nvSpPr>
          <p:cNvPr id="4099" name="Rectangle 3"/>
          <p:cNvSpPr>
            <a:spLocks noGrp="1" noChangeArrowheads="1"/>
          </p:cNvSpPr>
          <p:nvPr>
            <p:ph type="body" idx="1"/>
          </p:nvPr>
        </p:nvSpPr>
        <p:spPr bwMode="auto">
          <a:xfrm>
            <a:off x="508000" y="1341439"/>
            <a:ext cx="11176000" cy="4575268"/>
          </a:xfrm>
          <a:prstGeom prst="rect">
            <a:avLst/>
          </a:prstGeom>
          <a:noFill/>
          <a:ln w="9525" algn="ctr">
            <a:noFill/>
            <a:miter lim="800000"/>
            <a:headEnd/>
            <a:tailEnd/>
          </a:ln>
        </p:spPr>
        <p:txBody>
          <a:bodyPr vert="horz" wrap="square" lIns="91440" tIns="41029" rIns="91440" bIns="4102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1" name="Rectangle 7"/>
          <p:cNvSpPr>
            <a:spLocks noChangeArrowheads="1"/>
          </p:cNvSpPr>
          <p:nvPr/>
        </p:nvSpPr>
        <p:spPr bwMode="white">
          <a:xfrm flipV="1">
            <a:off x="0" y="6177243"/>
            <a:ext cx="12192000" cy="684960"/>
          </a:xfrm>
          <a:prstGeom prst="rect">
            <a:avLst/>
          </a:prstGeom>
          <a:solidFill>
            <a:srgbClr val="FFFFFF"/>
          </a:solidFill>
          <a:ln w="19050">
            <a:noFill/>
            <a:miter lim="800000"/>
            <a:headEnd/>
            <a:tailEnd/>
          </a:ln>
          <a:effectLst/>
        </p:spPr>
        <p:txBody>
          <a:bodyPr wrap="none" lIns="82058" tIns="41029" rIns="82058" bIns="41029" anchor="ctr"/>
          <a:lstStyle/>
          <a:p>
            <a:pPr algn="ctr" fontAlgn="base">
              <a:spcBef>
                <a:spcPct val="0"/>
              </a:spcBef>
              <a:spcAft>
                <a:spcPct val="0"/>
              </a:spcAft>
              <a:defRPr/>
            </a:pPr>
            <a:endParaRPr lang="en-US" sz="1300">
              <a:solidFill>
                <a:srgbClr val="000000"/>
              </a:solidFill>
              <a:cs typeface="Arial" charset="0"/>
            </a:endParaRPr>
          </a:p>
        </p:txBody>
      </p:sp>
      <p:sp>
        <p:nvSpPr>
          <p:cNvPr id="4103" name="Rectangle 145"/>
          <p:cNvSpPr>
            <a:spLocks noGrp="1" noChangeArrowheads="1"/>
          </p:cNvSpPr>
          <p:nvPr>
            <p:ph type="title"/>
          </p:nvPr>
        </p:nvSpPr>
        <p:spPr bwMode="auto">
          <a:xfrm>
            <a:off x="508000" y="337075"/>
            <a:ext cx="11047307" cy="470647"/>
          </a:xfrm>
          <a:prstGeom prst="rect">
            <a:avLst/>
          </a:prstGeom>
          <a:noFill/>
          <a:ln w="9525">
            <a:noFill/>
            <a:miter lim="800000"/>
            <a:headEnd/>
            <a:tailEnd/>
          </a:ln>
        </p:spPr>
        <p:txBody>
          <a:bodyPr vert="horz" wrap="square" lIns="91440" tIns="45714" rIns="91440" bIns="45714" numCol="1" anchor="b" anchorCtr="0" compatLnSpc="1">
            <a:prstTxWarp prst="textNoShape">
              <a:avLst/>
            </a:prstTxWarp>
          </a:bodyPr>
          <a:lstStyle/>
          <a:p>
            <a:pPr lvl="0"/>
            <a:r>
              <a:rPr lang="en-US" dirty="0"/>
              <a:t>Click to edit Master title style</a:t>
            </a:r>
          </a:p>
        </p:txBody>
      </p:sp>
      <p:sp>
        <p:nvSpPr>
          <p:cNvPr id="14" name="plhSlideNumber"/>
          <p:cNvSpPr>
            <a:spLocks noGrp="1"/>
          </p:cNvSpPr>
          <p:nvPr>
            <p:ph type="sldNum" sz="quarter" idx="4"/>
          </p:nvPr>
        </p:nvSpPr>
        <p:spPr>
          <a:xfrm>
            <a:off x="8785014" y="6339114"/>
            <a:ext cx="2844031" cy="365592"/>
          </a:xfrm>
          <a:prstGeom prst="rect">
            <a:avLst/>
          </a:prstGeom>
        </p:spPr>
        <p:txBody>
          <a:bodyPr lIns="82058" tIns="41029" rIns="82058" bIns="41029"/>
          <a:lstStyle>
            <a:lvl1pPr algn="r">
              <a:defRPr sz="900">
                <a:solidFill>
                  <a:srgbClr val="4B4B4B"/>
                </a:solidFill>
                <a:latin typeface="+mn-lt"/>
              </a:defRPr>
            </a:lvl1pPr>
          </a:lstStyle>
          <a:p>
            <a:pPr fontAlgn="base">
              <a:spcBef>
                <a:spcPct val="0"/>
              </a:spcBef>
              <a:spcAft>
                <a:spcPct val="0"/>
              </a:spcAft>
            </a:pPr>
            <a:fld id="{E189E361-82B6-4274-A833-6E3626364A67}" type="slidenum">
              <a:rPr lang="en-US" smtClean="0">
                <a:cs typeface="Arial" charset="0"/>
              </a:rPr>
              <a:pPr fontAlgn="base">
                <a:spcBef>
                  <a:spcPct val="0"/>
                </a:spcBef>
                <a:spcAft>
                  <a:spcPct val="0"/>
                </a:spcAft>
              </a:pPr>
              <a:t>‹#›</a:t>
            </a:fld>
            <a:endParaRPr lang="en-US" dirty="0">
              <a:cs typeface="Arial" charset="0"/>
            </a:endParaRPr>
          </a:p>
        </p:txBody>
      </p:sp>
      <p:sp>
        <p:nvSpPr>
          <p:cNvPr id="15" name="shpStamp"/>
          <p:cNvSpPr txBox="1">
            <a:spLocks noChangeArrowheads="1"/>
          </p:cNvSpPr>
          <p:nvPr>
            <p:custDataLst>
              <p:tags r:id="rId12"/>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a:solidFill>
                  <a:srgbClr val="FF0000"/>
                </a:solidFill>
                <a:cs typeface="Arial" charset="0"/>
              </a:rPr>
              <a:t>DRAFT</a:t>
            </a:r>
            <a:endParaRPr lang="en-US" sz="1300" dirty="0">
              <a:solidFill>
                <a:srgbClr val="FF0000"/>
              </a:solidFill>
              <a:cs typeface="Arial" charset="0"/>
            </a:endParaRPr>
          </a:p>
        </p:txBody>
      </p:sp>
      <p:sp>
        <p:nvSpPr>
          <p:cNvPr id="11" name="ClientLogo" hidden="1"/>
          <p:cNvSpPr/>
          <p:nvPr/>
        </p:nvSpPr>
        <p:spPr bwMode="auto">
          <a:xfrm>
            <a:off x="8312733" y="6248849"/>
            <a:ext cx="3048000" cy="484094"/>
          </a:xfrm>
          <a:prstGeom prst="rect">
            <a:avLst/>
          </a:prstGeom>
          <a:solidFill>
            <a:srgbClr val="FEDF87"/>
          </a:solidFill>
          <a:ln w="9525" cap="flat" cmpd="sng" algn="ctr">
            <a:solidFill>
              <a:srgbClr val="FF0000"/>
            </a:solidFill>
            <a:prstDash val="solid"/>
            <a:round/>
            <a:headEnd type="none" w="med" len="med"/>
            <a:tailEnd type="none" w="med" len="med"/>
          </a:ln>
          <a:effectLst/>
        </p:spPr>
        <p:txBody>
          <a:bodyPr vert="horz" wrap="square" lIns="0" tIns="0" rIns="16412" bIns="16412" numCol="1" rtlCol="0" anchor="ctr" anchorCtr="0" compatLnSpc="1">
            <a:prstTxWarp prst="textNoShape">
              <a:avLst/>
            </a:prstTxWarp>
          </a:bodyPr>
          <a:lstStyle/>
          <a:p>
            <a:pPr algn="ctr" defTabSz="820583" fontAlgn="base">
              <a:spcBef>
                <a:spcPct val="0"/>
              </a:spcBef>
              <a:spcAft>
                <a:spcPct val="0"/>
              </a:spcAft>
            </a:pPr>
            <a:r>
              <a:rPr lang="en-US" sz="700" b="1" dirty="0">
                <a:solidFill>
                  <a:srgbClr val="FF0000"/>
                </a:solidFill>
                <a:cs typeface="Arial" pitchFamily="34" charset="0"/>
              </a:rPr>
              <a:t>PresBuilder  Client Logo Placeholder </a:t>
            </a:r>
            <a:r>
              <a:rPr lang="en-US" sz="700" dirty="0">
                <a:solidFill>
                  <a:srgbClr val="FF0000"/>
                </a:solidFill>
                <a:cs typeface="Arial" pitchFamily="34" charset="0"/>
              </a:rPr>
              <a:t>– </a:t>
            </a:r>
            <a:br>
              <a:rPr lang="en-US" sz="700" dirty="0">
                <a:solidFill>
                  <a:srgbClr val="FF0000"/>
                </a:solidFill>
                <a:cs typeface="Arial" pitchFamily="34" charset="0"/>
              </a:rPr>
            </a:br>
            <a:r>
              <a:rPr lang="en-US" sz="700" dirty="0">
                <a:solidFill>
                  <a:srgbClr val="FF0000"/>
                </a:solidFill>
                <a:cs typeface="Arial" pitchFamily="34" charset="0"/>
              </a:rPr>
              <a:t>Delete this box if you see it on a slide, but DO NOT REMOVE this box from the slide layout. </a:t>
            </a:r>
          </a:p>
        </p:txBody>
      </p:sp>
      <p:pic>
        <p:nvPicPr>
          <p:cNvPr id="16" name="Picture 7" descr="ppt_int_gradient_top_v2"/>
          <p:cNvPicPr>
            <a:picLocks noChangeAspect="1" noChangeArrowheads="1"/>
          </p:cNvPicPr>
          <p:nvPr/>
        </p:nvPicPr>
        <p:blipFill>
          <a:blip r:embed="rId15" cstate="print"/>
          <a:srcRect/>
          <a:stretch>
            <a:fillRect/>
          </a:stretch>
        </p:blipFill>
        <p:spPr bwMode="auto">
          <a:xfrm>
            <a:off x="0" y="6553200"/>
            <a:ext cx="12192000" cy="304800"/>
          </a:xfrm>
          <a:prstGeom prst="rect">
            <a:avLst/>
          </a:prstGeom>
          <a:noFill/>
          <a:ln w="9525">
            <a:noFill/>
            <a:miter lim="800000"/>
            <a:headEnd/>
            <a:tailEnd/>
          </a:ln>
        </p:spPr>
      </p:pic>
      <p:pic>
        <p:nvPicPr>
          <p:cNvPr id="17" name="Picture 12" descr="ppt_cvr_logo_v3"/>
          <p:cNvPicPr>
            <a:picLocks noChangeAspect="1" noChangeArrowheads="1"/>
          </p:cNvPicPr>
          <p:nvPr/>
        </p:nvPicPr>
        <p:blipFill>
          <a:blip r:embed="rId16" cstate="print"/>
          <a:srcRect/>
          <a:stretch>
            <a:fillRect/>
          </a:stretch>
        </p:blipFill>
        <p:spPr bwMode="auto">
          <a:xfrm>
            <a:off x="514773" y="5999164"/>
            <a:ext cx="2133600" cy="566737"/>
          </a:xfrm>
          <a:prstGeom prst="rect">
            <a:avLst/>
          </a:prstGeom>
          <a:noFill/>
          <a:ln w="9525">
            <a:noFill/>
            <a:miter lim="800000"/>
            <a:headEnd/>
            <a:tailEnd/>
          </a:ln>
        </p:spPr>
      </p:pic>
    </p:spTree>
    <p:extLst>
      <p:ext uri="{BB962C8B-B14F-4D97-AF65-F5344CB8AC3E}">
        <p14:creationId xmlns:p14="http://schemas.microsoft.com/office/powerpoint/2010/main" val="2192292423"/>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Lst>
  <p:hf hdr="0" dt="0"/>
  <p:txStyles>
    <p:titleStyle>
      <a:lvl1pPr algn="l" defTabSz="914608" rtl="0" eaLnBrk="1" fontAlgn="base" hangingPunct="1">
        <a:lnSpc>
          <a:spcPct val="80000"/>
        </a:lnSpc>
        <a:spcBef>
          <a:spcPct val="0"/>
        </a:spcBef>
        <a:spcAft>
          <a:spcPct val="0"/>
        </a:spcAft>
        <a:defRPr sz="2400">
          <a:solidFill>
            <a:srgbClr val="7E8083"/>
          </a:solidFill>
          <a:latin typeface="+mj-lt"/>
          <a:ea typeface="+mj-ea"/>
          <a:cs typeface="Calibri" pitchFamily="34" charset="0"/>
        </a:defRPr>
      </a:lvl1pPr>
      <a:lvl2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2pPr>
      <a:lvl3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3pPr>
      <a:lvl4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4pPr>
      <a:lvl5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5pPr>
      <a:lvl6pPr marL="410291"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6pPr>
      <a:lvl7pPr marL="820583"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7pPr>
      <a:lvl8pPr marL="1230874"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8pPr>
      <a:lvl9pPr marL="1641165"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9pPr>
    </p:titleStyle>
    <p:bodyStyle>
      <a:lvl1pPr marL="205146" indent="-205146" algn="l" defTabSz="914608" rtl="0" eaLnBrk="1" fontAlgn="base" hangingPunct="1">
        <a:lnSpc>
          <a:spcPct val="110000"/>
        </a:lnSpc>
        <a:spcBef>
          <a:spcPts val="905"/>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1pPr>
      <a:lvl2pPr marL="410291" indent="-203721" algn="l" defTabSz="914608" rtl="0" eaLnBrk="1" fontAlgn="base" hangingPunct="1">
        <a:lnSpc>
          <a:spcPct val="110000"/>
        </a:lnSpc>
        <a:spcBef>
          <a:spcPts val="302"/>
        </a:spcBef>
        <a:spcAft>
          <a:spcPct val="0"/>
        </a:spcAft>
        <a:buClr>
          <a:srgbClr val="CE361D"/>
        </a:buClr>
        <a:buSzPct val="85000"/>
        <a:buFont typeface="Wingdings 2" pitchFamily="18" charset="2"/>
        <a:buChar char=""/>
        <a:defRPr lang="en-US" sz="1300" dirty="0" smtClean="0">
          <a:solidFill>
            <a:srgbClr val="4B4B4B"/>
          </a:solidFill>
          <a:latin typeface="+mn-lt"/>
          <a:ea typeface="+mn-ea"/>
          <a:cs typeface="Calibri" pitchFamily="34" charset="0"/>
        </a:defRPr>
      </a:lvl2pPr>
      <a:lvl3pPr marL="615437" indent="-203721" algn="l" defTabSz="914608" rtl="0" eaLnBrk="1" fontAlgn="base" hangingPunct="1">
        <a:lnSpc>
          <a:spcPct val="110000"/>
        </a:lnSpc>
        <a:spcBef>
          <a:spcPts val="302"/>
        </a:spcBef>
        <a:spcAft>
          <a:spcPct val="0"/>
        </a:spcAft>
        <a:buClr>
          <a:srgbClr val="CE361D"/>
        </a:buClr>
        <a:buSzPct val="100000"/>
        <a:buFont typeface="Wingdings" pitchFamily="2" charset="2"/>
        <a:buChar char=""/>
        <a:defRPr lang="en-US" sz="1300" dirty="0" smtClean="0">
          <a:solidFill>
            <a:srgbClr val="4B4B4B"/>
          </a:solidFill>
          <a:latin typeface="+mn-lt"/>
          <a:ea typeface="+mn-ea"/>
          <a:cs typeface="Calibri" pitchFamily="34" charset="0"/>
        </a:defRPr>
      </a:lvl3pPr>
      <a:lvl4pPr marL="819158" indent="-202296" algn="l" defTabSz="914608" rtl="0" eaLnBrk="1" fontAlgn="base" hangingPunct="1">
        <a:lnSpc>
          <a:spcPct val="110000"/>
        </a:lnSpc>
        <a:spcBef>
          <a:spcPts val="302"/>
        </a:spcBef>
        <a:spcAft>
          <a:spcPct val="0"/>
        </a:spcAft>
        <a:buClr>
          <a:srgbClr val="CE361D"/>
        </a:buClr>
        <a:buSzPct val="80000"/>
        <a:buFont typeface="Wingdings 3" pitchFamily="18" charset="2"/>
        <a:buChar char=""/>
        <a:defRPr lang="en-US" sz="1300" dirty="0" smtClean="0">
          <a:solidFill>
            <a:srgbClr val="4B4B4B"/>
          </a:solidFill>
          <a:latin typeface="+mn-lt"/>
          <a:ea typeface="+mn-ea"/>
          <a:cs typeface="Calibri" pitchFamily="34" charset="0"/>
        </a:defRPr>
      </a:lvl4pPr>
      <a:lvl5pPr marL="1025728" indent="-205146" algn="l" defTabSz="914608" rtl="0" eaLnBrk="1" fontAlgn="base" hangingPunct="1">
        <a:lnSpc>
          <a:spcPct val="110000"/>
        </a:lnSpc>
        <a:spcBef>
          <a:spcPts val="302"/>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5pPr>
      <a:lvl6pPr marL="1233723" indent="-205146" algn="l" defTabSz="914608" rtl="0" eaLnBrk="1" fontAlgn="base" hangingPunct="1">
        <a:lnSpc>
          <a:spcPct val="110000"/>
        </a:lnSpc>
        <a:spcBef>
          <a:spcPts val="302"/>
        </a:spcBef>
        <a:spcAft>
          <a:spcPct val="0"/>
        </a:spcAft>
        <a:buClr>
          <a:schemeClr val="tx2"/>
        </a:buClr>
        <a:buSzPct val="85000"/>
        <a:buFont typeface="Wingdings 2" pitchFamily="18" charset="2"/>
        <a:buChar char="¡"/>
        <a:defRPr lang="en-US" sz="1300" baseline="0" dirty="0" smtClean="0">
          <a:solidFill>
            <a:schemeClr val="tx1"/>
          </a:solidFill>
          <a:latin typeface="+mn-lt"/>
          <a:ea typeface="+mn-ea"/>
          <a:cs typeface="+mn-cs"/>
        </a:defRPr>
      </a:lvl6pPr>
      <a:lvl7pPr marL="1433170" indent="-199447" algn="l" defTabSz="914608" rtl="0" eaLnBrk="1" fontAlgn="base" hangingPunct="1">
        <a:lnSpc>
          <a:spcPct val="110000"/>
        </a:lnSpc>
        <a:spcBef>
          <a:spcPts val="302"/>
        </a:spcBef>
        <a:spcAft>
          <a:spcPct val="0"/>
        </a:spcAft>
        <a:buClr>
          <a:schemeClr val="tx2"/>
        </a:buClr>
        <a:buSzPct val="100000"/>
        <a:buFont typeface="Wingdings" pitchFamily="2" charset="2"/>
        <a:buChar char="w"/>
        <a:defRPr lang="en-US" sz="1300" baseline="0" dirty="0" smtClean="0">
          <a:solidFill>
            <a:schemeClr val="tx1"/>
          </a:solidFill>
          <a:latin typeface="+mn-lt"/>
          <a:ea typeface="+mn-ea"/>
          <a:cs typeface="+mn-cs"/>
        </a:defRPr>
      </a:lvl7pPr>
      <a:lvl8pPr marL="1641165" indent="-207995" algn="l" defTabSz="914608" rtl="0" eaLnBrk="1" fontAlgn="base" hangingPunct="1">
        <a:lnSpc>
          <a:spcPct val="110000"/>
        </a:lnSpc>
        <a:spcBef>
          <a:spcPts val="302"/>
        </a:spcBef>
        <a:spcAft>
          <a:spcPct val="0"/>
        </a:spcAft>
        <a:buClr>
          <a:schemeClr val="tx2"/>
        </a:buClr>
        <a:buSzPct val="80000"/>
        <a:buFont typeface="Wingdings 3" pitchFamily="18" charset="2"/>
        <a:buChar char=""/>
        <a:defRPr lang="en-US" sz="1300" baseline="0" dirty="0" smtClean="0">
          <a:solidFill>
            <a:schemeClr val="tx1"/>
          </a:solidFill>
          <a:latin typeface="+mn-lt"/>
          <a:ea typeface="+mn-ea"/>
          <a:cs typeface="+mn-cs"/>
        </a:defRPr>
      </a:lvl8pPr>
      <a:lvl9pPr marL="1846311" indent="-205146" algn="l" defTabSz="914608" rtl="0" eaLnBrk="1" fontAlgn="base" hangingPunct="1">
        <a:lnSpc>
          <a:spcPct val="110000"/>
        </a:lnSpc>
        <a:spcBef>
          <a:spcPts val="302"/>
        </a:spcBef>
        <a:spcAft>
          <a:spcPct val="0"/>
        </a:spcAft>
        <a:buClr>
          <a:schemeClr val="tx2"/>
        </a:buClr>
        <a:buSzPct val="100000"/>
        <a:buFont typeface="Wingdings 2" pitchFamily="18" charset="2"/>
        <a:buChar char=""/>
        <a:defRPr lang="en-US" sz="1300" baseline="0" dirty="0" smtClean="0">
          <a:solidFill>
            <a:schemeClr val="tx1"/>
          </a:solidFill>
          <a:latin typeface="+mn-lt"/>
          <a:ea typeface="+mn-ea"/>
          <a:cs typeface="+mn-cs"/>
        </a:defRPr>
      </a:lvl9pPr>
    </p:bodyStyle>
    <p:otherStyle>
      <a:defPPr>
        <a:defRPr lang="en-US"/>
      </a:defPPr>
      <a:lvl1pPr marL="0" algn="l" defTabSz="820583" rtl="0" eaLnBrk="1" latinLnBrk="0" hangingPunct="1">
        <a:defRPr sz="1100" kern="1200">
          <a:solidFill>
            <a:schemeClr val="tx1"/>
          </a:solidFill>
          <a:latin typeface="+mn-lt"/>
          <a:ea typeface="+mn-ea"/>
          <a:cs typeface="+mn-cs"/>
        </a:defRPr>
      </a:lvl1pPr>
      <a:lvl2pPr marL="410291" algn="l" defTabSz="820583" rtl="0" eaLnBrk="1" latinLnBrk="0" hangingPunct="1">
        <a:defRPr sz="1100" kern="1200">
          <a:solidFill>
            <a:schemeClr val="tx1"/>
          </a:solidFill>
          <a:latin typeface="+mn-lt"/>
          <a:ea typeface="+mn-ea"/>
          <a:cs typeface="+mn-cs"/>
        </a:defRPr>
      </a:lvl2pPr>
      <a:lvl3pPr marL="820583" algn="l" defTabSz="820583" rtl="0" eaLnBrk="1" latinLnBrk="0" hangingPunct="1">
        <a:defRPr sz="1100" kern="1200">
          <a:solidFill>
            <a:schemeClr val="tx1"/>
          </a:solidFill>
          <a:latin typeface="+mn-lt"/>
          <a:ea typeface="+mn-ea"/>
          <a:cs typeface="+mn-cs"/>
        </a:defRPr>
      </a:lvl3pPr>
      <a:lvl4pPr marL="1230874" algn="l" defTabSz="820583" rtl="0" eaLnBrk="1" latinLnBrk="0" hangingPunct="1">
        <a:defRPr sz="1100" kern="1200">
          <a:solidFill>
            <a:schemeClr val="tx1"/>
          </a:solidFill>
          <a:latin typeface="+mn-lt"/>
          <a:ea typeface="+mn-ea"/>
          <a:cs typeface="+mn-cs"/>
        </a:defRPr>
      </a:lvl4pPr>
      <a:lvl5pPr marL="1641165" algn="l" defTabSz="820583" rtl="0" eaLnBrk="1" latinLnBrk="0" hangingPunct="1">
        <a:defRPr sz="1100" kern="1200">
          <a:solidFill>
            <a:schemeClr val="tx1"/>
          </a:solidFill>
          <a:latin typeface="+mn-lt"/>
          <a:ea typeface="+mn-ea"/>
          <a:cs typeface="+mn-cs"/>
        </a:defRPr>
      </a:lvl5pPr>
      <a:lvl6pPr marL="2051456" algn="l" defTabSz="820583" rtl="0" eaLnBrk="1" latinLnBrk="0" hangingPunct="1">
        <a:defRPr sz="1100" kern="1200">
          <a:solidFill>
            <a:schemeClr val="tx1"/>
          </a:solidFill>
          <a:latin typeface="+mn-lt"/>
          <a:ea typeface="+mn-ea"/>
          <a:cs typeface="+mn-cs"/>
        </a:defRPr>
      </a:lvl6pPr>
      <a:lvl7pPr marL="2461748" algn="l" defTabSz="820583" rtl="0" eaLnBrk="1" latinLnBrk="0" hangingPunct="1">
        <a:defRPr sz="1100" kern="1200">
          <a:solidFill>
            <a:schemeClr val="tx1"/>
          </a:solidFill>
          <a:latin typeface="+mn-lt"/>
          <a:ea typeface="+mn-ea"/>
          <a:cs typeface="+mn-cs"/>
        </a:defRPr>
      </a:lvl7pPr>
      <a:lvl8pPr marL="2872039" algn="l" defTabSz="820583" rtl="0" eaLnBrk="1" latinLnBrk="0" hangingPunct="1">
        <a:defRPr sz="1100" kern="1200">
          <a:solidFill>
            <a:schemeClr val="tx1"/>
          </a:solidFill>
          <a:latin typeface="+mn-lt"/>
          <a:ea typeface="+mn-ea"/>
          <a:cs typeface="+mn-cs"/>
        </a:defRPr>
      </a:lvl8pPr>
      <a:lvl9pPr marL="3282330" algn="l" defTabSz="820583" rtl="0" eaLnBrk="1" latinLnBrk="0" hangingPunct="1">
        <a:defRPr sz="11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13685309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3" name="Object 2"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1"/>
            </p:custDataLst>
          </p:nvPr>
        </p:nvSpPr>
        <p:spPr bwMode="auto">
          <a:xfrm>
            <a:off x="0" y="0"/>
            <a:ext cx="158750" cy="158750"/>
          </a:xfrm>
          <a:prstGeom prst="rect">
            <a:avLst/>
          </a:prstGeom>
          <a:noFill/>
          <a:ln w="952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a:ea typeface="+mj-ea"/>
              <a:cs typeface="Arial" pitchFamily="34" charset="0"/>
              <a:sym typeface="Arial"/>
            </a:endParaRPr>
          </a:p>
        </p:txBody>
      </p:sp>
      <p:sp>
        <p:nvSpPr>
          <p:cNvPr id="4099" name="Rectangle 3"/>
          <p:cNvSpPr>
            <a:spLocks noGrp="1" noChangeArrowheads="1"/>
          </p:cNvSpPr>
          <p:nvPr>
            <p:ph type="body" idx="1"/>
          </p:nvPr>
        </p:nvSpPr>
        <p:spPr bwMode="auto">
          <a:xfrm>
            <a:off x="508000" y="1341439"/>
            <a:ext cx="11176000" cy="4575268"/>
          </a:xfrm>
          <a:prstGeom prst="rect">
            <a:avLst/>
          </a:prstGeom>
          <a:noFill/>
          <a:ln w="9525" algn="ctr">
            <a:noFill/>
            <a:miter lim="800000"/>
            <a:headEnd/>
            <a:tailEnd/>
          </a:ln>
        </p:spPr>
        <p:txBody>
          <a:bodyPr vert="horz" wrap="square" lIns="91440" tIns="41029" rIns="91440" bIns="4102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1" name="Rectangle 7"/>
          <p:cNvSpPr>
            <a:spLocks noChangeArrowheads="1"/>
          </p:cNvSpPr>
          <p:nvPr/>
        </p:nvSpPr>
        <p:spPr bwMode="white">
          <a:xfrm flipV="1">
            <a:off x="0" y="6177243"/>
            <a:ext cx="12192000" cy="684960"/>
          </a:xfrm>
          <a:prstGeom prst="rect">
            <a:avLst/>
          </a:prstGeom>
          <a:solidFill>
            <a:srgbClr val="FFFFFF"/>
          </a:solidFill>
          <a:ln w="19050">
            <a:noFill/>
            <a:miter lim="800000"/>
            <a:headEnd/>
            <a:tailEnd/>
          </a:ln>
          <a:effectLst/>
        </p:spPr>
        <p:txBody>
          <a:bodyPr wrap="none" lIns="82058" tIns="41029" rIns="82058" bIns="41029" anchor="ctr"/>
          <a:lstStyle/>
          <a:p>
            <a:pPr algn="ctr" fontAlgn="base">
              <a:spcBef>
                <a:spcPct val="0"/>
              </a:spcBef>
              <a:spcAft>
                <a:spcPct val="0"/>
              </a:spcAft>
              <a:defRPr/>
            </a:pPr>
            <a:endParaRPr lang="en-US" sz="1300">
              <a:solidFill>
                <a:srgbClr val="000000"/>
              </a:solidFill>
              <a:cs typeface="Arial" charset="0"/>
            </a:endParaRPr>
          </a:p>
        </p:txBody>
      </p:sp>
      <p:sp>
        <p:nvSpPr>
          <p:cNvPr id="4103" name="Rectangle 145"/>
          <p:cNvSpPr>
            <a:spLocks noGrp="1" noChangeArrowheads="1"/>
          </p:cNvSpPr>
          <p:nvPr>
            <p:ph type="title"/>
          </p:nvPr>
        </p:nvSpPr>
        <p:spPr bwMode="auto">
          <a:xfrm>
            <a:off x="508000" y="337075"/>
            <a:ext cx="11047307" cy="470647"/>
          </a:xfrm>
          <a:prstGeom prst="rect">
            <a:avLst/>
          </a:prstGeom>
          <a:noFill/>
          <a:ln w="9525">
            <a:noFill/>
            <a:miter lim="800000"/>
            <a:headEnd/>
            <a:tailEnd/>
          </a:ln>
        </p:spPr>
        <p:txBody>
          <a:bodyPr vert="horz" wrap="square" lIns="91440" tIns="45714" rIns="91440" bIns="45714" numCol="1" anchor="b" anchorCtr="0" compatLnSpc="1">
            <a:prstTxWarp prst="textNoShape">
              <a:avLst/>
            </a:prstTxWarp>
          </a:bodyPr>
          <a:lstStyle/>
          <a:p>
            <a:pPr lvl="0"/>
            <a:r>
              <a:rPr lang="en-US" dirty="0"/>
              <a:t>Click to edit Master title style</a:t>
            </a:r>
          </a:p>
        </p:txBody>
      </p:sp>
      <p:sp>
        <p:nvSpPr>
          <p:cNvPr id="14" name="plhSlideNumber"/>
          <p:cNvSpPr>
            <a:spLocks noGrp="1"/>
          </p:cNvSpPr>
          <p:nvPr>
            <p:ph type="sldNum" sz="quarter" idx="4"/>
          </p:nvPr>
        </p:nvSpPr>
        <p:spPr>
          <a:xfrm>
            <a:off x="8785014" y="6339114"/>
            <a:ext cx="2844031" cy="365592"/>
          </a:xfrm>
          <a:prstGeom prst="rect">
            <a:avLst/>
          </a:prstGeom>
        </p:spPr>
        <p:txBody>
          <a:bodyPr lIns="82058" tIns="41029" rIns="82058" bIns="41029"/>
          <a:lstStyle>
            <a:lvl1pPr algn="r">
              <a:defRPr sz="900">
                <a:solidFill>
                  <a:srgbClr val="4B4B4B"/>
                </a:solidFill>
                <a:latin typeface="+mn-lt"/>
              </a:defRPr>
            </a:lvl1pPr>
          </a:lstStyle>
          <a:p>
            <a:pPr fontAlgn="base">
              <a:spcBef>
                <a:spcPct val="0"/>
              </a:spcBef>
              <a:spcAft>
                <a:spcPct val="0"/>
              </a:spcAft>
            </a:pPr>
            <a:fld id="{E189E361-82B6-4274-A833-6E3626364A67}" type="slidenum">
              <a:rPr lang="en-US" smtClean="0">
                <a:cs typeface="Arial" charset="0"/>
              </a:rPr>
              <a:pPr fontAlgn="base">
                <a:spcBef>
                  <a:spcPct val="0"/>
                </a:spcBef>
                <a:spcAft>
                  <a:spcPct val="0"/>
                </a:spcAft>
              </a:pPr>
              <a:t>‹#›</a:t>
            </a:fld>
            <a:endParaRPr lang="en-US" dirty="0">
              <a:cs typeface="Arial" charset="0"/>
            </a:endParaRPr>
          </a:p>
        </p:txBody>
      </p:sp>
      <p:sp>
        <p:nvSpPr>
          <p:cNvPr id="15" name="shpStamp"/>
          <p:cNvSpPr txBox="1">
            <a:spLocks noChangeArrowheads="1"/>
          </p:cNvSpPr>
          <p:nvPr>
            <p:custDataLst>
              <p:tags r:id="rId12"/>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a:solidFill>
                  <a:srgbClr val="FF0000"/>
                </a:solidFill>
                <a:cs typeface="Arial" charset="0"/>
              </a:rPr>
              <a:t>DRAFT</a:t>
            </a:r>
            <a:endParaRPr lang="en-US" sz="1300" dirty="0">
              <a:solidFill>
                <a:srgbClr val="FF0000"/>
              </a:solidFill>
              <a:cs typeface="Arial" charset="0"/>
            </a:endParaRPr>
          </a:p>
        </p:txBody>
      </p:sp>
      <p:sp>
        <p:nvSpPr>
          <p:cNvPr id="11" name="ClientLogo" hidden="1"/>
          <p:cNvSpPr/>
          <p:nvPr/>
        </p:nvSpPr>
        <p:spPr bwMode="auto">
          <a:xfrm>
            <a:off x="8312733" y="6248849"/>
            <a:ext cx="3048000" cy="484094"/>
          </a:xfrm>
          <a:prstGeom prst="rect">
            <a:avLst/>
          </a:prstGeom>
          <a:solidFill>
            <a:srgbClr val="FEDF87"/>
          </a:solidFill>
          <a:ln w="9525" cap="flat" cmpd="sng" algn="ctr">
            <a:solidFill>
              <a:srgbClr val="FF0000"/>
            </a:solidFill>
            <a:prstDash val="solid"/>
            <a:round/>
            <a:headEnd type="none" w="med" len="med"/>
            <a:tailEnd type="none" w="med" len="med"/>
          </a:ln>
          <a:effectLst/>
        </p:spPr>
        <p:txBody>
          <a:bodyPr vert="horz" wrap="square" lIns="0" tIns="0" rIns="16412" bIns="16412" numCol="1" rtlCol="0" anchor="ctr" anchorCtr="0" compatLnSpc="1">
            <a:prstTxWarp prst="textNoShape">
              <a:avLst/>
            </a:prstTxWarp>
          </a:bodyPr>
          <a:lstStyle/>
          <a:p>
            <a:pPr algn="ctr" defTabSz="820583" fontAlgn="base">
              <a:spcBef>
                <a:spcPct val="0"/>
              </a:spcBef>
              <a:spcAft>
                <a:spcPct val="0"/>
              </a:spcAft>
            </a:pPr>
            <a:r>
              <a:rPr lang="en-US" sz="700" b="1" dirty="0">
                <a:solidFill>
                  <a:srgbClr val="FF0000"/>
                </a:solidFill>
                <a:cs typeface="Arial" pitchFamily="34" charset="0"/>
              </a:rPr>
              <a:t>PresBuilder  Client Logo Placeholder </a:t>
            </a:r>
            <a:r>
              <a:rPr lang="en-US" sz="700" dirty="0">
                <a:solidFill>
                  <a:srgbClr val="FF0000"/>
                </a:solidFill>
                <a:cs typeface="Arial" pitchFamily="34" charset="0"/>
              </a:rPr>
              <a:t>– </a:t>
            </a:r>
            <a:br>
              <a:rPr lang="en-US" sz="700" dirty="0">
                <a:solidFill>
                  <a:srgbClr val="FF0000"/>
                </a:solidFill>
                <a:cs typeface="Arial" pitchFamily="34" charset="0"/>
              </a:rPr>
            </a:br>
            <a:r>
              <a:rPr lang="en-US" sz="700" dirty="0">
                <a:solidFill>
                  <a:srgbClr val="FF0000"/>
                </a:solidFill>
                <a:cs typeface="Arial" pitchFamily="34" charset="0"/>
              </a:rPr>
              <a:t>Delete this box if you see it on a slide, but DO NOT REMOVE this box from the slide layout. </a:t>
            </a:r>
          </a:p>
        </p:txBody>
      </p:sp>
      <p:pic>
        <p:nvPicPr>
          <p:cNvPr id="16" name="Picture 7" descr="ppt_int_gradient_top_v2"/>
          <p:cNvPicPr>
            <a:picLocks noChangeAspect="1" noChangeArrowheads="1"/>
          </p:cNvPicPr>
          <p:nvPr/>
        </p:nvPicPr>
        <p:blipFill>
          <a:blip r:embed="rId15" cstate="print"/>
          <a:srcRect/>
          <a:stretch>
            <a:fillRect/>
          </a:stretch>
        </p:blipFill>
        <p:spPr bwMode="auto">
          <a:xfrm>
            <a:off x="0" y="6553200"/>
            <a:ext cx="12192000" cy="304800"/>
          </a:xfrm>
          <a:prstGeom prst="rect">
            <a:avLst/>
          </a:prstGeom>
          <a:noFill/>
          <a:ln w="9525">
            <a:noFill/>
            <a:miter lim="800000"/>
            <a:headEnd/>
            <a:tailEnd/>
          </a:ln>
        </p:spPr>
      </p:pic>
      <p:pic>
        <p:nvPicPr>
          <p:cNvPr id="17" name="Picture 12" descr="ppt_cvr_logo_v3"/>
          <p:cNvPicPr>
            <a:picLocks noChangeAspect="1" noChangeArrowheads="1"/>
          </p:cNvPicPr>
          <p:nvPr/>
        </p:nvPicPr>
        <p:blipFill>
          <a:blip r:embed="rId16" cstate="print"/>
          <a:srcRect/>
          <a:stretch>
            <a:fillRect/>
          </a:stretch>
        </p:blipFill>
        <p:spPr bwMode="auto">
          <a:xfrm>
            <a:off x="514773" y="5999164"/>
            <a:ext cx="2133600" cy="566737"/>
          </a:xfrm>
          <a:prstGeom prst="rect">
            <a:avLst/>
          </a:prstGeom>
          <a:noFill/>
          <a:ln w="9525">
            <a:noFill/>
            <a:miter lim="800000"/>
            <a:headEnd/>
            <a:tailEnd/>
          </a:ln>
        </p:spPr>
      </p:pic>
    </p:spTree>
    <p:extLst>
      <p:ext uri="{BB962C8B-B14F-4D97-AF65-F5344CB8AC3E}">
        <p14:creationId xmlns:p14="http://schemas.microsoft.com/office/powerpoint/2010/main" val="39658629"/>
      </p:ext>
    </p:extLst>
  </p:cSld>
  <p:clrMap bg1="lt1" tx1="dk1" bg2="lt2" tx2="dk2" accent1="accent1" accent2="accent2" accent3="accent3" accent4="accent4" accent5="accent5" accent6="accent6" hlink="hlink" folHlink="folHlink"/>
  <p:sldLayoutIdLst>
    <p:sldLayoutId id="2147483822" r:id="rId1"/>
    <p:sldLayoutId id="2147483823" r:id="rId2"/>
    <p:sldLayoutId id="2147483824" r:id="rId3"/>
    <p:sldLayoutId id="2147483825" r:id="rId4"/>
    <p:sldLayoutId id="2147483826" r:id="rId5"/>
    <p:sldLayoutId id="2147483827" r:id="rId6"/>
    <p:sldLayoutId id="2147483828" r:id="rId7"/>
    <p:sldLayoutId id="2147483829" r:id="rId8"/>
  </p:sldLayoutIdLst>
  <p:hf hdr="0" dt="0"/>
  <p:txStyles>
    <p:titleStyle>
      <a:lvl1pPr algn="l" defTabSz="914608" rtl="0" eaLnBrk="1" fontAlgn="base" hangingPunct="1">
        <a:lnSpc>
          <a:spcPct val="80000"/>
        </a:lnSpc>
        <a:spcBef>
          <a:spcPct val="0"/>
        </a:spcBef>
        <a:spcAft>
          <a:spcPct val="0"/>
        </a:spcAft>
        <a:defRPr sz="2400">
          <a:solidFill>
            <a:srgbClr val="7E8083"/>
          </a:solidFill>
          <a:latin typeface="+mj-lt"/>
          <a:ea typeface="+mj-ea"/>
          <a:cs typeface="Calibri" pitchFamily="34" charset="0"/>
        </a:defRPr>
      </a:lvl1pPr>
      <a:lvl2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2pPr>
      <a:lvl3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3pPr>
      <a:lvl4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4pPr>
      <a:lvl5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5pPr>
      <a:lvl6pPr marL="410291"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6pPr>
      <a:lvl7pPr marL="820583"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7pPr>
      <a:lvl8pPr marL="1230874"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8pPr>
      <a:lvl9pPr marL="1641165"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9pPr>
    </p:titleStyle>
    <p:bodyStyle>
      <a:lvl1pPr marL="205146" indent="-205146" algn="l" defTabSz="914608" rtl="0" eaLnBrk="1" fontAlgn="base" hangingPunct="1">
        <a:lnSpc>
          <a:spcPct val="110000"/>
        </a:lnSpc>
        <a:spcBef>
          <a:spcPts val="905"/>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1pPr>
      <a:lvl2pPr marL="410291" indent="-203721" algn="l" defTabSz="914608" rtl="0" eaLnBrk="1" fontAlgn="base" hangingPunct="1">
        <a:lnSpc>
          <a:spcPct val="110000"/>
        </a:lnSpc>
        <a:spcBef>
          <a:spcPts val="302"/>
        </a:spcBef>
        <a:spcAft>
          <a:spcPct val="0"/>
        </a:spcAft>
        <a:buClr>
          <a:srgbClr val="CE361D"/>
        </a:buClr>
        <a:buSzPct val="85000"/>
        <a:buFont typeface="Wingdings 2" pitchFamily="18" charset="2"/>
        <a:buChar char=""/>
        <a:defRPr lang="en-US" sz="1300" dirty="0" smtClean="0">
          <a:solidFill>
            <a:srgbClr val="4B4B4B"/>
          </a:solidFill>
          <a:latin typeface="+mn-lt"/>
          <a:ea typeface="+mn-ea"/>
          <a:cs typeface="Calibri" pitchFamily="34" charset="0"/>
        </a:defRPr>
      </a:lvl2pPr>
      <a:lvl3pPr marL="615437" indent="-203721" algn="l" defTabSz="914608" rtl="0" eaLnBrk="1" fontAlgn="base" hangingPunct="1">
        <a:lnSpc>
          <a:spcPct val="110000"/>
        </a:lnSpc>
        <a:spcBef>
          <a:spcPts val="302"/>
        </a:spcBef>
        <a:spcAft>
          <a:spcPct val="0"/>
        </a:spcAft>
        <a:buClr>
          <a:srgbClr val="CE361D"/>
        </a:buClr>
        <a:buSzPct val="100000"/>
        <a:buFont typeface="Wingdings" pitchFamily="2" charset="2"/>
        <a:buChar char=""/>
        <a:defRPr lang="en-US" sz="1300" dirty="0" smtClean="0">
          <a:solidFill>
            <a:srgbClr val="4B4B4B"/>
          </a:solidFill>
          <a:latin typeface="+mn-lt"/>
          <a:ea typeface="+mn-ea"/>
          <a:cs typeface="Calibri" pitchFamily="34" charset="0"/>
        </a:defRPr>
      </a:lvl3pPr>
      <a:lvl4pPr marL="819158" indent="-202296" algn="l" defTabSz="914608" rtl="0" eaLnBrk="1" fontAlgn="base" hangingPunct="1">
        <a:lnSpc>
          <a:spcPct val="110000"/>
        </a:lnSpc>
        <a:spcBef>
          <a:spcPts val="302"/>
        </a:spcBef>
        <a:spcAft>
          <a:spcPct val="0"/>
        </a:spcAft>
        <a:buClr>
          <a:srgbClr val="CE361D"/>
        </a:buClr>
        <a:buSzPct val="80000"/>
        <a:buFont typeface="Wingdings 3" pitchFamily="18" charset="2"/>
        <a:buChar char=""/>
        <a:defRPr lang="en-US" sz="1300" dirty="0" smtClean="0">
          <a:solidFill>
            <a:srgbClr val="4B4B4B"/>
          </a:solidFill>
          <a:latin typeface="+mn-lt"/>
          <a:ea typeface="+mn-ea"/>
          <a:cs typeface="Calibri" pitchFamily="34" charset="0"/>
        </a:defRPr>
      </a:lvl4pPr>
      <a:lvl5pPr marL="1025728" indent="-205146" algn="l" defTabSz="914608" rtl="0" eaLnBrk="1" fontAlgn="base" hangingPunct="1">
        <a:lnSpc>
          <a:spcPct val="110000"/>
        </a:lnSpc>
        <a:spcBef>
          <a:spcPts val="302"/>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5pPr>
      <a:lvl6pPr marL="1233723" indent="-205146" algn="l" defTabSz="914608" rtl="0" eaLnBrk="1" fontAlgn="base" hangingPunct="1">
        <a:lnSpc>
          <a:spcPct val="110000"/>
        </a:lnSpc>
        <a:spcBef>
          <a:spcPts val="302"/>
        </a:spcBef>
        <a:spcAft>
          <a:spcPct val="0"/>
        </a:spcAft>
        <a:buClr>
          <a:schemeClr val="tx2"/>
        </a:buClr>
        <a:buSzPct val="85000"/>
        <a:buFont typeface="Wingdings 2" pitchFamily="18" charset="2"/>
        <a:buChar char="¡"/>
        <a:defRPr lang="en-US" sz="1300" baseline="0" dirty="0" smtClean="0">
          <a:solidFill>
            <a:schemeClr val="tx1"/>
          </a:solidFill>
          <a:latin typeface="+mn-lt"/>
          <a:ea typeface="+mn-ea"/>
          <a:cs typeface="+mn-cs"/>
        </a:defRPr>
      </a:lvl6pPr>
      <a:lvl7pPr marL="1433170" indent="-199447" algn="l" defTabSz="914608" rtl="0" eaLnBrk="1" fontAlgn="base" hangingPunct="1">
        <a:lnSpc>
          <a:spcPct val="110000"/>
        </a:lnSpc>
        <a:spcBef>
          <a:spcPts val="302"/>
        </a:spcBef>
        <a:spcAft>
          <a:spcPct val="0"/>
        </a:spcAft>
        <a:buClr>
          <a:schemeClr val="tx2"/>
        </a:buClr>
        <a:buSzPct val="100000"/>
        <a:buFont typeface="Wingdings" pitchFamily="2" charset="2"/>
        <a:buChar char="w"/>
        <a:defRPr lang="en-US" sz="1300" baseline="0" dirty="0" smtClean="0">
          <a:solidFill>
            <a:schemeClr val="tx1"/>
          </a:solidFill>
          <a:latin typeface="+mn-lt"/>
          <a:ea typeface="+mn-ea"/>
          <a:cs typeface="+mn-cs"/>
        </a:defRPr>
      </a:lvl7pPr>
      <a:lvl8pPr marL="1641165" indent="-207995" algn="l" defTabSz="914608" rtl="0" eaLnBrk="1" fontAlgn="base" hangingPunct="1">
        <a:lnSpc>
          <a:spcPct val="110000"/>
        </a:lnSpc>
        <a:spcBef>
          <a:spcPts val="302"/>
        </a:spcBef>
        <a:spcAft>
          <a:spcPct val="0"/>
        </a:spcAft>
        <a:buClr>
          <a:schemeClr val="tx2"/>
        </a:buClr>
        <a:buSzPct val="80000"/>
        <a:buFont typeface="Wingdings 3" pitchFamily="18" charset="2"/>
        <a:buChar char=""/>
        <a:defRPr lang="en-US" sz="1300" baseline="0" dirty="0" smtClean="0">
          <a:solidFill>
            <a:schemeClr val="tx1"/>
          </a:solidFill>
          <a:latin typeface="+mn-lt"/>
          <a:ea typeface="+mn-ea"/>
          <a:cs typeface="+mn-cs"/>
        </a:defRPr>
      </a:lvl8pPr>
      <a:lvl9pPr marL="1846311" indent="-205146" algn="l" defTabSz="914608" rtl="0" eaLnBrk="1" fontAlgn="base" hangingPunct="1">
        <a:lnSpc>
          <a:spcPct val="110000"/>
        </a:lnSpc>
        <a:spcBef>
          <a:spcPts val="302"/>
        </a:spcBef>
        <a:spcAft>
          <a:spcPct val="0"/>
        </a:spcAft>
        <a:buClr>
          <a:schemeClr val="tx2"/>
        </a:buClr>
        <a:buSzPct val="100000"/>
        <a:buFont typeface="Wingdings 2" pitchFamily="18" charset="2"/>
        <a:buChar char=""/>
        <a:defRPr lang="en-US" sz="1300" baseline="0" dirty="0" smtClean="0">
          <a:solidFill>
            <a:schemeClr val="tx1"/>
          </a:solidFill>
          <a:latin typeface="+mn-lt"/>
          <a:ea typeface="+mn-ea"/>
          <a:cs typeface="+mn-cs"/>
        </a:defRPr>
      </a:lvl9pPr>
    </p:bodyStyle>
    <p:otherStyle>
      <a:defPPr>
        <a:defRPr lang="en-US"/>
      </a:defPPr>
      <a:lvl1pPr marL="0" algn="l" defTabSz="820583" rtl="0" eaLnBrk="1" latinLnBrk="0" hangingPunct="1">
        <a:defRPr sz="1100" kern="1200">
          <a:solidFill>
            <a:schemeClr val="tx1"/>
          </a:solidFill>
          <a:latin typeface="+mn-lt"/>
          <a:ea typeface="+mn-ea"/>
          <a:cs typeface="+mn-cs"/>
        </a:defRPr>
      </a:lvl1pPr>
      <a:lvl2pPr marL="410291" algn="l" defTabSz="820583" rtl="0" eaLnBrk="1" latinLnBrk="0" hangingPunct="1">
        <a:defRPr sz="1100" kern="1200">
          <a:solidFill>
            <a:schemeClr val="tx1"/>
          </a:solidFill>
          <a:latin typeface="+mn-lt"/>
          <a:ea typeface="+mn-ea"/>
          <a:cs typeface="+mn-cs"/>
        </a:defRPr>
      </a:lvl2pPr>
      <a:lvl3pPr marL="820583" algn="l" defTabSz="820583" rtl="0" eaLnBrk="1" latinLnBrk="0" hangingPunct="1">
        <a:defRPr sz="1100" kern="1200">
          <a:solidFill>
            <a:schemeClr val="tx1"/>
          </a:solidFill>
          <a:latin typeface="+mn-lt"/>
          <a:ea typeface="+mn-ea"/>
          <a:cs typeface="+mn-cs"/>
        </a:defRPr>
      </a:lvl3pPr>
      <a:lvl4pPr marL="1230874" algn="l" defTabSz="820583" rtl="0" eaLnBrk="1" latinLnBrk="0" hangingPunct="1">
        <a:defRPr sz="1100" kern="1200">
          <a:solidFill>
            <a:schemeClr val="tx1"/>
          </a:solidFill>
          <a:latin typeface="+mn-lt"/>
          <a:ea typeface="+mn-ea"/>
          <a:cs typeface="+mn-cs"/>
        </a:defRPr>
      </a:lvl4pPr>
      <a:lvl5pPr marL="1641165" algn="l" defTabSz="820583" rtl="0" eaLnBrk="1" latinLnBrk="0" hangingPunct="1">
        <a:defRPr sz="1100" kern="1200">
          <a:solidFill>
            <a:schemeClr val="tx1"/>
          </a:solidFill>
          <a:latin typeface="+mn-lt"/>
          <a:ea typeface="+mn-ea"/>
          <a:cs typeface="+mn-cs"/>
        </a:defRPr>
      </a:lvl5pPr>
      <a:lvl6pPr marL="2051456" algn="l" defTabSz="820583" rtl="0" eaLnBrk="1" latinLnBrk="0" hangingPunct="1">
        <a:defRPr sz="1100" kern="1200">
          <a:solidFill>
            <a:schemeClr val="tx1"/>
          </a:solidFill>
          <a:latin typeface="+mn-lt"/>
          <a:ea typeface="+mn-ea"/>
          <a:cs typeface="+mn-cs"/>
        </a:defRPr>
      </a:lvl6pPr>
      <a:lvl7pPr marL="2461748" algn="l" defTabSz="820583" rtl="0" eaLnBrk="1" latinLnBrk="0" hangingPunct="1">
        <a:defRPr sz="1100" kern="1200">
          <a:solidFill>
            <a:schemeClr val="tx1"/>
          </a:solidFill>
          <a:latin typeface="+mn-lt"/>
          <a:ea typeface="+mn-ea"/>
          <a:cs typeface="+mn-cs"/>
        </a:defRPr>
      </a:lvl7pPr>
      <a:lvl8pPr marL="2872039" algn="l" defTabSz="820583" rtl="0" eaLnBrk="1" latinLnBrk="0" hangingPunct="1">
        <a:defRPr sz="1100" kern="1200">
          <a:solidFill>
            <a:schemeClr val="tx1"/>
          </a:solidFill>
          <a:latin typeface="+mn-lt"/>
          <a:ea typeface="+mn-ea"/>
          <a:cs typeface="+mn-cs"/>
        </a:defRPr>
      </a:lvl8pPr>
      <a:lvl9pPr marL="3282330" algn="l" defTabSz="820583" rtl="0" eaLnBrk="1" latinLnBrk="0" hangingPunct="1">
        <a:defRPr sz="11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157903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3" name="Object 2"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1"/>
            </p:custDataLst>
          </p:nvPr>
        </p:nvSpPr>
        <p:spPr bwMode="auto">
          <a:xfrm>
            <a:off x="0" y="0"/>
            <a:ext cx="158750" cy="158750"/>
          </a:xfrm>
          <a:prstGeom prst="rect">
            <a:avLst/>
          </a:prstGeom>
          <a:noFill/>
          <a:ln w="952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a:ea typeface="+mj-ea"/>
              <a:cs typeface="Arial" pitchFamily="34" charset="0"/>
              <a:sym typeface="Arial"/>
            </a:endParaRPr>
          </a:p>
        </p:txBody>
      </p:sp>
      <p:sp>
        <p:nvSpPr>
          <p:cNvPr id="4099" name="Rectangle 3"/>
          <p:cNvSpPr>
            <a:spLocks noGrp="1" noChangeArrowheads="1"/>
          </p:cNvSpPr>
          <p:nvPr>
            <p:ph type="body" idx="1"/>
          </p:nvPr>
        </p:nvSpPr>
        <p:spPr bwMode="auto">
          <a:xfrm>
            <a:off x="508000" y="1341439"/>
            <a:ext cx="11176000" cy="4575268"/>
          </a:xfrm>
          <a:prstGeom prst="rect">
            <a:avLst/>
          </a:prstGeom>
          <a:noFill/>
          <a:ln w="9525" algn="ctr">
            <a:noFill/>
            <a:miter lim="800000"/>
            <a:headEnd/>
            <a:tailEnd/>
          </a:ln>
        </p:spPr>
        <p:txBody>
          <a:bodyPr vert="horz" wrap="square" lIns="91440" tIns="41029" rIns="91440" bIns="4102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1" name="Rectangle 7"/>
          <p:cNvSpPr>
            <a:spLocks noChangeArrowheads="1"/>
          </p:cNvSpPr>
          <p:nvPr/>
        </p:nvSpPr>
        <p:spPr bwMode="white">
          <a:xfrm flipV="1">
            <a:off x="0" y="6177243"/>
            <a:ext cx="12192000" cy="684960"/>
          </a:xfrm>
          <a:prstGeom prst="rect">
            <a:avLst/>
          </a:prstGeom>
          <a:solidFill>
            <a:srgbClr val="FFFFFF"/>
          </a:solidFill>
          <a:ln w="19050">
            <a:noFill/>
            <a:miter lim="800000"/>
            <a:headEnd/>
            <a:tailEnd/>
          </a:ln>
          <a:effectLst/>
        </p:spPr>
        <p:txBody>
          <a:bodyPr wrap="none" lIns="82058" tIns="41029" rIns="82058" bIns="41029" anchor="ctr"/>
          <a:lstStyle/>
          <a:p>
            <a:pPr algn="ctr" fontAlgn="base">
              <a:spcBef>
                <a:spcPct val="0"/>
              </a:spcBef>
              <a:spcAft>
                <a:spcPct val="0"/>
              </a:spcAft>
              <a:defRPr/>
            </a:pPr>
            <a:endParaRPr lang="en-US" sz="1300">
              <a:solidFill>
                <a:srgbClr val="000000"/>
              </a:solidFill>
              <a:cs typeface="Arial" charset="0"/>
            </a:endParaRPr>
          </a:p>
        </p:txBody>
      </p:sp>
      <p:sp>
        <p:nvSpPr>
          <p:cNvPr id="4103" name="Rectangle 145"/>
          <p:cNvSpPr>
            <a:spLocks noGrp="1" noChangeArrowheads="1"/>
          </p:cNvSpPr>
          <p:nvPr>
            <p:ph type="title"/>
          </p:nvPr>
        </p:nvSpPr>
        <p:spPr bwMode="auto">
          <a:xfrm>
            <a:off x="508000" y="337075"/>
            <a:ext cx="11047307" cy="470647"/>
          </a:xfrm>
          <a:prstGeom prst="rect">
            <a:avLst/>
          </a:prstGeom>
          <a:noFill/>
          <a:ln w="9525">
            <a:noFill/>
            <a:miter lim="800000"/>
            <a:headEnd/>
            <a:tailEnd/>
          </a:ln>
        </p:spPr>
        <p:txBody>
          <a:bodyPr vert="horz" wrap="square" lIns="91440" tIns="45714" rIns="91440" bIns="45714" numCol="1" anchor="b" anchorCtr="0" compatLnSpc="1">
            <a:prstTxWarp prst="textNoShape">
              <a:avLst/>
            </a:prstTxWarp>
          </a:bodyPr>
          <a:lstStyle/>
          <a:p>
            <a:pPr lvl="0"/>
            <a:r>
              <a:rPr lang="en-US" dirty="0"/>
              <a:t>Click to edit Master title style</a:t>
            </a:r>
          </a:p>
        </p:txBody>
      </p:sp>
      <p:sp>
        <p:nvSpPr>
          <p:cNvPr id="14" name="plhSlideNumber"/>
          <p:cNvSpPr>
            <a:spLocks noGrp="1"/>
          </p:cNvSpPr>
          <p:nvPr>
            <p:ph type="sldNum" sz="quarter" idx="4"/>
          </p:nvPr>
        </p:nvSpPr>
        <p:spPr>
          <a:xfrm>
            <a:off x="8785014" y="6339114"/>
            <a:ext cx="2844031" cy="365592"/>
          </a:xfrm>
          <a:prstGeom prst="rect">
            <a:avLst/>
          </a:prstGeom>
        </p:spPr>
        <p:txBody>
          <a:bodyPr lIns="82058" tIns="41029" rIns="82058" bIns="41029"/>
          <a:lstStyle>
            <a:lvl1pPr algn="r">
              <a:defRPr sz="900">
                <a:solidFill>
                  <a:srgbClr val="4B4B4B"/>
                </a:solidFill>
                <a:latin typeface="+mn-lt"/>
              </a:defRPr>
            </a:lvl1pPr>
          </a:lstStyle>
          <a:p>
            <a:pPr fontAlgn="base">
              <a:spcBef>
                <a:spcPct val="0"/>
              </a:spcBef>
              <a:spcAft>
                <a:spcPct val="0"/>
              </a:spcAft>
            </a:pPr>
            <a:fld id="{E189E361-82B6-4274-A833-6E3626364A67}" type="slidenum">
              <a:rPr lang="en-US" smtClean="0">
                <a:cs typeface="Arial" charset="0"/>
              </a:rPr>
              <a:pPr fontAlgn="base">
                <a:spcBef>
                  <a:spcPct val="0"/>
                </a:spcBef>
                <a:spcAft>
                  <a:spcPct val="0"/>
                </a:spcAft>
              </a:pPr>
              <a:t>‹#›</a:t>
            </a:fld>
            <a:endParaRPr lang="en-US" dirty="0">
              <a:cs typeface="Arial" charset="0"/>
            </a:endParaRPr>
          </a:p>
        </p:txBody>
      </p:sp>
      <p:sp>
        <p:nvSpPr>
          <p:cNvPr id="15" name="shpStamp"/>
          <p:cNvSpPr txBox="1">
            <a:spLocks noChangeArrowheads="1"/>
          </p:cNvSpPr>
          <p:nvPr>
            <p:custDataLst>
              <p:tags r:id="rId12"/>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a:solidFill>
                  <a:srgbClr val="FF0000"/>
                </a:solidFill>
                <a:cs typeface="Arial" charset="0"/>
              </a:rPr>
              <a:t>DRAFT</a:t>
            </a:r>
            <a:endParaRPr lang="en-US" sz="1300" dirty="0">
              <a:solidFill>
                <a:srgbClr val="FF0000"/>
              </a:solidFill>
              <a:cs typeface="Arial" charset="0"/>
            </a:endParaRPr>
          </a:p>
        </p:txBody>
      </p:sp>
      <p:sp>
        <p:nvSpPr>
          <p:cNvPr id="11" name="ClientLogo" hidden="1"/>
          <p:cNvSpPr/>
          <p:nvPr/>
        </p:nvSpPr>
        <p:spPr bwMode="auto">
          <a:xfrm>
            <a:off x="8312733" y="6248849"/>
            <a:ext cx="3048000" cy="484094"/>
          </a:xfrm>
          <a:prstGeom prst="rect">
            <a:avLst/>
          </a:prstGeom>
          <a:solidFill>
            <a:srgbClr val="FEDF87"/>
          </a:solidFill>
          <a:ln w="9525" cap="flat" cmpd="sng" algn="ctr">
            <a:solidFill>
              <a:srgbClr val="FF0000"/>
            </a:solidFill>
            <a:prstDash val="solid"/>
            <a:round/>
            <a:headEnd type="none" w="med" len="med"/>
            <a:tailEnd type="none" w="med" len="med"/>
          </a:ln>
          <a:effectLst/>
        </p:spPr>
        <p:txBody>
          <a:bodyPr vert="horz" wrap="square" lIns="0" tIns="0" rIns="16412" bIns="16412" numCol="1" rtlCol="0" anchor="ctr" anchorCtr="0" compatLnSpc="1">
            <a:prstTxWarp prst="textNoShape">
              <a:avLst/>
            </a:prstTxWarp>
          </a:bodyPr>
          <a:lstStyle/>
          <a:p>
            <a:pPr algn="ctr" defTabSz="820583" fontAlgn="base">
              <a:spcBef>
                <a:spcPct val="0"/>
              </a:spcBef>
              <a:spcAft>
                <a:spcPct val="0"/>
              </a:spcAft>
            </a:pPr>
            <a:r>
              <a:rPr lang="en-US" sz="700" b="1" dirty="0">
                <a:solidFill>
                  <a:srgbClr val="FF0000"/>
                </a:solidFill>
                <a:cs typeface="Arial" pitchFamily="34" charset="0"/>
              </a:rPr>
              <a:t>PresBuilder  Client Logo Placeholder </a:t>
            </a:r>
            <a:r>
              <a:rPr lang="en-US" sz="700" dirty="0">
                <a:solidFill>
                  <a:srgbClr val="FF0000"/>
                </a:solidFill>
                <a:cs typeface="Arial" pitchFamily="34" charset="0"/>
              </a:rPr>
              <a:t>– </a:t>
            </a:r>
            <a:br>
              <a:rPr lang="en-US" sz="700" dirty="0">
                <a:solidFill>
                  <a:srgbClr val="FF0000"/>
                </a:solidFill>
                <a:cs typeface="Arial" pitchFamily="34" charset="0"/>
              </a:rPr>
            </a:br>
            <a:r>
              <a:rPr lang="en-US" sz="700" dirty="0">
                <a:solidFill>
                  <a:srgbClr val="FF0000"/>
                </a:solidFill>
                <a:cs typeface="Arial" pitchFamily="34" charset="0"/>
              </a:rPr>
              <a:t>Delete this box if you see it on a slide, but DO NOT REMOVE this box from the slide layout. </a:t>
            </a:r>
          </a:p>
        </p:txBody>
      </p:sp>
      <p:pic>
        <p:nvPicPr>
          <p:cNvPr id="16" name="Picture 7" descr="ppt_int_gradient_top_v2"/>
          <p:cNvPicPr>
            <a:picLocks noChangeAspect="1" noChangeArrowheads="1"/>
          </p:cNvPicPr>
          <p:nvPr/>
        </p:nvPicPr>
        <p:blipFill>
          <a:blip r:embed="rId15" cstate="print"/>
          <a:srcRect/>
          <a:stretch>
            <a:fillRect/>
          </a:stretch>
        </p:blipFill>
        <p:spPr bwMode="auto">
          <a:xfrm>
            <a:off x="0" y="6553200"/>
            <a:ext cx="12192000" cy="304800"/>
          </a:xfrm>
          <a:prstGeom prst="rect">
            <a:avLst/>
          </a:prstGeom>
          <a:noFill/>
          <a:ln w="9525">
            <a:noFill/>
            <a:miter lim="800000"/>
            <a:headEnd/>
            <a:tailEnd/>
          </a:ln>
        </p:spPr>
      </p:pic>
      <p:pic>
        <p:nvPicPr>
          <p:cNvPr id="17" name="Picture 12" descr="ppt_cvr_logo_v3"/>
          <p:cNvPicPr>
            <a:picLocks noChangeAspect="1" noChangeArrowheads="1"/>
          </p:cNvPicPr>
          <p:nvPr/>
        </p:nvPicPr>
        <p:blipFill>
          <a:blip r:embed="rId16" cstate="print"/>
          <a:srcRect/>
          <a:stretch>
            <a:fillRect/>
          </a:stretch>
        </p:blipFill>
        <p:spPr bwMode="auto">
          <a:xfrm>
            <a:off x="514773" y="5999164"/>
            <a:ext cx="2133600" cy="566737"/>
          </a:xfrm>
          <a:prstGeom prst="rect">
            <a:avLst/>
          </a:prstGeom>
          <a:noFill/>
          <a:ln w="9525">
            <a:noFill/>
            <a:miter lim="800000"/>
            <a:headEnd/>
            <a:tailEnd/>
          </a:ln>
        </p:spPr>
      </p:pic>
    </p:spTree>
    <p:extLst>
      <p:ext uri="{BB962C8B-B14F-4D97-AF65-F5344CB8AC3E}">
        <p14:creationId xmlns:p14="http://schemas.microsoft.com/office/powerpoint/2010/main" val="1360390216"/>
      </p:ext>
    </p:extLst>
  </p:cSld>
  <p:clrMap bg1="lt1" tx1="dk1" bg2="lt2" tx2="dk2" accent1="accent1" accent2="accent2" accent3="accent3" accent4="accent4" accent5="accent5" accent6="accent6" hlink="hlink" folHlink="folHlink"/>
  <p:sldLayoutIdLst>
    <p:sldLayoutId id="2147483831" r:id="rId1"/>
    <p:sldLayoutId id="2147483832" r:id="rId2"/>
    <p:sldLayoutId id="2147483833" r:id="rId3"/>
    <p:sldLayoutId id="2147483834" r:id="rId4"/>
    <p:sldLayoutId id="2147483835" r:id="rId5"/>
    <p:sldLayoutId id="2147483836" r:id="rId6"/>
    <p:sldLayoutId id="2147483837" r:id="rId7"/>
    <p:sldLayoutId id="2147483838" r:id="rId8"/>
  </p:sldLayoutIdLst>
  <p:hf hdr="0" dt="0"/>
  <p:txStyles>
    <p:titleStyle>
      <a:lvl1pPr algn="l" defTabSz="914608" rtl="0" eaLnBrk="1" fontAlgn="base" hangingPunct="1">
        <a:lnSpc>
          <a:spcPct val="80000"/>
        </a:lnSpc>
        <a:spcBef>
          <a:spcPct val="0"/>
        </a:spcBef>
        <a:spcAft>
          <a:spcPct val="0"/>
        </a:spcAft>
        <a:defRPr sz="2400">
          <a:solidFill>
            <a:srgbClr val="7E8083"/>
          </a:solidFill>
          <a:latin typeface="+mj-lt"/>
          <a:ea typeface="+mj-ea"/>
          <a:cs typeface="Calibri" pitchFamily="34" charset="0"/>
        </a:defRPr>
      </a:lvl1pPr>
      <a:lvl2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2pPr>
      <a:lvl3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3pPr>
      <a:lvl4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4pPr>
      <a:lvl5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5pPr>
      <a:lvl6pPr marL="410291"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6pPr>
      <a:lvl7pPr marL="820583"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7pPr>
      <a:lvl8pPr marL="1230874"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8pPr>
      <a:lvl9pPr marL="1641165"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9pPr>
    </p:titleStyle>
    <p:bodyStyle>
      <a:lvl1pPr marL="205146" indent="-205146" algn="l" defTabSz="914608" rtl="0" eaLnBrk="1" fontAlgn="base" hangingPunct="1">
        <a:lnSpc>
          <a:spcPct val="110000"/>
        </a:lnSpc>
        <a:spcBef>
          <a:spcPts val="905"/>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1pPr>
      <a:lvl2pPr marL="410291" indent="-203721" algn="l" defTabSz="914608" rtl="0" eaLnBrk="1" fontAlgn="base" hangingPunct="1">
        <a:lnSpc>
          <a:spcPct val="110000"/>
        </a:lnSpc>
        <a:spcBef>
          <a:spcPts val="302"/>
        </a:spcBef>
        <a:spcAft>
          <a:spcPct val="0"/>
        </a:spcAft>
        <a:buClr>
          <a:srgbClr val="CE361D"/>
        </a:buClr>
        <a:buSzPct val="85000"/>
        <a:buFont typeface="Wingdings 2" pitchFamily="18" charset="2"/>
        <a:buChar char=""/>
        <a:defRPr lang="en-US" sz="1300" dirty="0" smtClean="0">
          <a:solidFill>
            <a:srgbClr val="4B4B4B"/>
          </a:solidFill>
          <a:latin typeface="+mn-lt"/>
          <a:ea typeface="+mn-ea"/>
          <a:cs typeface="Calibri" pitchFamily="34" charset="0"/>
        </a:defRPr>
      </a:lvl2pPr>
      <a:lvl3pPr marL="615437" indent="-203721" algn="l" defTabSz="914608" rtl="0" eaLnBrk="1" fontAlgn="base" hangingPunct="1">
        <a:lnSpc>
          <a:spcPct val="110000"/>
        </a:lnSpc>
        <a:spcBef>
          <a:spcPts val="302"/>
        </a:spcBef>
        <a:spcAft>
          <a:spcPct val="0"/>
        </a:spcAft>
        <a:buClr>
          <a:srgbClr val="CE361D"/>
        </a:buClr>
        <a:buSzPct val="100000"/>
        <a:buFont typeface="Wingdings" pitchFamily="2" charset="2"/>
        <a:buChar char=""/>
        <a:defRPr lang="en-US" sz="1300" dirty="0" smtClean="0">
          <a:solidFill>
            <a:srgbClr val="4B4B4B"/>
          </a:solidFill>
          <a:latin typeface="+mn-lt"/>
          <a:ea typeface="+mn-ea"/>
          <a:cs typeface="Calibri" pitchFamily="34" charset="0"/>
        </a:defRPr>
      </a:lvl3pPr>
      <a:lvl4pPr marL="819158" indent="-202296" algn="l" defTabSz="914608" rtl="0" eaLnBrk="1" fontAlgn="base" hangingPunct="1">
        <a:lnSpc>
          <a:spcPct val="110000"/>
        </a:lnSpc>
        <a:spcBef>
          <a:spcPts val="302"/>
        </a:spcBef>
        <a:spcAft>
          <a:spcPct val="0"/>
        </a:spcAft>
        <a:buClr>
          <a:srgbClr val="CE361D"/>
        </a:buClr>
        <a:buSzPct val="80000"/>
        <a:buFont typeface="Wingdings 3" pitchFamily="18" charset="2"/>
        <a:buChar char=""/>
        <a:defRPr lang="en-US" sz="1300" dirty="0" smtClean="0">
          <a:solidFill>
            <a:srgbClr val="4B4B4B"/>
          </a:solidFill>
          <a:latin typeface="+mn-lt"/>
          <a:ea typeface="+mn-ea"/>
          <a:cs typeface="Calibri" pitchFamily="34" charset="0"/>
        </a:defRPr>
      </a:lvl4pPr>
      <a:lvl5pPr marL="1025728" indent="-205146" algn="l" defTabSz="914608" rtl="0" eaLnBrk="1" fontAlgn="base" hangingPunct="1">
        <a:lnSpc>
          <a:spcPct val="110000"/>
        </a:lnSpc>
        <a:spcBef>
          <a:spcPts val="302"/>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5pPr>
      <a:lvl6pPr marL="1233723" indent="-205146" algn="l" defTabSz="914608" rtl="0" eaLnBrk="1" fontAlgn="base" hangingPunct="1">
        <a:lnSpc>
          <a:spcPct val="110000"/>
        </a:lnSpc>
        <a:spcBef>
          <a:spcPts val="302"/>
        </a:spcBef>
        <a:spcAft>
          <a:spcPct val="0"/>
        </a:spcAft>
        <a:buClr>
          <a:schemeClr val="tx2"/>
        </a:buClr>
        <a:buSzPct val="85000"/>
        <a:buFont typeface="Wingdings 2" pitchFamily="18" charset="2"/>
        <a:buChar char="¡"/>
        <a:defRPr lang="en-US" sz="1300" baseline="0" dirty="0" smtClean="0">
          <a:solidFill>
            <a:schemeClr val="tx1"/>
          </a:solidFill>
          <a:latin typeface="+mn-lt"/>
          <a:ea typeface="+mn-ea"/>
          <a:cs typeface="+mn-cs"/>
        </a:defRPr>
      </a:lvl6pPr>
      <a:lvl7pPr marL="1433170" indent="-199447" algn="l" defTabSz="914608" rtl="0" eaLnBrk="1" fontAlgn="base" hangingPunct="1">
        <a:lnSpc>
          <a:spcPct val="110000"/>
        </a:lnSpc>
        <a:spcBef>
          <a:spcPts val="302"/>
        </a:spcBef>
        <a:spcAft>
          <a:spcPct val="0"/>
        </a:spcAft>
        <a:buClr>
          <a:schemeClr val="tx2"/>
        </a:buClr>
        <a:buSzPct val="100000"/>
        <a:buFont typeface="Wingdings" pitchFamily="2" charset="2"/>
        <a:buChar char="w"/>
        <a:defRPr lang="en-US" sz="1300" baseline="0" dirty="0" smtClean="0">
          <a:solidFill>
            <a:schemeClr val="tx1"/>
          </a:solidFill>
          <a:latin typeface="+mn-lt"/>
          <a:ea typeface="+mn-ea"/>
          <a:cs typeface="+mn-cs"/>
        </a:defRPr>
      </a:lvl7pPr>
      <a:lvl8pPr marL="1641165" indent="-207995" algn="l" defTabSz="914608" rtl="0" eaLnBrk="1" fontAlgn="base" hangingPunct="1">
        <a:lnSpc>
          <a:spcPct val="110000"/>
        </a:lnSpc>
        <a:spcBef>
          <a:spcPts val="302"/>
        </a:spcBef>
        <a:spcAft>
          <a:spcPct val="0"/>
        </a:spcAft>
        <a:buClr>
          <a:schemeClr val="tx2"/>
        </a:buClr>
        <a:buSzPct val="80000"/>
        <a:buFont typeface="Wingdings 3" pitchFamily="18" charset="2"/>
        <a:buChar char=""/>
        <a:defRPr lang="en-US" sz="1300" baseline="0" dirty="0" smtClean="0">
          <a:solidFill>
            <a:schemeClr val="tx1"/>
          </a:solidFill>
          <a:latin typeface="+mn-lt"/>
          <a:ea typeface="+mn-ea"/>
          <a:cs typeface="+mn-cs"/>
        </a:defRPr>
      </a:lvl8pPr>
      <a:lvl9pPr marL="1846311" indent="-205146" algn="l" defTabSz="914608" rtl="0" eaLnBrk="1" fontAlgn="base" hangingPunct="1">
        <a:lnSpc>
          <a:spcPct val="110000"/>
        </a:lnSpc>
        <a:spcBef>
          <a:spcPts val="302"/>
        </a:spcBef>
        <a:spcAft>
          <a:spcPct val="0"/>
        </a:spcAft>
        <a:buClr>
          <a:schemeClr val="tx2"/>
        </a:buClr>
        <a:buSzPct val="100000"/>
        <a:buFont typeface="Wingdings 2" pitchFamily="18" charset="2"/>
        <a:buChar char=""/>
        <a:defRPr lang="en-US" sz="1300" baseline="0" dirty="0" smtClean="0">
          <a:solidFill>
            <a:schemeClr val="tx1"/>
          </a:solidFill>
          <a:latin typeface="+mn-lt"/>
          <a:ea typeface="+mn-ea"/>
          <a:cs typeface="+mn-cs"/>
        </a:defRPr>
      </a:lvl9pPr>
    </p:bodyStyle>
    <p:otherStyle>
      <a:defPPr>
        <a:defRPr lang="en-US"/>
      </a:defPPr>
      <a:lvl1pPr marL="0" algn="l" defTabSz="820583" rtl="0" eaLnBrk="1" latinLnBrk="0" hangingPunct="1">
        <a:defRPr sz="1100" kern="1200">
          <a:solidFill>
            <a:schemeClr val="tx1"/>
          </a:solidFill>
          <a:latin typeface="+mn-lt"/>
          <a:ea typeface="+mn-ea"/>
          <a:cs typeface="+mn-cs"/>
        </a:defRPr>
      </a:lvl1pPr>
      <a:lvl2pPr marL="410291" algn="l" defTabSz="820583" rtl="0" eaLnBrk="1" latinLnBrk="0" hangingPunct="1">
        <a:defRPr sz="1100" kern="1200">
          <a:solidFill>
            <a:schemeClr val="tx1"/>
          </a:solidFill>
          <a:latin typeface="+mn-lt"/>
          <a:ea typeface="+mn-ea"/>
          <a:cs typeface="+mn-cs"/>
        </a:defRPr>
      </a:lvl2pPr>
      <a:lvl3pPr marL="820583" algn="l" defTabSz="820583" rtl="0" eaLnBrk="1" latinLnBrk="0" hangingPunct="1">
        <a:defRPr sz="1100" kern="1200">
          <a:solidFill>
            <a:schemeClr val="tx1"/>
          </a:solidFill>
          <a:latin typeface="+mn-lt"/>
          <a:ea typeface="+mn-ea"/>
          <a:cs typeface="+mn-cs"/>
        </a:defRPr>
      </a:lvl3pPr>
      <a:lvl4pPr marL="1230874" algn="l" defTabSz="820583" rtl="0" eaLnBrk="1" latinLnBrk="0" hangingPunct="1">
        <a:defRPr sz="1100" kern="1200">
          <a:solidFill>
            <a:schemeClr val="tx1"/>
          </a:solidFill>
          <a:latin typeface="+mn-lt"/>
          <a:ea typeface="+mn-ea"/>
          <a:cs typeface="+mn-cs"/>
        </a:defRPr>
      </a:lvl4pPr>
      <a:lvl5pPr marL="1641165" algn="l" defTabSz="820583" rtl="0" eaLnBrk="1" latinLnBrk="0" hangingPunct="1">
        <a:defRPr sz="1100" kern="1200">
          <a:solidFill>
            <a:schemeClr val="tx1"/>
          </a:solidFill>
          <a:latin typeface="+mn-lt"/>
          <a:ea typeface="+mn-ea"/>
          <a:cs typeface="+mn-cs"/>
        </a:defRPr>
      </a:lvl5pPr>
      <a:lvl6pPr marL="2051456" algn="l" defTabSz="820583" rtl="0" eaLnBrk="1" latinLnBrk="0" hangingPunct="1">
        <a:defRPr sz="1100" kern="1200">
          <a:solidFill>
            <a:schemeClr val="tx1"/>
          </a:solidFill>
          <a:latin typeface="+mn-lt"/>
          <a:ea typeface="+mn-ea"/>
          <a:cs typeface="+mn-cs"/>
        </a:defRPr>
      </a:lvl6pPr>
      <a:lvl7pPr marL="2461748" algn="l" defTabSz="820583" rtl="0" eaLnBrk="1" latinLnBrk="0" hangingPunct="1">
        <a:defRPr sz="1100" kern="1200">
          <a:solidFill>
            <a:schemeClr val="tx1"/>
          </a:solidFill>
          <a:latin typeface="+mn-lt"/>
          <a:ea typeface="+mn-ea"/>
          <a:cs typeface="+mn-cs"/>
        </a:defRPr>
      </a:lvl7pPr>
      <a:lvl8pPr marL="2872039" algn="l" defTabSz="820583" rtl="0" eaLnBrk="1" latinLnBrk="0" hangingPunct="1">
        <a:defRPr sz="1100" kern="1200">
          <a:solidFill>
            <a:schemeClr val="tx1"/>
          </a:solidFill>
          <a:latin typeface="+mn-lt"/>
          <a:ea typeface="+mn-ea"/>
          <a:cs typeface="+mn-cs"/>
        </a:defRPr>
      </a:lvl8pPr>
      <a:lvl9pPr marL="3282330" algn="l" defTabSz="820583" rtl="0" eaLnBrk="1" latinLnBrk="0" hangingPunct="1">
        <a:defRPr sz="11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4074421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3" name="Object 2"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1"/>
            </p:custDataLst>
          </p:nvPr>
        </p:nvSpPr>
        <p:spPr bwMode="auto">
          <a:xfrm>
            <a:off x="0" y="0"/>
            <a:ext cx="158750" cy="158750"/>
          </a:xfrm>
          <a:prstGeom prst="rect">
            <a:avLst/>
          </a:prstGeom>
          <a:noFill/>
          <a:ln w="952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a:ea typeface="+mj-ea"/>
              <a:cs typeface="Arial" pitchFamily="34" charset="0"/>
              <a:sym typeface="Arial"/>
            </a:endParaRPr>
          </a:p>
        </p:txBody>
      </p:sp>
      <p:sp>
        <p:nvSpPr>
          <p:cNvPr id="4099" name="Rectangle 3"/>
          <p:cNvSpPr>
            <a:spLocks noGrp="1" noChangeArrowheads="1"/>
          </p:cNvSpPr>
          <p:nvPr>
            <p:ph type="body" idx="1"/>
          </p:nvPr>
        </p:nvSpPr>
        <p:spPr bwMode="auto">
          <a:xfrm>
            <a:off x="508000" y="1341439"/>
            <a:ext cx="11176000" cy="4575268"/>
          </a:xfrm>
          <a:prstGeom prst="rect">
            <a:avLst/>
          </a:prstGeom>
          <a:noFill/>
          <a:ln w="9525" algn="ctr">
            <a:noFill/>
            <a:miter lim="800000"/>
            <a:headEnd/>
            <a:tailEnd/>
          </a:ln>
        </p:spPr>
        <p:txBody>
          <a:bodyPr vert="horz" wrap="square" lIns="91440" tIns="41029" rIns="91440" bIns="4102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1" name="Rectangle 7"/>
          <p:cNvSpPr>
            <a:spLocks noChangeArrowheads="1"/>
          </p:cNvSpPr>
          <p:nvPr/>
        </p:nvSpPr>
        <p:spPr bwMode="white">
          <a:xfrm flipV="1">
            <a:off x="0" y="6177243"/>
            <a:ext cx="12192000" cy="684960"/>
          </a:xfrm>
          <a:prstGeom prst="rect">
            <a:avLst/>
          </a:prstGeom>
          <a:solidFill>
            <a:srgbClr val="FFFFFF"/>
          </a:solidFill>
          <a:ln w="19050">
            <a:noFill/>
            <a:miter lim="800000"/>
            <a:headEnd/>
            <a:tailEnd/>
          </a:ln>
          <a:effectLst/>
        </p:spPr>
        <p:txBody>
          <a:bodyPr wrap="none" lIns="82058" tIns="41029" rIns="82058" bIns="41029" anchor="ctr"/>
          <a:lstStyle/>
          <a:p>
            <a:pPr algn="ctr" fontAlgn="base">
              <a:spcBef>
                <a:spcPct val="0"/>
              </a:spcBef>
              <a:spcAft>
                <a:spcPct val="0"/>
              </a:spcAft>
              <a:defRPr/>
            </a:pPr>
            <a:endParaRPr lang="en-US" sz="1300">
              <a:solidFill>
                <a:srgbClr val="000000"/>
              </a:solidFill>
              <a:cs typeface="Arial" charset="0"/>
            </a:endParaRPr>
          </a:p>
        </p:txBody>
      </p:sp>
      <p:sp>
        <p:nvSpPr>
          <p:cNvPr id="4103" name="Rectangle 145"/>
          <p:cNvSpPr>
            <a:spLocks noGrp="1" noChangeArrowheads="1"/>
          </p:cNvSpPr>
          <p:nvPr>
            <p:ph type="title"/>
          </p:nvPr>
        </p:nvSpPr>
        <p:spPr bwMode="auto">
          <a:xfrm>
            <a:off x="508000" y="337075"/>
            <a:ext cx="11047307" cy="470647"/>
          </a:xfrm>
          <a:prstGeom prst="rect">
            <a:avLst/>
          </a:prstGeom>
          <a:noFill/>
          <a:ln w="9525">
            <a:noFill/>
            <a:miter lim="800000"/>
            <a:headEnd/>
            <a:tailEnd/>
          </a:ln>
        </p:spPr>
        <p:txBody>
          <a:bodyPr vert="horz" wrap="square" lIns="91440" tIns="45714" rIns="91440" bIns="45714" numCol="1" anchor="b" anchorCtr="0" compatLnSpc="1">
            <a:prstTxWarp prst="textNoShape">
              <a:avLst/>
            </a:prstTxWarp>
          </a:bodyPr>
          <a:lstStyle/>
          <a:p>
            <a:pPr lvl="0"/>
            <a:r>
              <a:rPr lang="en-US" dirty="0"/>
              <a:t>Click to edit Master title style</a:t>
            </a:r>
          </a:p>
        </p:txBody>
      </p:sp>
      <p:sp>
        <p:nvSpPr>
          <p:cNvPr id="14" name="plhSlideNumber"/>
          <p:cNvSpPr>
            <a:spLocks noGrp="1"/>
          </p:cNvSpPr>
          <p:nvPr>
            <p:ph type="sldNum" sz="quarter" idx="4"/>
          </p:nvPr>
        </p:nvSpPr>
        <p:spPr>
          <a:xfrm>
            <a:off x="8785014" y="6339114"/>
            <a:ext cx="2844031" cy="365592"/>
          </a:xfrm>
          <a:prstGeom prst="rect">
            <a:avLst/>
          </a:prstGeom>
        </p:spPr>
        <p:txBody>
          <a:bodyPr lIns="82058" tIns="41029" rIns="82058" bIns="41029"/>
          <a:lstStyle>
            <a:lvl1pPr algn="r">
              <a:defRPr sz="900">
                <a:solidFill>
                  <a:srgbClr val="4B4B4B"/>
                </a:solidFill>
                <a:latin typeface="+mn-lt"/>
              </a:defRPr>
            </a:lvl1pPr>
          </a:lstStyle>
          <a:p>
            <a:pPr fontAlgn="base">
              <a:spcBef>
                <a:spcPct val="0"/>
              </a:spcBef>
              <a:spcAft>
                <a:spcPct val="0"/>
              </a:spcAft>
            </a:pPr>
            <a:fld id="{E189E361-82B6-4274-A833-6E3626364A67}" type="slidenum">
              <a:rPr lang="en-US" smtClean="0">
                <a:cs typeface="Arial" charset="0"/>
              </a:rPr>
              <a:pPr fontAlgn="base">
                <a:spcBef>
                  <a:spcPct val="0"/>
                </a:spcBef>
                <a:spcAft>
                  <a:spcPct val="0"/>
                </a:spcAft>
              </a:pPr>
              <a:t>‹#›</a:t>
            </a:fld>
            <a:endParaRPr lang="en-US" dirty="0">
              <a:cs typeface="Arial" charset="0"/>
            </a:endParaRPr>
          </a:p>
        </p:txBody>
      </p:sp>
      <p:sp>
        <p:nvSpPr>
          <p:cNvPr id="15" name="shpStamp"/>
          <p:cNvSpPr txBox="1">
            <a:spLocks noChangeArrowheads="1"/>
          </p:cNvSpPr>
          <p:nvPr>
            <p:custDataLst>
              <p:tags r:id="rId12"/>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a:solidFill>
                  <a:srgbClr val="FF0000"/>
                </a:solidFill>
                <a:cs typeface="Arial" charset="0"/>
              </a:rPr>
              <a:t>DRAFT</a:t>
            </a:r>
            <a:endParaRPr lang="en-US" sz="1300" dirty="0">
              <a:solidFill>
                <a:srgbClr val="FF0000"/>
              </a:solidFill>
              <a:cs typeface="Arial" charset="0"/>
            </a:endParaRPr>
          </a:p>
        </p:txBody>
      </p:sp>
      <p:sp>
        <p:nvSpPr>
          <p:cNvPr id="11" name="ClientLogo" hidden="1"/>
          <p:cNvSpPr/>
          <p:nvPr/>
        </p:nvSpPr>
        <p:spPr bwMode="auto">
          <a:xfrm>
            <a:off x="8312733" y="6248849"/>
            <a:ext cx="3048000" cy="484094"/>
          </a:xfrm>
          <a:prstGeom prst="rect">
            <a:avLst/>
          </a:prstGeom>
          <a:solidFill>
            <a:srgbClr val="FEDF87"/>
          </a:solidFill>
          <a:ln w="9525" cap="flat" cmpd="sng" algn="ctr">
            <a:solidFill>
              <a:srgbClr val="FF0000"/>
            </a:solidFill>
            <a:prstDash val="solid"/>
            <a:round/>
            <a:headEnd type="none" w="med" len="med"/>
            <a:tailEnd type="none" w="med" len="med"/>
          </a:ln>
          <a:effectLst/>
        </p:spPr>
        <p:txBody>
          <a:bodyPr vert="horz" wrap="square" lIns="0" tIns="0" rIns="16412" bIns="16412" numCol="1" rtlCol="0" anchor="ctr" anchorCtr="0" compatLnSpc="1">
            <a:prstTxWarp prst="textNoShape">
              <a:avLst/>
            </a:prstTxWarp>
          </a:bodyPr>
          <a:lstStyle/>
          <a:p>
            <a:pPr algn="ctr" defTabSz="820583" fontAlgn="base">
              <a:spcBef>
                <a:spcPct val="0"/>
              </a:spcBef>
              <a:spcAft>
                <a:spcPct val="0"/>
              </a:spcAft>
            </a:pPr>
            <a:r>
              <a:rPr lang="en-US" sz="700" b="1" dirty="0">
                <a:solidFill>
                  <a:srgbClr val="FF0000"/>
                </a:solidFill>
                <a:cs typeface="Arial" pitchFamily="34" charset="0"/>
              </a:rPr>
              <a:t>PresBuilder  Client Logo Placeholder </a:t>
            </a:r>
            <a:r>
              <a:rPr lang="en-US" sz="700" dirty="0">
                <a:solidFill>
                  <a:srgbClr val="FF0000"/>
                </a:solidFill>
                <a:cs typeface="Arial" pitchFamily="34" charset="0"/>
              </a:rPr>
              <a:t>– </a:t>
            </a:r>
            <a:br>
              <a:rPr lang="en-US" sz="700" dirty="0">
                <a:solidFill>
                  <a:srgbClr val="FF0000"/>
                </a:solidFill>
                <a:cs typeface="Arial" pitchFamily="34" charset="0"/>
              </a:rPr>
            </a:br>
            <a:r>
              <a:rPr lang="en-US" sz="700" dirty="0">
                <a:solidFill>
                  <a:srgbClr val="FF0000"/>
                </a:solidFill>
                <a:cs typeface="Arial" pitchFamily="34" charset="0"/>
              </a:rPr>
              <a:t>Delete this box if you see it on a slide, but DO NOT REMOVE this box from the slide layout. </a:t>
            </a:r>
          </a:p>
        </p:txBody>
      </p:sp>
      <p:pic>
        <p:nvPicPr>
          <p:cNvPr id="16" name="Picture 7" descr="ppt_int_gradient_top_v2"/>
          <p:cNvPicPr>
            <a:picLocks noChangeAspect="1" noChangeArrowheads="1"/>
          </p:cNvPicPr>
          <p:nvPr/>
        </p:nvPicPr>
        <p:blipFill>
          <a:blip r:embed="rId15" cstate="print"/>
          <a:srcRect/>
          <a:stretch>
            <a:fillRect/>
          </a:stretch>
        </p:blipFill>
        <p:spPr bwMode="auto">
          <a:xfrm>
            <a:off x="0" y="6553200"/>
            <a:ext cx="12192000" cy="304800"/>
          </a:xfrm>
          <a:prstGeom prst="rect">
            <a:avLst/>
          </a:prstGeom>
          <a:noFill/>
          <a:ln w="9525">
            <a:noFill/>
            <a:miter lim="800000"/>
            <a:headEnd/>
            <a:tailEnd/>
          </a:ln>
        </p:spPr>
      </p:pic>
      <p:pic>
        <p:nvPicPr>
          <p:cNvPr id="17" name="Picture 12" descr="ppt_cvr_logo_v3"/>
          <p:cNvPicPr>
            <a:picLocks noChangeAspect="1" noChangeArrowheads="1"/>
          </p:cNvPicPr>
          <p:nvPr/>
        </p:nvPicPr>
        <p:blipFill>
          <a:blip r:embed="rId16" cstate="print"/>
          <a:srcRect/>
          <a:stretch>
            <a:fillRect/>
          </a:stretch>
        </p:blipFill>
        <p:spPr bwMode="auto">
          <a:xfrm>
            <a:off x="514773" y="5999164"/>
            <a:ext cx="2133600" cy="566737"/>
          </a:xfrm>
          <a:prstGeom prst="rect">
            <a:avLst/>
          </a:prstGeom>
          <a:noFill/>
          <a:ln w="9525">
            <a:noFill/>
            <a:miter lim="800000"/>
            <a:headEnd/>
            <a:tailEnd/>
          </a:ln>
        </p:spPr>
      </p:pic>
    </p:spTree>
    <p:extLst>
      <p:ext uri="{BB962C8B-B14F-4D97-AF65-F5344CB8AC3E}">
        <p14:creationId xmlns:p14="http://schemas.microsoft.com/office/powerpoint/2010/main" val="3038347024"/>
      </p:ext>
    </p:extLst>
  </p:cSld>
  <p:clrMap bg1="lt1" tx1="dk1" bg2="lt2" tx2="dk2" accent1="accent1" accent2="accent2" accent3="accent3" accent4="accent4" accent5="accent5" accent6="accent6" hlink="hlink" folHlink="folHlink"/>
  <p:sldLayoutIdLst>
    <p:sldLayoutId id="2147483840" r:id="rId1"/>
    <p:sldLayoutId id="2147483841" r:id="rId2"/>
    <p:sldLayoutId id="2147483842" r:id="rId3"/>
    <p:sldLayoutId id="2147483843" r:id="rId4"/>
    <p:sldLayoutId id="2147483844" r:id="rId5"/>
    <p:sldLayoutId id="2147483845" r:id="rId6"/>
    <p:sldLayoutId id="2147483846" r:id="rId7"/>
    <p:sldLayoutId id="2147483847" r:id="rId8"/>
  </p:sldLayoutIdLst>
  <p:hf hdr="0" dt="0"/>
  <p:txStyles>
    <p:titleStyle>
      <a:lvl1pPr algn="l" defTabSz="914608" rtl="0" eaLnBrk="1" fontAlgn="base" hangingPunct="1">
        <a:lnSpc>
          <a:spcPct val="80000"/>
        </a:lnSpc>
        <a:spcBef>
          <a:spcPct val="0"/>
        </a:spcBef>
        <a:spcAft>
          <a:spcPct val="0"/>
        </a:spcAft>
        <a:defRPr sz="2400">
          <a:solidFill>
            <a:srgbClr val="7E8083"/>
          </a:solidFill>
          <a:latin typeface="+mj-lt"/>
          <a:ea typeface="+mj-ea"/>
          <a:cs typeface="Calibri" pitchFamily="34" charset="0"/>
        </a:defRPr>
      </a:lvl1pPr>
      <a:lvl2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2pPr>
      <a:lvl3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3pPr>
      <a:lvl4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4pPr>
      <a:lvl5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5pPr>
      <a:lvl6pPr marL="410291"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6pPr>
      <a:lvl7pPr marL="820583"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7pPr>
      <a:lvl8pPr marL="1230874"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8pPr>
      <a:lvl9pPr marL="1641165"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9pPr>
    </p:titleStyle>
    <p:bodyStyle>
      <a:lvl1pPr marL="205146" indent="-205146" algn="l" defTabSz="914608" rtl="0" eaLnBrk="1" fontAlgn="base" hangingPunct="1">
        <a:lnSpc>
          <a:spcPct val="110000"/>
        </a:lnSpc>
        <a:spcBef>
          <a:spcPts val="905"/>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1pPr>
      <a:lvl2pPr marL="410291" indent="-203721" algn="l" defTabSz="914608" rtl="0" eaLnBrk="1" fontAlgn="base" hangingPunct="1">
        <a:lnSpc>
          <a:spcPct val="110000"/>
        </a:lnSpc>
        <a:spcBef>
          <a:spcPts val="302"/>
        </a:spcBef>
        <a:spcAft>
          <a:spcPct val="0"/>
        </a:spcAft>
        <a:buClr>
          <a:srgbClr val="CE361D"/>
        </a:buClr>
        <a:buSzPct val="85000"/>
        <a:buFont typeface="Wingdings 2" pitchFamily="18" charset="2"/>
        <a:buChar char=""/>
        <a:defRPr lang="en-US" sz="1300" dirty="0" smtClean="0">
          <a:solidFill>
            <a:srgbClr val="4B4B4B"/>
          </a:solidFill>
          <a:latin typeface="+mn-lt"/>
          <a:ea typeface="+mn-ea"/>
          <a:cs typeface="Calibri" pitchFamily="34" charset="0"/>
        </a:defRPr>
      </a:lvl2pPr>
      <a:lvl3pPr marL="615437" indent="-203721" algn="l" defTabSz="914608" rtl="0" eaLnBrk="1" fontAlgn="base" hangingPunct="1">
        <a:lnSpc>
          <a:spcPct val="110000"/>
        </a:lnSpc>
        <a:spcBef>
          <a:spcPts val="302"/>
        </a:spcBef>
        <a:spcAft>
          <a:spcPct val="0"/>
        </a:spcAft>
        <a:buClr>
          <a:srgbClr val="CE361D"/>
        </a:buClr>
        <a:buSzPct val="100000"/>
        <a:buFont typeface="Wingdings" pitchFamily="2" charset="2"/>
        <a:buChar char=""/>
        <a:defRPr lang="en-US" sz="1300" dirty="0" smtClean="0">
          <a:solidFill>
            <a:srgbClr val="4B4B4B"/>
          </a:solidFill>
          <a:latin typeface="+mn-lt"/>
          <a:ea typeface="+mn-ea"/>
          <a:cs typeface="Calibri" pitchFamily="34" charset="0"/>
        </a:defRPr>
      </a:lvl3pPr>
      <a:lvl4pPr marL="819158" indent="-202296" algn="l" defTabSz="914608" rtl="0" eaLnBrk="1" fontAlgn="base" hangingPunct="1">
        <a:lnSpc>
          <a:spcPct val="110000"/>
        </a:lnSpc>
        <a:spcBef>
          <a:spcPts val="302"/>
        </a:spcBef>
        <a:spcAft>
          <a:spcPct val="0"/>
        </a:spcAft>
        <a:buClr>
          <a:srgbClr val="CE361D"/>
        </a:buClr>
        <a:buSzPct val="80000"/>
        <a:buFont typeface="Wingdings 3" pitchFamily="18" charset="2"/>
        <a:buChar char=""/>
        <a:defRPr lang="en-US" sz="1300" dirty="0" smtClean="0">
          <a:solidFill>
            <a:srgbClr val="4B4B4B"/>
          </a:solidFill>
          <a:latin typeface="+mn-lt"/>
          <a:ea typeface="+mn-ea"/>
          <a:cs typeface="Calibri" pitchFamily="34" charset="0"/>
        </a:defRPr>
      </a:lvl4pPr>
      <a:lvl5pPr marL="1025728" indent="-205146" algn="l" defTabSz="914608" rtl="0" eaLnBrk="1" fontAlgn="base" hangingPunct="1">
        <a:lnSpc>
          <a:spcPct val="110000"/>
        </a:lnSpc>
        <a:spcBef>
          <a:spcPts val="302"/>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5pPr>
      <a:lvl6pPr marL="1233723" indent="-205146" algn="l" defTabSz="914608" rtl="0" eaLnBrk="1" fontAlgn="base" hangingPunct="1">
        <a:lnSpc>
          <a:spcPct val="110000"/>
        </a:lnSpc>
        <a:spcBef>
          <a:spcPts val="302"/>
        </a:spcBef>
        <a:spcAft>
          <a:spcPct val="0"/>
        </a:spcAft>
        <a:buClr>
          <a:schemeClr val="tx2"/>
        </a:buClr>
        <a:buSzPct val="85000"/>
        <a:buFont typeface="Wingdings 2" pitchFamily="18" charset="2"/>
        <a:buChar char="¡"/>
        <a:defRPr lang="en-US" sz="1300" baseline="0" dirty="0" smtClean="0">
          <a:solidFill>
            <a:schemeClr val="tx1"/>
          </a:solidFill>
          <a:latin typeface="+mn-lt"/>
          <a:ea typeface="+mn-ea"/>
          <a:cs typeface="+mn-cs"/>
        </a:defRPr>
      </a:lvl6pPr>
      <a:lvl7pPr marL="1433170" indent="-199447" algn="l" defTabSz="914608" rtl="0" eaLnBrk="1" fontAlgn="base" hangingPunct="1">
        <a:lnSpc>
          <a:spcPct val="110000"/>
        </a:lnSpc>
        <a:spcBef>
          <a:spcPts val="302"/>
        </a:spcBef>
        <a:spcAft>
          <a:spcPct val="0"/>
        </a:spcAft>
        <a:buClr>
          <a:schemeClr val="tx2"/>
        </a:buClr>
        <a:buSzPct val="100000"/>
        <a:buFont typeface="Wingdings" pitchFamily="2" charset="2"/>
        <a:buChar char="w"/>
        <a:defRPr lang="en-US" sz="1300" baseline="0" dirty="0" smtClean="0">
          <a:solidFill>
            <a:schemeClr val="tx1"/>
          </a:solidFill>
          <a:latin typeface="+mn-lt"/>
          <a:ea typeface="+mn-ea"/>
          <a:cs typeface="+mn-cs"/>
        </a:defRPr>
      </a:lvl7pPr>
      <a:lvl8pPr marL="1641165" indent="-207995" algn="l" defTabSz="914608" rtl="0" eaLnBrk="1" fontAlgn="base" hangingPunct="1">
        <a:lnSpc>
          <a:spcPct val="110000"/>
        </a:lnSpc>
        <a:spcBef>
          <a:spcPts val="302"/>
        </a:spcBef>
        <a:spcAft>
          <a:spcPct val="0"/>
        </a:spcAft>
        <a:buClr>
          <a:schemeClr val="tx2"/>
        </a:buClr>
        <a:buSzPct val="80000"/>
        <a:buFont typeface="Wingdings 3" pitchFamily="18" charset="2"/>
        <a:buChar char=""/>
        <a:defRPr lang="en-US" sz="1300" baseline="0" dirty="0" smtClean="0">
          <a:solidFill>
            <a:schemeClr val="tx1"/>
          </a:solidFill>
          <a:latin typeface="+mn-lt"/>
          <a:ea typeface="+mn-ea"/>
          <a:cs typeface="+mn-cs"/>
        </a:defRPr>
      </a:lvl8pPr>
      <a:lvl9pPr marL="1846311" indent="-205146" algn="l" defTabSz="914608" rtl="0" eaLnBrk="1" fontAlgn="base" hangingPunct="1">
        <a:lnSpc>
          <a:spcPct val="110000"/>
        </a:lnSpc>
        <a:spcBef>
          <a:spcPts val="302"/>
        </a:spcBef>
        <a:spcAft>
          <a:spcPct val="0"/>
        </a:spcAft>
        <a:buClr>
          <a:schemeClr val="tx2"/>
        </a:buClr>
        <a:buSzPct val="100000"/>
        <a:buFont typeface="Wingdings 2" pitchFamily="18" charset="2"/>
        <a:buChar char=""/>
        <a:defRPr lang="en-US" sz="1300" baseline="0" dirty="0" smtClean="0">
          <a:solidFill>
            <a:schemeClr val="tx1"/>
          </a:solidFill>
          <a:latin typeface="+mn-lt"/>
          <a:ea typeface="+mn-ea"/>
          <a:cs typeface="+mn-cs"/>
        </a:defRPr>
      </a:lvl9pPr>
    </p:bodyStyle>
    <p:otherStyle>
      <a:defPPr>
        <a:defRPr lang="en-US"/>
      </a:defPPr>
      <a:lvl1pPr marL="0" algn="l" defTabSz="820583" rtl="0" eaLnBrk="1" latinLnBrk="0" hangingPunct="1">
        <a:defRPr sz="1100" kern="1200">
          <a:solidFill>
            <a:schemeClr val="tx1"/>
          </a:solidFill>
          <a:latin typeface="+mn-lt"/>
          <a:ea typeface="+mn-ea"/>
          <a:cs typeface="+mn-cs"/>
        </a:defRPr>
      </a:lvl1pPr>
      <a:lvl2pPr marL="410291" algn="l" defTabSz="820583" rtl="0" eaLnBrk="1" latinLnBrk="0" hangingPunct="1">
        <a:defRPr sz="1100" kern="1200">
          <a:solidFill>
            <a:schemeClr val="tx1"/>
          </a:solidFill>
          <a:latin typeface="+mn-lt"/>
          <a:ea typeface="+mn-ea"/>
          <a:cs typeface="+mn-cs"/>
        </a:defRPr>
      </a:lvl2pPr>
      <a:lvl3pPr marL="820583" algn="l" defTabSz="820583" rtl="0" eaLnBrk="1" latinLnBrk="0" hangingPunct="1">
        <a:defRPr sz="1100" kern="1200">
          <a:solidFill>
            <a:schemeClr val="tx1"/>
          </a:solidFill>
          <a:latin typeface="+mn-lt"/>
          <a:ea typeface="+mn-ea"/>
          <a:cs typeface="+mn-cs"/>
        </a:defRPr>
      </a:lvl3pPr>
      <a:lvl4pPr marL="1230874" algn="l" defTabSz="820583" rtl="0" eaLnBrk="1" latinLnBrk="0" hangingPunct="1">
        <a:defRPr sz="1100" kern="1200">
          <a:solidFill>
            <a:schemeClr val="tx1"/>
          </a:solidFill>
          <a:latin typeface="+mn-lt"/>
          <a:ea typeface="+mn-ea"/>
          <a:cs typeface="+mn-cs"/>
        </a:defRPr>
      </a:lvl4pPr>
      <a:lvl5pPr marL="1641165" algn="l" defTabSz="820583" rtl="0" eaLnBrk="1" latinLnBrk="0" hangingPunct="1">
        <a:defRPr sz="1100" kern="1200">
          <a:solidFill>
            <a:schemeClr val="tx1"/>
          </a:solidFill>
          <a:latin typeface="+mn-lt"/>
          <a:ea typeface="+mn-ea"/>
          <a:cs typeface="+mn-cs"/>
        </a:defRPr>
      </a:lvl5pPr>
      <a:lvl6pPr marL="2051456" algn="l" defTabSz="820583" rtl="0" eaLnBrk="1" latinLnBrk="0" hangingPunct="1">
        <a:defRPr sz="1100" kern="1200">
          <a:solidFill>
            <a:schemeClr val="tx1"/>
          </a:solidFill>
          <a:latin typeface="+mn-lt"/>
          <a:ea typeface="+mn-ea"/>
          <a:cs typeface="+mn-cs"/>
        </a:defRPr>
      </a:lvl6pPr>
      <a:lvl7pPr marL="2461748" algn="l" defTabSz="820583" rtl="0" eaLnBrk="1" latinLnBrk="0" hangingPunct="1">
        <a:defRPr sz="1100" kern="1200">
          <a:solidFill>
            <a:schemeClr val="tx1"/>
          </a:solidFill>
          <a:latin typeface="+mn-lt"/>
          <a:ea typeface="+mn-ea"/>
          <a:cs typeface="+mn-cs"/>
        </a:defRPr>
      </a:lvl7pPr>
      <a:lvl8pPr marL="2872039" algn="l" defTabSz="820583" rtl="0" eaLnBrk="1" latinLnBrk="0" hangingPunct="1">
        <a:defRPr sz="1100" kern="1200">
          <a:solidFill>
            <a:schemeClr val="tx1"/>
          </a:solidFill>
          <a:latin typeface="+mn-lt"/>
          <a:ea typeface="+mn-ea"/>
          <a:cs typeface="+mn-cs"/>
        </a:defRPr>
      </a:lvl8pPr>
      <a:lvl9pPr marL="3282330" algn="l" defTabSz="820583" rtl="0" eaLnBrk="1" latinLnBrk="0" hangingPunct="1">
        <a:defRPr sz="11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41769423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3" name="Object 2"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1"/>
            </p:custDataLst>
          </p:nvPr>
        </p:nvSpPr>
        <p:spPr bwMode="auto">
          <a:xfrm>
            <a:off x="0" y="0"/>
            <a:ext cx="158750" cy="158750"/>
          </a:xfrm>
          <a:prstGeom prst="rect">
            <a:avLst/>
          </a:prstGeom>
          <a:noFill/>
          <a:ln w="952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a:ea typeface="+mj-ea"/>
              <a:cs typeface="Arial" pitchFamily="34" charset="0"/>
              <a:sym typeface="Arial"/>
            </a:endParaRPr>
          </a:p>
        </p:txBody>
      </p:sp>
      <p:sp>
        <p:nvSpPr>
          <p:cNvPr id="4099" name="Rectangle 3"/>
          <p:cNvSpPr>
            <a:spLocks noGrp="1" noChangeArrowheads="1"/>
          </p:cNvSpPr>
          <p:nvPr>
            <p:ph type="body" idx="1"/>
          </p:nvPr>
        </p:nvSpPr>
        <p:spPr bwMode="auto">
          <a:xfrm>
            <a:off x="508000" y="1341439"/>
            <a:ext cx="11176000" cy="4575268"/>
          </a:xfrm>
          <a:prstGeom prst="rect">
            <a:avLst/>
          </a:prstGeom>
          <a:noFill/>
          <a:ln w="9525" algn="ctr">
            <a:noFill/>
            <a:miter lim="800000"/>
            <a:headEnd/>
            <a:tailEnd/>
          </a:ln>
        </p:spPr>
        <p:txBody>
          <a:bodyPr vert="horz" wrap="square" lIns="91440" tIns="41029" rIns="91440" bIns="4102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1" name="Rectangle 7"/>
          <p:cNvSpPr>
            <a:spLocks noChangeArrowheads="1"/>
          </p:cNvSpPr>
          <p:nvPr/>
        </p:nvSpPr>
        <p:spPr bwMode="white">
          <a:xfrm flipV="1">
            <a:off x="0" y="6177243"/>
            <a:ext cx="12192000" cy="684960"/>
          </a:xfrm>
          <a:prstGeom prst="rect">
            <a:avLst/>
          </a:prstGeom>
          <a:solidFill>
            <a:srgbClr val="FFFFFF"/>
          </a:solidFill>
          <a:ln w="19050">
            <a:noFill/>
            <a:miter lim="800000"/>
            <a:headEnd/>
            <a:tailEnd/>
          </a:ln>
          <a:effectLst/>
        </p:spPr>
        <p:txBody>
          <a:bodyPr wrap="none" lIns="82058" tIns="41029" rIns="82058" bIns="41029" anchor="ctr"/>
          <a:lstStyle/>
          <a:p>
            <a:pPr algn="ctr" fontAlgn="base">
              <a:spcBef>
                <a:spcPct val="0"/>
              </a:spcBef>
              <a:spcAft>
                <a:spcPct val="0"/>
              </a:spcAft>
              <a:defRPr/>
            </a:pPr>
            <a:endParaRPr lang="en-US" sz="1300">
              <a:solidFill>
                <a:srgbClr val="000000"/>
              </a:solidFill>
              <a:cs typeface="Arial" charset="0"/>
            </a:endParaRPr>
          </a:p>
        </p:txBody>
      </p:sp>
      <p:sp>
        <p:nvSpPr>
          <p:cNvPr id="4103" name="Rectangle 145"/>
          <p:cNvSpPr>
            <a:spLocks noGrp="1" noChangeArrowheads="1"/>
          </p:cNvSpPr>
          <p:nvPr>
            <p:ph type="title"/>
          </p:nvPr>
        </p:nvSpPr>
        <p:spPr bwMode="auto">
          <a:xfrm>
            <a:off x="508000" y="337075"/>
            <a:ext cx="11047307" cy="470647"/>
          </a:xfrm>
          <a:prstGeom prst="rect">
            <a:avLst/>
          </a:prstGeom>
          <a:noFill/>
          <a:ln w="9525">
            <a:noFill/>
            <a:miter lim="800000"/>
            <a:headEnd/>
            <a:tailEnd/>
          </a:ln>
        </p:spPr>
        <p:txBody>
          <a:bodyPr vert="horz" wrap="square" lIns="91440" tIns="45714" rIns="91440" bIns="45714" numCol="1" anchor="b" anchorCtr="0" compatLnSpc="1">
            <a:prstTxWarp prst="textNoShape">
              <a:avLst/>
            </a:prstTxWarp>
          </a:bodyPr>
          <a:lstStyle/>
          <a:p>
            <a:pPr lvl="0"/>
            <a:r>
              <a:rPr lang="en-US" dirty="0"/>
              <a:t>Click to edit Master title style</a:t>
            </a:r>
          </a:p>
        </p:txBody>
      </p:sp>
      <p:sp>
        <p:nvSpPr>
          <p:cNvPr id="14" name="plhSlideNumber"/>
          <p:cNvSpPr>
            <a:spLocks noGrp="1"/>
          </p:cNvSpPr>
          <p:nvPr>
            <p:ph type="sldNum" sz="quarter" idx="4"/>
          </p:nvPr>
        </p:nvSpPr>
        <p:spPr>
          <a:xfrm>
            <a:off x="8785014" y="6339114"/>
            <a:ext cx="2844031" cy="365592"/>
          </a:xfrm>
          <a:prstGeom prst="rect">
            <a:avLst/>
          </a:prstGeom>
        </p:spPr>
        <p:txBody>
          <a:bodyPr lIns="82058" tIns="41029" rIns="82058" bIns="41029"/>
          <a:lstStyle>
            <a:lvl1pPr algn="r">
              <a:defRPr sz="900">
                <a:solidFill>
                  <a:srgbClr val="4B4B4B"/>
                </a:solidFill>
                <a:latin typeface="+mn-lt"/>
              </a:defRPr>
            </a:lvl1pPr>
          </a:lstStyle>
          <a:p>
            <a:pPr fontAlgn="base">
              <a:spcBef>
                <a:spcPct val="0"/>
              </a:spcBef>
              <a:spcAft>
                <a:spcPct val="0"/>
              </a:spcAft>
            </a:pPr>
            <a:fld id="{E189E361-82B6-4274-A833-6E3626364A67}" type="slidenum">
              <a:rPr lang="en-US" smtClean="0">
                <a:cs typeface="Arial" charset="0"/>
              </a:rPr>
              <a:pPr fontAlgn="base">
                <a:spcBef>
                  <a:spcPct val="0"/>
                </a:spcBef>
                <a:spcAft>
                  <a:spcPct val="0"/>
                </a:spcAft>
              </a:pPr>
              <a:t>‹#›</a:t>
            </a:fld>
            <a:endParaRPr lang="en-US" dirty="0">
              <a:cs typeface="Arial" charset="0"/>
            </a:endParaRPr>
          </a:p>
        </p:txBody>
      </p:sp>
      <p:sp>
        <p:nvSpPr>
          <p:cNvPr id="15" name="shpStamp"/>
          <p:cNvSpPr txBox="1">
            <a:spLocks noChangeArrowheads="1"/>
          </p:cNvSpPr>
          <p:nvPr>
            <p:custDataLst>
              <p:tags r:id="rId12"/>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a:solidFill>
                  <a:srgbClr val="FF0000"/>
                </a:solidFill>
                <a:cs typeface="Arial" charset="0"/>
              </a:rPr>
              <a:t>DRAFT</a:t>
            </a:r>
            <a:endParaRPr lang="en-US" sz="1300" dirty="0">
              <a:solidFill>
                <a:srgbClr val="FF0000"/>
              </a:solidFill>
              <a:cs typeface="Arial" charset="0"/>
            </a:endParaRPr>
          </a:p>
        </p:txBody>
      </p:sp>
      <p:sp>
        <p:nvSpPr>
          <p:cNvPr id="11" name="ClientLogo" hidden="1"/>
          <p:cNvSpPr/>
          <p:nvPr/>
        </p:nvSpPr>
        <p:spPr bwMode="auto">
          <a:xfrm>
            <a:off x="8312733" y="6248849"/>
            <a:ext cx="3048000" cy="484094"/>
          </a:xfrm>
          <a:prstGeom prst="rect">
            <a:avLst/>
          </a:prstGeom>
          <a:solidFill>
            <a:srgbClr val="FEDF87"/>
          </a:solidFill>
          <a:ln w="9525" cap="flat" cmpd="sng" algn="ctr">
            <a:solidFill>
              <a:srgbClr val="FF0000"/>
            </a:solidFill>
            <a:prstDash val="solid"/>
            <a:round/>
            <a:headEnd type="none" w="med" len="med"/>
            <a:tailEnd type="none" w="med" len="med"/>
          </a:ln>
          <a:effectLst/>
        </p:spPr>
        <p:txBody>
          <a:bodyPr vert="horz" wrap="square" lIns="0" tIns="0" rIns="16412" bIns="16412" numCol="1" rtlCol="0" anchor="ctr" anchorCtr="0" compatLnSpc="1">
            <a:prstTxWarp prst="textNoShape">
              <a:avLst/>
            </a:prstTxWarp>
          </a:bodyPr>
          <a:lstStyle/>
          <a:p>
            <a:pPr algn="ctr" defTabSz="820583" fontAlgn="base">
              <a:spcBef>
                <a:spcPct val="0"/>
              </a:spcBef>
              <a:spcAft>
                <a:spcPct val="0"/>
              </a:spcAft>
            </a:pPr>
            <a:r>
              <a:rPr lang="en-US" sz="700" b="1" dirty="0">
                <a:solidFill>
                  <a:srgbClr val="FF0000"/>
                </a:solidFill>
                <a:cs typeface="Arial" pitchFamily="34" charset="0"/>
              </a:rPr>
              <a:t>PresBuilder  Client Logo Placeholder </a:t>
            </a:r>
            <a:r>
              <a:rPr lang="en-US" sz="700" dirty="0">
                <a:solidFill>
                  <a:srgbClr val="FF0000"/>
                </a:solidFill>
                <a:cs typeface="Arial" pitchFamily="34" charset="0"/>
              </a:rPr>
              <a:t>– </a:t>
            </a:r>
            <a:br>
              <a:rPr lang="en-US" sz="700" dirty="0">
                <a:solidFill>
                  <a:srgbClr val="FF0000"/>
                </a:solidFill>
                <a:cs typeface="Arial" pitchFamily="34" charset="0"/>
              </a:rPr>
            </a:br>
            <a:r>
              <a:rPr lang="en-US" sz="700" dirty="0">
                <a:solidFill>
                  <a:srgbClr val="FF0000"/>
                </a:solidFill>
                <a:cs typeface="Arial" pitchFamily="34" charset="0"/>
              </a:rPr>
              <a:t>Delete this box if you see it on a slide, but DO NOT REMOVE this box from the slide layout. </a:t>
            </a:r>
          </a:p>
        </p:txBody>
      </p:sp>
      <p:pic>
        <p:nvPicPr>
          <p:cNvPr id="16" name="Picture 7" descr="ppt_int_gradient_top_v2"/>
          <p:cNvPicPr>
            <a:picLocks noChangeAspect="1" noChangeArrowheads="1"/>
          </p:cNvPicPr>
          <p:nvPr/>
        </p:nvPicPr>
        <p:blipFill>
          <a:blip r:embed="rId15" cstate="print"/>
          <a:srcRect/>
          <a:stretch>
            <a:fillRect/>
          </a:stretch>
        </p:blipFill>
        <p:spPr bwMode="auto">
          <a:xfrm>
            <a:off x="0" y="6553200"/>
            <a:ext cx="12192000" cy="304800"/>
          </a:xfrm>
          <a:prstGeom prst="rect">
            <a:avLst/>
          </a:prstGeom>
          <a:noFill/>
          <a:ln w="9525">
            <a:noFill/>
            <a:miter lim="800000"/>
            <a:headEnd/>
            <a:tailEnd/>
          </a:ln>
        </p:spPr>
      </p:pic>
      <p:pic>
        <p:nvPicPr>
          <p:cNvPr id="17" name="Picture 12" descr="ppt_cvr_logo_v3"/>
          <p:cNvPicPr>
            <a:picLocks noChangeAspect="1" noChangeArrowheads="1"/>
          </p:cNvPicPr>
          <p:nvPr/>
        </p:nvPicPr>
        <p:blipFill>
          <a:blip r:embed="rId16" cstate="print"/>
          <a:srcRect/>
          <a:stretch>
            <a:fillRect/>
          </a:stretch>
        </p:blipFill>
        <p:spPr bwMode="auto">
          <a:xfrm>
            <a:off x="514773" y="5999164"/>
            <a:ext cx="2133600" cy="566737"/>
          </a:xfrm>
          <a:prstGeom prst="rect">
            <a:avLst/>
          </a:prstGeom>
          <a:noFill/>
          <a:ln w="9525">
            <a:noFill/>
            <a:miter lim="800000"/>
            <a:headEnd/>
            <a:tailEnd/>
          </a:ln>
        </p:spPr>
      </p:pic>
    </p:spTree>
    <p:extLst>
      <p:ext uri="{BB962C8B-B14F-4D97-AF65-F5344CB8AC3E}">
        <p14:creationId xmlns:p14="http://schemas.microsoft.com/office/powerpoint/2010/main" val="2307274749"/>
      </p:ext>
    </p:extLst>
  </p:cSld>
  <p:clrMap bg1="lt1" tx1="dk1" bg2="lt2" tx2="dk2" accent1="accent1" accent2="accent2" accent3="accent3" accent4="accent4" accent5="accent5" accent6="accent6" hlink="hlink" folHlink="folHlink"/>
  <p:sldLayoutIdLst>
    <p:sldLayoutId id="2147483851" r:id="rId1"/>
    <p:sldLayoutId id="2147483852" r:id="rId2"/>
    <p:sldLayoutId id="2147483853" r:id="rId3"/>
    <p:sldLayoutId id="2147483854" r:id="rId4"/>
    <p:sldLayoutId id="2147483855" r:id="rId5"/>
    <p:sldLayoutId id="2147483856" r:id="rId6"/>
    <p:sldLayoutId id="2147483857" r:id="rId7"/>
    <p:sldLayoutId id="2147483858" r:id="rId8"/>
  </p:sldLayoutIdLst>
  <p:hf hdr="0" dt="0"/>
  <p:txStyles>
    <p:titleStyle>
      <a:lvl1pPr algn="l" defTabSz="914608" rtl="0" eaLnBrk="1" fontAlgn="base" hangingPunct="1">
        <a:lnSpc>
          <a:spcPct val="80000"/>
        </a:lnSpc>
        <a:spcBef>
          <a:spcPct val="0"/>
        </a:spcBef>
        <a:spcAft>
          <a:spcPct val="0"/>
        </a:spcAft>
        <a:defRPr sz="2400">
          <a:solidFill>
            <a:srgbClr val="7E8083"/>
          </a:solidFill>
          <a:latin typeface="+mj-lt"/>
          <a:ea typeface="+mj-ea"/>
          <a:cs typeface="Calibri" pitchFamily="34" charset="0"/>
        </a:defRPr>
      </a:lvl1pPr>
      <a:lvl2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2pPr>
      <a:lvl3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3pPr>
      <a:lvl4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4pPr>
      <a:lvl5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5pPr>
      <a:lvl6pPr marL="410291"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6pPr>
      <a:lvl7pPr marL="820583"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7pPr>
      <a:lvl8pPr marL="1230874"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8pPr>
      <a:lvl9pPr marL="1641165"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9pPr>
    </p:titleStyle>
    <p:bodyStyle>
      <a:lvl1pPr marL="205146" indent="-205146" algn="l" defTabSz="914608" rtl="0" eaLnBrk="1" fontAlgn="base" hangingPunct="1">
        <a:lnSpc>
          <a:spcPct val="110000"/>
        </a:lnSpc>
        <a:spcBef>
          <a:spcPts val="905"/>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1pPr>
      <a:lvl2pPr marL="410291" indent="-203721" algn="l" defTabSz="914608" rtl="0" eaLnBrk="1" fontAlgn="base" hangingPunct="1">
        <a:lnSpc>
          <a:spcPct val="110000"/>
        </a:lnSpc>
        <a:spcBef>
          <a:spcPts val="302"/>
        </a:spcBef>
        <a:spcAft>
          <a:spcPct val="0"/>
        </a:spcAft>
        <a:buClr>
          <a:srgbClr val="CE361D"/>
        </a:buClr>
        <a:buSzPct val="85000"/>
        <a:buFont typeface="Wingdings 2" pitchFamily="18" charset="2"/>
        <a:buChar char=""/>
        <a:defRPr lang="en-US" sz="1300" dirty="0" smtClean="0">
          <a:solidFill>
            <a:srgbClr val="4B4B4B"/>
          </a:solidFill>
          <a:latin typeface="+mn-lt"/>
          <a:ea typeface="+mn-ea"/>
          <a:cs typeface="Calibri" pitchFamily="34" charset="0"/>
        </a:defRPr>
      </a:lvl2pPr>
      <a:lvl3pPr marL="615437" indent="-203721" algn="l" defTabSz="914608" rtl="0" eaLnBrk="1" fontAlgn="base" hangingPunct="1">
        <a:lnSpc>
          <a:spcPct val="110000"/>
        </a:lnSpc>
        <a:spcBef>
          <a:spcPts val="302"/>
        </a:spcBef>
        <a:spcAft>
          <a:spcPct val="0"/>
        </a:spcAft>
        <a:buClr>
          <a:srgbClr val="CE361D"/>
        </a:buClr>
        <a:buSzPct val="100000"/>
        <a:buFont typeface="Wingdings" pitchFamily="2" charset="2"/>
        <a:buChar char=""/>
        <a:defRPr lang="en-US" sz="1300" dirty="0" smtClean="0">
          <a:solidFill>
            <a:srgbClr val="4B4B4B"/>
          </a:solidFill>
          <a:latin typeface="+mn-lt"/>
          <a:ea typeface="+mn-ea"/>
          <a:cs typeface="Calibri" pitchFamily="34" charset="0"/>
        </a:defRPr>
      </a:lvl3pPr>
      <a:lvl4pPr marL="819158" indent="-202296" algn="l" defTabSz="914608" rtl="0" eaLnBrk="1" fontAlgn="base" hangingPunct="1">
        <a:lnSpc>
          <a:spcPct val="110000"/>
        </a:lnSpc>
        <a:spcBef>
          <a:spcPts val="302"/>
        </a:spcBef>
        <a:spcAft>
          <a:spcPct val="0"/>
        </a:spcAft>
        <a:buClr>
          <a:srgbClr val="CE361D"/>
        </a:buClr>
        <a:buSzPct val="80000"/>
        <a:buFont typeface="Wingdings 3" pitchFamily="18" charset="2"/>
        <a:buChar char=""/>
        <a:defRPr lang="en-US" sz="1300" dirty="0" smtClean="0">
          <a:solidFill>
            <a:srgbClr val="4B4B4B"/>
          </a:solidFill>
          <a:latin typeface="+mn-lt"/>
          <a:ea typeface="+mn-ea"/>
          <a:cs typeface="Calibri" pitchFamily="34" charset="0"/>
        </a:defRPr>
      </a:lvl4pPr>
      <a:lvl5pPr marL="1025728" indent="-205146" algn="l" defTabSz="914608" rtl="0" eaLnBrk="1" fontAlgn="base" hangingPunct="1">
        <a:lnSpc>
          <a:spcPct val="110000"/>
        </a:lnSpc>
        <a:spcBef>
          <a:spcPts val="302"/>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5pPr>
      <a:lvl6pPr marL="1233723" indent="-205146" algn="l" defTabSz="914608" rtl="0" eaLnBrk="1" fontAlgn="base" hangingPunct="1">
        <a:lnSpc>
          <a:spcPct val="110000"/>
        </a:lnSpc>
        <a:spcBef>
          <a:spcPts val="302"/>
        </a:spcBef>
        <a:spcAft>
          <a:spcPct val="0"/>
        </a:spcAft>
        <a:buClr>
          <a:schemeClr val="tx2"/>
        </a:buClr>
        <a:buSzPct val="85000"/>
        <a:buFont typeface="Wingdings 2" pitchFamily="18" charset="2"/>
        <a:buChar char="¡"/>
        <a:defRPr lang="en-US" sz="1300" baseline="0" dirty="0" smtClean="0">
          <a:solidFill>
            <a:schemeClr val="tx1"/>
          </a:solidFill>
          <a:latin typeface="+mn-lt"/>
          <a:ea typeface="+mn-ea"/>
          <a:cs typeface="+mn-cs"/>
        </a:defRPr>
      </a:lvl6pPr>
      <a:lvl7pPr marL="1433170" indent="-199447" algn="l" defTabSz="914608" rtl="0" eaLnBrk="1" fontAlgn="base" hangingPunct="1">
        <a:lnSpc>
          <a:spcPct val="110000"/>
        </a:lnSpc>
        <a:spcBef>
          <a:spcPts val="302"/>
        </a:spcBef>
        <a:spcAft>
          <a:spcPct val="0"/>
        </a:spcAft>
        <a:buClr>
          <a:schemeClr val="tx2"/>
        </a:buClr>
        <a:buSzPct val="100000"/>
        <a:buFont typeface="Wingdings" pitchFamily="2" charset="2"/>
        <a:buChar char="w"/>
        <a:defRPr lang="en-US" sz="1300" baseline="0" dirty="0" smtClean="0">
          <a:solidFill>
            <a:schemeClr val="tx1"/>
          </a:solidFill>
          <a:latin typeface="+mn-lt"/>
          <a:ea typeface="+mn-ea"/>
          <a:cs typeface="+mn-cs"/>
        </a:defRPr>
      </a:lvl7pPr>
      <a:lvl8pPr marL="1641165" indent="-207995" algn="l" defTabSz="914608" rtl="0" eaLnBrk="1" fontAlgn="base" hangingPunct="1">
        <a:lnSpc>
          <a:spcPct val="110000"/>
        </a:lnSpc>
        <a:spcBef>
          <a:spcPts val="302"/>
        </a:spcBef>
        <a:spcAft>
          <a:spcPct val="0"/>
        </a:spcAft>
        <a:buClr>
          <a:schemeClr val="tx2"/>
        </a:buClr>
        <a:buSzPct val="80000"/>
        <a:buFont typeface="Wingdings 3" pitchFamily="18" charset="2"/>
        <a:buChar char=""/>
        <a:defRPr lang="en-US" sz="1300" baseline="0" dirty="0" smtClean="0">
          <a:solidFill>
            <a:schemeClr val="tx1"/>
          </a:solidFill>
          <a:latin typeface="+mn-lt"/>
          <a:ea typeface="+mn-ea"/>
          <a:cs typeface="+mn-cs"/>
        </a:defRPr>
      </a:lvl8pPr>
      <a:lvl9pPr marL="1846311" indent="-205146" algn="l" defTabSz="914608" rtl="0" eaLnBrk="1" fontAlgn="base" hangingPunct="1">
        <a:lnSpc>
          <a:spcPct val="110000"/>
        </a:lnSpc>
        <a:spcBef>
          <a:spcPts val="302"/>
        </a:spcBef>
        <a:spcAft>
          <a:spcPct val="0"/>
        </a:spcAft>
        <a:buClr>
          <a:schemeClr val="tx2"/>
        </a:buClr>
        <a:buSzPct val="100000"/>
        <a:buFont typeface="Wingdings 2" pitchFamily="18" charset="2"/>
        <a:buChar char=""/>
        <a:defRPr lang="en-US" sz="1300" baseline="0" dirty="0" smtClean="0">
          <a:solidFill>
            <a:schemeClr val="tx1"/>
          </a:solidFill>
          <a:latin typeface="+mn-lt"/>
          <a:ea typeface="+mn-ea"/>
          <a:cs typeface="+mn-cs"/>
        </a:defRPr>
      </a:lvl9pPr>
    </p:bodyStyle>
    <p:otherStyle>
      <a:defPPr>
        <a:defRPr lang="en-US"/>
      </a:defPPr>
      <a:lvl1pPr marL="0" algn="l" defTabSz="820583" rtl="0" eaLnBrk="1" latinLnBrk="0" hangingPunct="1">
        <a:defRPr sz="1100" kern="1200">
          <a:solidFill>
            <a:schemeClr val="tx1"/>
          </a:solidFill>
          <a:latin typeface="+mn-lt"/>
          <a:ea typeface="+mn-ea"/>
          <a:cs typeface="+mn-cs"/>
        </a:defRPr>
      </a:lvl1pPr>
      <a:lvl2pPr marL="410291" algn="l" defTabSz="820583" rtl="0" eaLnBrk="1" latinLnBrk="0" hangingPunct="1">
        <a:defRPr sz="1100" kern="1200">
          <a:solidFill>
            <a:schemeClr val="tx1"/>
          </a:solidFill>
          <a:latin typeface="+mn-lt"/>
          <a:ea typeface="+mn-ea"/>
          <a:cs typeface="+mn-cs"/>
        </a:defRPr>
      </a:lvl2pPr>
      <a:lvl3pPr marL="820583" algn="l" defTabSz="820583" rtl="0" eaLnBrk="1" latinLnBrk="0" hangingPunct="1">
        <a:defRPr sz="1100" kern="1200">
          <a:solidFill>
            <a:schemeClr val="tx1"/>
          </a:solidFill>
          <a:latin typeface="+mn-lt"/>
          <a:ea typeface="+mn-ea"/>
          <a:cs typeface="+mn-cs"/>
        </a:defRPr>
      </a:lvl3pPr>
      <a:lvl4pPr marL="1230874" algn="l" defTabSz="820583" rtl="0" eaLnBrk="1" latinLnBrk="0" hangingPunct="1">
        <a:defRPr sz="1100" kern="1200">
          <a:solidFill>
            <a:schemeClr val="tx1"/>
          </a:solidFill>
          <a:latin typeface="+mn-lt"/>
          <a:ea typeface="+mn-ea"/>
          <a:cs typeface="+mn-cs"/>
        </a:defRPr>
      </a:lvl4pPr>
      <a:lvl5pPr marL="1641165" algn="l" defTabSz="820583" rtl="0" eaLnBrk="1" latinLnBrk="0" hangingPunct="1">
        <a:defRPr sz="1100" kern="1200">
          <a:solidFill>
            <a:schemeClr val="tx1"/>
          </a:solidFill>
          <a:latin typeface="+mn-lt"/>
          <a:ea typeface="+mn-ea"/>
          <a:cs typeface="+mn-cs"/>
        </a:defRPr>
      </a:lvl5pPr>
      <a:lvl6pPr marL="2051456" algn="l" defTabSz="820583" rtl="0" eaLnBrk="1" latinLnBrk="0" hangingPunct="1">
        <a:defRPr sz="1100" kern="1200">
          <a:solidFill>
            <a:schemeClr val="tx1"/>
          </a:solidFill>
          <a:latin typeface="+mn-lt"/>
          <a:ea typeface="+mn-ea"/>
          <a:cs typeface="+mn-cs"/>
        </a:defRPr>
      </a:lvl6pPr>
      <a:lvl7pPr marL="2461748" algn="l" defTabSz="820583" rtl="0" eaLnBrk="1" latinLnBrk="0" hangingPunct="1">
        <a:defRPr sz="1100" kern="1200">
          <a:solidFill>
            <a:schemeClr val="tx1"/>
          </a:solidFill>
          <a:latin typeface="+mn-lt"/>
          <a:ea typeface="+mn-ea"/>
          <a:cs typeface="+mn-cs"/>
        </a:defRPr>
      </a:lvl7pPr>
      <a:lvl8pPr marL="2872039" algn="l" defTabSz="820583" rtl="0" eaLnBrk="1" latinLnBrk="0" hangingPunct="1">
        <a:defRPr sz="1100" kern="1200">
          <a:solidFill>
            <a:schemeClr val="tx1"/>
          </a:solidFill>
          <a:latin typeface="+mn-lt"/>
          <a:ea typeface="+mn-ea"/>
          <a:cs typeface="+mn-cs"/>
        </a:defRPr>
      </a:lvl8pPr>
      <a:lvl9pPr marL="3282330" algn="l" defTabSz="820583" rtl="0" eaLnBrk="1" latinLnBrk="0" hangingPunct="1">
        <a:defRPr sz="11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0"/>
            </p:custDataLst>
            <p:extLst>
              <p:ext uri="{D42A27DB-BD31-4B8C-83A1-F6EECF244321}">
                <p14:modId xmlns:p14="http://schemas.microsoft.com/office/powerpoint/2010/main" val="2827881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3" imgW="270" imgH="270" progId="TCLayout.ActiveDocument.1">
                  <p:embed/>
                </p:oleObj>
              </mc:Choice>
              <mc:Fallback>
                <p:oleObj name="think-cell Slide" r:id="rId13" imgW="270" imgH="270" progId="TCLayout.ActiveDocument.1">
                  <p:embed/>
                  <p:pic>
                    <p:nvPicPr>
                      <p:cNvPr id="3" name="Object 2"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11"/>
            </p:custDataLst>
          </p:nvPr>
        </p:nvSpPr>
        <p:spPr bwMode="auto">
          <a:xfrm>
            <a:off x="0" y="0"/>
            <a:ext cx="158750" cy="158750"/>
          </a:xfrm>
          <a:prstGeom prst="rect">
            <a:avLst/>
          </a:prstGeom>
          <a:noFill/>
          <a:ln w="9525" cap="flat" cmpd="sng" algn="ctr">
            <a:solidFill>
              <a:srgbClr val="000000"/>
            </a:solidFill>
            <a:prstDash val="solid"/>
            <a:round/>
            <a:headEnd type="none" w="med" len="med"/>
            <a:tailEnd type="none" w="med" len="med"/>
          </a:ln>
          <a:effectLst/>
        </p:spPr>
        <p:txBody>
          <a:bodyPr vert="horz" wrap="none" lIns="0" tIns="0" rIns="0" bIns="0" numCol="1" rtlCol="0" anchor="ctr"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2400" b="0" i="0" u="none" strike="noStrike" cap="none" normalizeH="0" baseline="0" dirty="0">
              <a:ln>
                <a:noFill/>
              </a:ln>
              <a:solidFill>
                <a:srgbClr val="000000"/>
              </a:solidFill>
              <a:effectLst/>
              <a:latin typeface="Arial"/>
              <a:ea typeface="+mj-ea"/>
              <a:cs typeface="Arial" pitchFamily="34" charset="0"/>
              <a:sym typeface="Arial"/>
            </a:endParaRPr>
          </a:p>
        </p:txBody>
      </p:sp>
      <p:sp>
        <p:nvSpPr>
          <p:cNvPr id="4099" name="Rectangle 3"/>
          <p:cNvSpPr>
            <a:spLocks noGrp="1" noChangeArrowheads="1"/>
          </p:cNvSpPr>
          <p:nvPr>
            <p:ph type="body" idx="1"/>
          </p:nvPr>
        </p:nvSpPr>
        <p:spPr bwMode="auto">
          <a:xfrm>
            <a:off x="508000" y="1341439"/>
            <a:ext cx="11176000" cy="4575268"/>
          </a:xfrm>
          <a:prstGeom prst="rect">
            <a:avLst/>
          </a:prstGeom>
          <a:noFill/>
          <a:ln w="9525" algn="ctr">
            <a:noFill/>
            <a:miter lim="800000"/>
            <a:headEnd/>
            <a:tailEnd/>
          </a:ln>
        </p:spPr>
        <p:txBody>
          <a:bodyPr vert="horz" wrap="square" lIns="91440" tIns="41029" rIns="91440" bIns="41029" numCol="1" anchor="t" anchorCtr="0" compatLnSpc="1">
            <a:prstTxWarp prst="textNoShape">
              <a:avLst/>
            </a:prstTxWarp>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31" name="Rectangle 7"/>
          <p:cNvSpPr>
            <a:spLocks noChangeArrowheads="1"/>
          </p:cNvSpPr>
          <p:nvPr/>
        </p:nvSpPr>
        <p:spPr bwMode="white">
          <a:xfrm flipV="1">
            <a:off x="0" y="6177243"/>
            <a:ext cx="12192000" cy="684960"/>
          </a:xfrm>
          <a:prstGeom prst="rect">
            <a:avLst/>
          </a:prstGeom>
          <a:solidFill>
            <a:srgbClr val="FFFFFF"/>
          </a:solidFill>
          <a:ln w="19050">
            <a:noFill/>
            <a:miter lim="800000"/>
            <a:headEnd/>
            <a:tailEnd/>
          </a:ln>
          <a:effectLst/>
        </p:spPr>
        <p:txBody>
          <a:bodyPr wrap="none" lIns="82058" tIns="41029" rIns="82058" bIns="41029" anchor="ctr"/>
          <a:lstStyle/>
          <a:p>
            <a:pPr algn="ctr" fontAlgn="base">
              <a:spcBef>
                <a:spcPct val="0"/>
              </a:spcBef>
              <a:spcAft>
                <a:spcPct val="0"/>
              </a:spcAft>
              <a:defRPr/>
            </a:pPr>
            <a:endParaRPr lang="en-US" sz="1300">
              <a:solidFill>
                <a:srgbClr val="000000"/>
              </a:solidFill>
              <a:cs typeface="Arial" charset="0"/>
            </a:endParaRPr>
          </a:p>
        </p:txBody>
      </p:sp>
      <p:sp>
        <p:nvSpPr>
          <p:cNvPr id="4103" name="Rectangle 145"/>
          <p:cNvSpPr>
            <a:spLocks noGrp="1" noChangeArrowheads="1"/>
          </p:cNvSpPr>
          <p:nvPr>
            <p:ph type="title"/>
          </p:nvPr>
        </p:nvSpPr>
        <p:spPr bwMode="auto">
          <a:xfrm>
            <a:off x="508000" y="337075"/>
            <a:ext cx="11047307" cy="470647"/>
          </a:xfrm>
          <a:prstGeom prst="rect">
            <a:avLst/>
          </a:prstGeom>
          <a:noFill/>
          <a:ln w="9525">
            <a:noFill/>
            <a:miter lim="800000"/>
            <a:headEnd/>
            <a:tailEnd/>
          </a:ln>
        </p:spPr>
        <p:txBody>
          <a:bodyPr vert="horz" wrap="square" lIns="91440" tIns="45714" rIns="91440" bIns="45714" numCol="1" anchor="b" anchorCtr="0" compatLnSpc="1">
            <a:prstTxWarp prst="textNoShape">
              <a:avLst/>
            </a:prstTxWarp>
          </a:bodyPr>
          <a:lstStyle/>
          <a:p>
            <a:pPr lvl="0"/>
            <a:r>
              <a:rPr lang="en-US" dirty="0"/>
              <a:t>Click to edit Master title style</a:t>
            </a:r>
          </a:p>
        </p:txBody>
      </p:sp>
      <p:sp>
        <p:nvSpPr>
          <p:cNvPr id="14" name="plhSlideNumber"/>
          <p:cNvSpPr>
            <a:spLocks noGrp="1"/>
          </p:cNvSpPr>
          <p:nvPr>
            <p:ph type="sldNum" sz="quarter" idx="4"/>
          </p:nvPr>
        </p:nvSpPr>
        <p:spPr>
          <a:xfrm>
            <a:off x="8785014" y="6339114"/>
            <a:ext cx="2844031" cy="365592"/>
          </a:xfrm>
          <a:prstGeom prst="rect">
            <a:avLst/>
          </a:prstGeom>
        </p:spPr>
        <p:txBody>
          <a:bodyPr lIns="82058" tIns="41029" rIns="82058" bIns="41029"/>
          <a:lstStyle>
            <a:lvl1pPr algn="r">
              <a:defRPr sz="900">
                <a:solidFill>
                  <a:srgbClr val="4B4B4B"/>
                </a:solidFill>
                <a:latin typeface="+mn-lt"/>
              </a:defRPr>
            </a:lvl1pPr>
          </a:lstStyle>
          <a:p>
            <a:pPr fontAlgn="base">
              <a:spcBef>
                <a:spcPct val="0"/>
              </a:spcBef>
              <a:spcAft>
                <a:spcPct val="0"/>
              </a:spcAft>
            </a:pPr>
            <a:fld id="{E189E361-82B6-4274-A833-6E3626364A67}" type="slidenum">
              <a:rPr lang="en-US" smtClean="0">
                <a:cs typeface="Arial" charset="0"/>
              </a:rPr>
              <a:pPr fontAlgn="base">
                <a:spcBef>
                  <a:spcPct val="0"/>
                </a:spcBef>
                <a:spcAft>
                  <a:spcPct val="0"/>
                </a:spcAft>
              </a:pPr>
              <a:t>‹#›</a:t>
            </a:fld>
            <a:endParaRPr lang="en-US" dirty="0">
              <a:cs typeface="Arial" charset="0"/>
            </a:endParaRPr>
          </a:p>
        </p:txBody>
      </p:sp>
      <p:sp>
        <p:nvSpPr>
          <p:cNvPr id="15" name="shpStamp"/>
          <p:cNvSpPr txBox="1">
            <a:spLocks noChangeArrowheads="1"/>
          </p:cNvSpPr>
          <p:nvPr>
            <p:custDataLst>
              <p:tags r:id="rId12"/>
            </p:custDataLst>
          </p:nvPr>
        </p:nvSpPr>
        <p:spPr bwMode="ltGray">
          <a:xfrm>
            <a:off x="10108048" y="147659"/>
            <a:ext cx="1252681" cy="322169"/>
          </a:xfrm>
          <a:prstGeom prst="rect">
            <a:avLst/>
          </a:prstGeom>
          <a:noFill/>
          <a:ln w="9525" algn="ctr">
            <a:noFill/>
            <a:miter lim="800000"/>
            <a:headEnd/>
            <a:tailEnd/>
          </a:ln>
          <a:effectLst/>
        </p:spPr>
        <p:txBody>
          <a:bodyPr wrap="none" lIns="0" tIns="0" rIns="0" bIns="0" anchor="t"/>
          <a:lstStyle/>
          <a:p>
            <a:pPr algn="r" fontAlgn="base">
              <a:spcBef>
                <a:spcPct val="0"/>
              </a:spcBef>
              <a:spcAft>
                <a:spcPct val="0"/>
              </a:spcAft>
            </a:pPr>
            <a:r>
              <a:rPr lang="en-US" sz="1300">
                <a:solidFill>
                  <a:srgbClr val="FF0000"/>
                </a:solidFill>
                <a:cs typeface="Arial" charset="0"/>
              </a:rPr>
              <a:t>DRAFT</a:t>
            </a:r>
            <a:endParaRPr lang="en-US" sz="1300" dirty="0">
              <a:solidFill>
                <a:srgbClr val="FF0000"/>
              </a:solidFill>
              <a:cs typeface="Arial" charset="0"/>
            </a:endParaRPr>
          </a:p>
        </p:txBody>
      </p:sp>
      <p:sp>
        <p:nvSpPr>
          <p:cNvPr id="11" name="ClientLogo" hidden="1"/>
          <p:cNvSpPr/>
          <p:nvPr/>
        </p:nvSpPr>
        <p:spPr bwMode="auto">
          <a:xfrm>
            <a:off x="8312733" y="6248849"/>
            <a:ext cx="3048000" cy="484094"/>
          </a:xfrm>
          <a:prstGeom prst="rect">
            <a:avLst/>
          </a:prstGeom>
          <a:solidFill>
            <a:srgbClr val="FEDF87"/>
          </a:solidFill>
          <a:ln w="9525" cap="flat" cmpd="sng" algn="ctr">
            <a:solidFill>
              <a:srgbClr val="FF0000"/>
            </a:solidFill>
            <a:prstDash val="solid"/>
            <a:round/>
            <a:headEnd type="none" w="med" len="med"/>
            <a:tailEnd type="none" w="med" len="med"/>
          </a:ln>
          <a:effectLst/>
        </p:spPr>
        <p:txBody>
          <a:bodyPr vert="horz" wrap="square" lIns="0" tIns="0" rIns="16412" bIns="16412" numCol="1" rtlCol="0" anchor="ctr" anchorCtr="0" compatLnSpc="1">
            <a:prstTxWarp prst="textNoShape">
              <a:avLst/>
            </a:prstTxWarp>
          </a:bodyPr>
          <a:lstStyle/>
          <a:p>
            <a:pPr algn="ctr" defTabSz="820583" fontAlgn="base">
              <a:spcBef>
                <a:spcPct val="0"/>
              </a:spcBef>
              <a:spcAft>
                <a:spcPct val="0"/>
              </a:spcAft>
            </a:pPr>
            <a:r>
              <a:rPr lang="en-US" sz="700" b="1" dirty="0">
                <a:solidFill>
                  <a:srgbClr val="FF0000"/>
                </a:solidFill>
                <a:cs typeface="Arial" pitchFamily="34" charset="0"/>
              </a:rPr>
              <a:t>PresBuilder  Client Logo Placeholder </a:t>
            </a:r>
            <a:r>
              <a:rPr lang="en-US" sz="700" dirty="0">
                <a:solidFill>
                  <a:srgbClr val="FF0000"/>
                </a:solidFill>
                <a:cs typeface="Arial" pitchFamily="34" charset="0"/>
              </a:rPr>
              <a:t>– </a:t>
            </a:r>
            <a:br>
              <a:rPr lang="en-US" sz="700" dirty="0">
                <a:solidFill>
                  <a:srgbClr val="FF0000"/>
                </a:solidFill>
                <a:cs typeface="Arial" pitchFamily="34" charset="0"/>
              </a:rPr>
            </a:br>
            <a:r>
              <a:rPr lang="en-US" sz="700" dirty="0">
                <a:solidFill>
                  <a:srgbClr val="FF0000"/>
                </a:solidFill>
                <a:cs typeface="Arial" pitchFamily="34" charset="0"/>
              </a:rPr>
              <a:t>Delete this box if you see it on a slide, but DO NOT REMOVE this box from the slide layout. </a:t>
            </a:r>
          </a:p>
        </p:txBody>
      </p:sp>
      <p:pic>
        <p:nvPicPr>
          <p:cNvPr id="16" name="Picture 7" descr="ppt_int_gradient_top_v2"/>
          <p:cNvPicPr>
            <a:picLocks noChangeAspect="1" noChangeArrowheads="1"/>
          </p:cNvPicPr>
          <p:nvPr/>
        </p:nvPicPr>
        <p:blipFill>
          <a:blip r:embed="rId15" cstate="print"/>
          <a:srcRect/>
          <a:stretch>
            <a:fillRect/>
          </a:stretch>
        </p:blipFill>
        <p:spPr bwMode="auto">
          <a:xfrm>
            <a:off x="0" y="6553200"/>
            <a:ext cx="12192000" cy="304800"/>
          </a:xfrm>
          <a:prstGeom prst="rect">
            <a:avLst/>
          </a:prstGeom>
          <a:noFill/>
          <a:ln w="9525">
            <a:noFill/>
            <a:miter lim="800000"/>
            <a:headEnd/>
            <a:tailEnd/>
          </a:ln>
        </p:spPr>
      </p:pic>
      <p:pic>
        <p:nvPicPr>
          <p:cNvPr id="17" name="Picture 12" descr="ppt_cvr_logo_v3"/>
          <p:cNvPicPr>
            <a:picLocks noChangeAspect="1" noChangeArrowheads="1"/>
          </p:cNvPicPr>
          <p:nvPr/>
        </p:nvPicPr>
        <p:blipFill>
          <a:blip r:embed="rId16" cstate="print"/>
          <a:srcRect/>
          <a:stretch>
            <a:fillRect/>
          </a:stretch>
        </p:blipFill>
        <p:spPr bwMode="auto">
          <a:xfrm>
            <a:off x="514773" y="5999164"/>
            <a:ext cx="2133600" cy="566737"/>
          </a:xfrm>
          <a:prstGeom prst="rect">
            <a:avLst/>
          </a:prstGeom>
          <a:noFill/>
          <a:ln w="9525">
            <a:noFill/>
            <a:miter lim="800000"/>
            <a:headEnd/>
            <a:tailEnd/>
          </a:ln>
        </p:spPr>
      </p:pic>
    </p:spTree>
    <p:extLst>
      <p:ext uri="{BB962C8B-B14F-4D97-AF65-F5344CB8AC3E}">
        <p14:creationId xmlns:p14="http://schemas.microsoft.com/office/powerpoint/2010/main" val="979491240"/>
      </p:ext>
    </p:extLst>
  </p:cSld>
  <p:clrMap bg1="lt1" tx1="dk1" bg2="lt2" tx2="dk2" accent1="accent1" accent2="accent2" accent3="accent3" accent4="accent4" accent5="accent5" accent6="accent6" hlink="hlink" folHlink="folHlink"/>
  <p:sldLayoutIdLst>
    <p:sldLayoutId id="2147483860" r:id="rId1"/>
    <p:sldLayoutId id="2147483861" r:id="rId2"/>
    <p:sldLayoutId id="2147483862" r:id="rId3"/>
    <p:sldLayoutId id="2147483863" r:id="rId4"/>
    <p:sldLayoutId id="2147483864" r:id="rId5"/>
    <p:sldLayoutId id="2147483865" r:id="rId6"/>
    <p:sldLayoutId id="2147483866" r:id="rId7"/>
    <p:sldLayoutId id="2147483867" r:id="rId8"/>
  </p:sldLayoutIdLst>
  <p:hf hdr="0" dt="0"/>
  <p:txStyles>
    <p:titleStyle>
      <a:lvl1pPr algn="l" defTabSz="914608" rtl="0" eaLnBrk="1" fontAlgn="base" hangingPunct="1">
        <a:lnSpc>
          <a:spcPct val="80000"/>
        </a:lnSpc>
        <a:spcBef>
          <a:spcPct val="0"/>
        </a:spcBef>
        <a:spcAft>
          <a:spcPct val="0"/>
        </a:spcAft>
        <a:defRPr sz="2400">
          <a:solidFill>
            <a:srgbClr val="7E8083"/>
          </a:solidFill>
          <a:latin typeface="+mj-lt"/>
          <a:ea typeface="+mj-ea"/>
          <a:cs typeface="Calibri" pitchFamily="34" charset="0"/>
        </a:defRPr>
      </a:lvl1pPr>
      <a:lvl2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2pPr>
      <a:lvl3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3pPr>
      <a:lvl4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4pPr>
      <a:lvl5pPr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5pPr>
      <a:lvl6pPr marL="410291"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6pPr>
      <a:lvl7pPr marL="820583"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7pPr>
      <a:lvl8pPr marL="1230874"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8pPr>
      <a:lvl9pPr marL="1641165" algn="l" defTabSz="914608" rtl="0" eaLnBrk="1" fontAlgn="base" hangingPunct="1">
        <a:lnSpc>
          <a:spcPct val="80000"/>
        </a:lnSpc>
        <a:spcBef>
          <a:spcPct val="0"/>
        </a:spcBef>
        <a:spcAft>
          <a:spcPct val="0"/>
        </a:spcAft>
        <a:defRPr sz="2500">
          <a:solidFill>
            <a:schemeClr val="tx1"/>
          </a:solidFill>
          <a:latin typeface="Arial" pitchFamily="34" charset="0"/>
          <a:cs typeface="Arial" pitchFamily="34" charset="0"/>
        </a:defRPr>
      </a:lvl9pPr>
    </p:titleStyle>
    <p:bodyStyle>
      <a:lvl1pPr marL="205146" indent="-205146" algn="l" defTabSz="914608" rtl="0" eaLnBrk="1" fontAlgn="base" hangingPunct="1">
        <a:lnSpc>
          <a:spcPct val="110000"/>
        </a:lnSpc>
        <a:spcBef>
          <a:spcPts val="905"/>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1pPr>
      <a:lvl2pPr marL="410291" indent="-203721" algn="l" defTabSz="914608" rtl="0" eaLnBrk="1" fontAlgn="base" hangingPunct="1">
        <a:lnSpc>
          <a:spcPct val="110000"/>
        </a:lnSpc>
        <a:spcBef>
          <a:spcPts val="302"/>
        </a:spcBef>
        <a:spcAft>
          <a:spcPct val="0"/>
        </a:spcAft>
        <a:buClr>
          <a:srgbClr val="CE361D"/>
        </a:buClr>
        <a:buSzPct val="85000"/>
        <a:buFont typeface="Wingdings 2" pitchFamily="18" charset="2"/>
        <a:buChar char=""/>
        <a:defRPr lang="en-US" sz="1300" dirty="0" smtClean="0">
          <a:solidFill>
            <a:srgbClr val="4B4B4B"/>
          </a:solidFill>
          <a:latin typeface="+mn-lt"/>
          <a:ea typeface="+mn-ea"/>
          <a:cs typeface="Calibri" pitchFamily="34" charset="0"/>
        </a:defRPr>
      </a:lvl2pPr>
      <a:lvl3pPr marL="615437" indent="-203721" algn="l" defTabSz="914608" rtl="0" eaLnBrk="1" fontAlgn="base" hangingPunct="1">
        <a:lnSpc>
          <a:spcPct val="110000"/>
        </a:lnSpc>
        <a:spcBef>
          <a:spcPts val="302"/>
        </a:spcBef>
        <a:spcAft>
          <a:spcPct val="0"/>
        </a:spcAft>
        <a:buClr>
          <a:srgbClr val="CE361D"/>
        </a:buClr>
        <a:buSzPct val="100000"/>
        <a:buFont typeface="Wingdings" pitchFamily="2" charset="2"/>
        <a:buChar char=""/>
        <a:defRPr lang="en-US" sz="1300" dirty="0" smtClean="0">
          <a:solidFill>
            <a:srgbClr val="4B4B4B"/>
          </a:solidFill>
          <a:latin typeface="+mn-lt"/>
          <a:ea typeface="+mn-ea"/>
          <a:cs typeface="Calibri" pitchFamily="34" charset="0"/>
        </a:defRPr>
      </a:lvl3pPr>
      <a:lvl4pPr marL="819158" indent="-202296" algn="l" defTabSz="914608" rtl="0" eaLnBrk="1" fontAlgn="base" hangingPunct="1">
        <a:lnSpc>
          <a:spcPct val="110000"/>
        </a:lnSpc>
        <a:spcBef>
          <a:spcPts val="302"/>
        </a:spcBef>
        <a:spcAft>
          <a:spcPct val="0"/>
        </a:spcAft>
        <a:buClr>
          <a:srgbClr val="CE361D"/>
        </a:buClr>
        <a:buSzPct val="80000"/>
        <a:buFont typeface="Wingdings 3" pitchFamily="18" charset="2"/>
        <a:buChar char=""/>
        <a:defRPr lang="en-US" sz="1300" dirty="0" smtClean="0">
          <a:solidFill>
            <a:srgbClr val="4B4B4B"/>
          </a:solidFill>
          <a:latin typeface="+mn-lt"/>
          <a:ea typeface="+mn-ea"/>
          <a:cs typeface="Calibri" pitchFamily="34" charset="0"/>
        </a:defRPr>
      </a:lvl4pPr>
      <a:lvl5pPr marL="1025728" indent="-205146" algn="l" defTabSz="914608" rtl="0" eaLnBrk="1" fontAlgn="base" hangingPunct="1">
        <a:lnSpc>
          <a:spcPct val="110000"/>
        </a:lnSpc>
        <a:spcBef>
          <a:spcPts val="302"/>
        </a:spcBef>
        <a:spcAft>
          <a:spcPct val="0"/>
        </a:spcAft>
        <a:buClr>
          <a:srgbClr val="CE361D"/>
        </a:buClr>
        <a:buSzPct val="100000"/>
        <a:buFont typeface="Wingdings 2" pitchFamily="18" charset="2"/>
        <a:buChar char=""/>
        <a:defRPr lang="en-US" sz="1300" dirty="0" smtClean="0">
          <a:solidFill>
            <a:srgbClr val="4B4B4B"/>
          </a:solidFill>
          <a:latin typeface="+mn-lt"/>
          <a:ea typeface="+mn-ea"/>
          <a:cs typeface="Calibri" pitchFamily="34" charset="0"/>
        </a:defRPr>
      </a:lvl5pPr>
      <a:lvl6pPr marL="1233723" indent="-205146" algn="l" defTabSz="914608" rtl="0" eaLnBrk="1" fontAlgn="base" hangingPunct="1">
        <a:lnSpc>
          <a:spcPct val="110000"/>
        </a:lnSpc>
        <a:spcBef>
          <a:spcPts val="302"/>
        </a:spcBef>
        <a:spcAft>
          <a:spcPct val="0"/>
        </a:spcAft>
        <a:buClr>
          <a:schemeClr val="tx2"/>
        </a:buClr>
        <a:buSzPct val="85000"/>
        <a:buFont typeface="Wingdings 2" pitchFamily="18" charset="2"/>
        <a:buChar char="¡"/>
        <a:defRPr lang="en-US" sz="1300" baseline="0" dirty="0" smtClean="0">
          <a:solidFill>
            <a:schemeClr val="tx1"/>
          </a:solidFill>
          <a:latin typeface="+mn-lt"/>
          <a:ea typeface="+mn-ea"/>
          <a:cs typeface="+mn-cs"/>
        </a:defRPr>
      </a:lvl6pPr>
      <a:lvl7pPr marL="1433170" indent="-199447" algn="l" defTabSz="914608" rtl="0" eaLnBrk="1" fontAlgn="base" hangingPunct="1">
        <a:lnSpc>
          <a:spcPct val="110000"/>
        </a:lnSpc>
        <a:spcBef>
          <a:spcPts val="302"/>
        </a:spcBef>
        <a:spcAft>
          <a:spcPct val="0"/>
        </a:spcAft>
        <a:buClr>
          <a:schemeClr val="tx2"/>
        </a:buClr>
        <a:buSzPct val="100000"/>
        <a:buFont typeface="Wingdings" pitchFamily="2" charset="2"/>
        <a:buChar char="w"/>
        <a:defRPr lang="en-US" sz="1300" baseline="0" dirty="0" smtClean="0">
          <a:solidFill>
            <a:schemeClr val="tx1"/>
          </a:solidFill>
          <a:latin typeface="+mn-lt"/>
          <a:ea typeface="+mn-ea"/>
          <a:cs typeface="+mn-cs"/>
        </a:defRPr>
      </a:lvl7pPr>
      <a:lvl8pPr marL="1641165" indent="-207995" algn="l" defTabSz="914608" rtl="0" eaLnBrk="1" fontAlgn="base" hangingPunct="1">
        <a:lnSpc>
          <a:spcPct val="110000"/>
        </a:lnSpc>
        <a:spcBef>
          <a:spcPts val="302"/>
        </a:spcBef>
        <a:spcAft>
          <a:spcPct val="0"/>
        </a:spcAft>
        <a:buClr>
          <a:schemeClr val="tx2"/>
        </a:buClr>
        <a:buSzPct val="80000"/>
        <a:buFont typeface="Wingdings 3" pitchFamily="18" charset="2"/>
        <a:buChar char=""/>
        <a:defRPr lang="en-US" sz="1300" baseline="0" dirty="0" smtClean="0">
          <a:solidFill>
            <a:schemeClr val="tx1"/>
          </a:solidFill>
          <a:latin typeface="+mn-lt"/>
          <a:ea typeface="+mn-ea"/>
          <a:cs typeface="+mn-cs"/>
        </a:defRPr>
      </a:lvl8pPr>
      <a:lvl9pPr marL="1846311" indent="-205146" algn="l" defTabSz="914608" rtl="0" eaLnBrk="1" fontAlgn="base" hangingPunct="1">
        <a:lnSpc>
          <a:spcPct val="110000"/>
        </a:lnSpc>
        <a:spcBef>
          <a:spcPts val="302"/>
        </a:spcBef>
        <a:spcAft>
          <a:spcPct val="0"/>
        </a:spcAft>
        <a:buClr>
          <a:schemeClr val="tx2"/>
        </a:buClr>
        <a:buSzPct val="100000"/>
        <a:buFont typeface="Wingdings 2" pitchFamily="18" charset="2"/>
        <a:buChar char=""/>
        <a:defRPr lang="en-US" sz="1300" baseline="0" dirty="0" smtClean="0">
          <a:solidFill>
            <a:schemeClr val="tx1"/>
          </a:solidFill>
          <a:latin typeface="+mn-lt"/>
          <a:ea typeface="+mn-ea"/>
          <a:cs typeface="+mn-cs"/>
        </a:defRPr>
      </a:lvl9pPr>
    </p:bodyStyle>
    <p:otherStyle>
      <a:defPPr>
        <a:defRPr lang="en-US"/>
      </a:defPPr>
      <a:lvl1pPr marL="0" algn="l" defTabSz="820583" rtl="0" eaLnBrk="1" latinLnBrk="0" hangingPunct="1">
        <a:defRPr sz="1100" kern="1200">
          <a:solidFill>
            <a:schemeClr val="tx1"/>
          </a:solidFill>
          <a:latin typeface="+mn-lt"/>
          <a:ea typeface="+mn-ea"/>
          <a:cs typeface="+mn-cs"/>
        </a:defRPr>
      </a:lvl1pPr>
      <a:lvl2pPr marL="410291" algn="l" defTabSz="820583" rtl="0" eaLnBrk="1" latinLnBrk="0" hangingPunct="1">
        <a:defRPr sz="1100" kern="1200">
          <a:solidFill>
            <a:schemeClr val="tx1"/>
          </a:solidFill>
          <a:latin typeface="+mn-lt"/>
          <a:ea typeface="+mn-ea"/>
          <a:cs typeface="+mn-cs"/>
        </a:defRPr>
      </a:lvl2pPr>
      <a:lvl3pPr marL="820583" algn="l" defTabSz="820583" rtl="0" eaLnBrk="1" latinLnBrk="0" hangingPunct="1">
        <a:defRPr sz="1100" kern="1200">
          <a:solidFill>
            <a:schemeClr val="tx1"/>
          </a:solidFill>
          <a:latin typeface="+mn-lt"/>
          <a:ea typeface="+mn-ea"/>
          <a:cs typeface="+mn-cs"/>
        </a:defRPr>
      </a:lvl3pPr>
      <a:lvl4pPr marL="1230874" algn="l" defTabSz="820583" rtl="0" eaLnBrk="1" latinLnBrk="0" hangingPunct="1">
        <a:defRPr sz="1100" kern="1200">
          <a:solidFill>
            <a:schemeClr val="tx1"/>
          </a:solidFill>
          <a:latin typeface="+mn-lt"/>
          <a:ea typeface="+mn-ea"/>
          <a:cs typeface="+mn-cs"/>
        </a:defRPr>
      </a:lvl4pPr>
      <a:lvl5pPr marL="1641165" algn="l" defTabSz="820583" rtl="0" eaLnBrk="1" latinLnBrk="0" hangingPunct="1">
        <a:defRPr sz="1100" kern="1200">
          <a:solidFill>
            <a:schemeClr val="tx1"/>
          </a:solidFill>
          <a:latin typeface="+mn-lt"/>
          <a:ea typeface="+mn-ea"/>
          <a:cs typeface="+mn-cs"/>
        </a:defRPr>
      </a:lvl5pPr>
      <a:lvl6pPr marL="2051456" algn="l" defTabSz="820583" rtl="0" eaLnBrk="1" latinLnBrk="0" hangingPunct="1">
        <a:defRPr sz="1100" kern="1200">
          <a:solidFill>
            <a:schemeClr val="tx1"/>
          </a:solidFill>
          <a:latin typeface="+mn-lt"/>
          <a:ea typeface="+mn-ea"/>
          <a:cs typeface="+mn-cs"/>
        </a:defRPr>
      </a:lvl6pPr>
      <a:lvl7pPr marL="2461748" algn="l" defTabSz="820583" rtl="0" eaLnBrk="1" latinLnBrk="0" hangingPunct="1">
        <a:defRPr sz="1100" kern="1200">
          <a:solidFill>
            <a:schemeClr val="tx1"/>
          </a:solidFill>
          <a:latin typeface="+mn-lt"/>
          <a:ea typeface="+mn-ea"/>
          <a:cs typeface="+mn-cs"/>
        </a:defRPr>
      </a:lvl7pPr>
      <a:lvl8pPr marL="2872039" algn="l" defTabSz="820583" rtl="0" eaLnBrk="1" latinLnBrk="0" hangingPunct="1">
        <a:defRPr sz="1100" kern="1200">
          <a:solidFill>
            <a:schemeClr val="tx1"/>
          </a:solidFill>
          <a:latin typeface="+mn-lt"/>
          <a:ea typeface="+mn-ea"/>
          <a:cs typeface="+mn-cs"/>
        </a:defRPr>
      </a:lvl8pPr>
      <a:lvl9pPr marL="3282330" algn="l" defTabSz="820583" rtl="0" eaLnBrk="1" latinLnBrk="0" hangingPunct="1">
        <a:defRPr sz="1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81.xml"/></Relationships>
</file>

<file path=ppt/slides/_rels/slide10.xml.rels><?xml version="1.0" encoding="UTF-8" standalone="yes"?>
<Relationships xmlns="http://schemas.openxmlformats.org/package/2006/relationships"><Relationship Id="rId13" Type="http://schemas.openxmlformats.org/officeDocument/2006/relationships/tags" Target="../tags/tag176.xml"/><Relationship Id="rId18" Type="http://schemas.openxmlformats.org/officeDocument/2006/relationships/tags" Target="../tags/tag181.xml"/><Relationship Id="rId26" Type="http://schemas.openxmlformats.org/officeDocument/2006/relationships/tags" Target="../tags/tag189.xml"/><Relationship Id="rId39" Type="http://schemas.openxmlformats.org/officeDocument/2006/relationships/chart" Target="../charts/chart10.xml"/><Relationship Id="rId21" Type="http://schemas.openxmlformats.org/officeDocument/2006/relationships/tags" Target="../tags/tag184.xml"/><Relationship Id="rId34" Type="http://schemas.openxmlformats.org/officeDocument/2006/relationships/slideLayout" Target="../slideLayouts/slideLayout112.xml"/><Relationship Id="rId7" Type="http://schemas.openxmlformats.org/officeDocument/2006/relationships/tags" Target="../tags/tag170.xml"/><Relationship Id="rId12" Type="http://schemas.openxmlformats.org/officeDocument/2006/relationships/tags" Target="../tags/tag175.xml"/><Relationship Id="rId17" Type="http://schemas.openxmlformats.org/officeDocument/2006/relationships/tags" Target="../tags/tag180.xml"/><Relationship Id="rId25" Type="http://schemas.openxmlformats.org/officeDocument/2006/relationships/tags" Target="../tags/tag188.xml"/><Relationship Id="rId33" Type="http://schemas.openxmlformats.org/officeDocument/2006/relationships/tags" Target="../tags/tag196.xml"/><Relationship Id="rId38" Type="http://schemas.openxmlformats.org/officeDocument/2006/relationships/chart" Target="../charts/chart9.xml"/><Relationship Id="rId2" Type="http://schemas.openxmlformats.org/officeDocument/2006/relationships/tags" Target="../tags/tag165.xml"/><Relationship Id="rId16" Type="http://schemas.openxmlformats.org/officeDocument/2006/relationships/tags" Target="../tags/tag179.xml"/><Relationship Id="rId20" Type="http://schemas.openxmlformats.org/officeDocument/2006/relationships/tags" Target="../tags/tag183.xml"/><Relationship Id="rId29" Type="http://schemas.openxmlformats.org/officeDocument/2006/relationships/tags" Target="../tags/tag192.xml"/><Relationship Id="rId1" Type="http://schemas.openxmlformats.org/officeDocument/2006/relationships/tags" Target="../tags/tag164.xml"/><Relationship Id="rId6" Type="http://schemas.openxmlformats.org/officeDocument/2006/relationships/tags" Target="../tags/tag169.xml"/><Relationship Id="rId11" Type="http://schemas.openxmlformats.org/officeDocument/2006/relationships/tags" Target="../tags/tag174.xml"/><Relationship Id="rId24" Type="http://schemas.openxmlformats.org/officeDocument/2006/relationships/tags" Target="../tags/tag187.xml"/><Relationship Id="rId32" Type="http://schemas.openxmlformats.org/officeDocument/2006/relationships/tags" Target="../tags/tag195.xml"/><Relationship Id="rId37" Type="http://schemas.openxmlformats.org/officeDocument/2006/relationships/image" Target="../media/image26.emf"/><Relationship Id="rId5" Type="http://schemas.openxmlformats.org/officeDocument/2006/relationships/tags" Target="../tags/tag168.xml"/><Relationship Id="rId15" Type="http://schemas.openxmlformats.org/officeDocument/2006/relationships/tags" Target="../tags/tag178.xml"/><Relationship Id="rId23" Type="http://schemas.openxmlformats.org/officeDocument/2006/relationships/tags" Target="../tags/tag186.xml"/><Relationship Id="rId28" Type="http://schemas.openxmlformats.org/officeDocument/2006/relationships/tags" Target="../tags/tag191.xml"/><Relationship Id="rId36" Type="http://schemas.openxmlformats.org/officeDocument/2006/relationships/oleObject" Target="../embeddings/oleObject20.bin"/><Relationship Id="rId10" Type="http://schemas.openxmlformats.org/officeDocument/2006/relationships/tags" Target="../tags/tag173.xml"/><Relationship Id="rId19" Type="http://schemas.openxmlformats.org/officeDocument/2006/relationships/tags" Target="../tags/tag182.xml"/><Relationship Id="rId31" Type="http://schemas.openxmlformats.org/officeDocument/2006/relationships/tags" Target="../tags/tag194.xml"/><Relationship Id="rId4" Type="http://schemas.openxmlformats.org/officeDocument/2006/relationships/tags" Target="../tags/tag167.xml"/><Relationship Id="rId9" Type="http://schemas.openxmlformats.org/officeDocument/2006/relationships/tags" Target="../tags/tag172.xml"/><Relationship Id="rId14" Type="http://schemas.openxmlformats.org/officeDocument/2006/relationships/tags" Target="../tags/tag177.xml"/><Relationship Id="rId22" Type="http://schemas.openxmlformats.org/officeDocument/2006/relationships/tags" Target="../tags/tag185.xml"/><Relationship Id="rId27" Type="http://schemas.openxmlformats.org/officeDocument/2006/relationships/tags" Target="../tags/tag190.xml"/><Relationship Id="rId30" Type="http://schemas.openxmlformats.org/officeDocument/2006/relationships/tags" Target="../tags/tag193.xml"/><Relationship Id="rId35" Type="http://schemas.openxmlformats.org/officeDocument/2006/relationships/notesSlide" Target="../notesSlides/notesSlide9.xml"/><Relationship Id="rId8" Type="http://schemas.openxmlformats.org/officeDocument/2006/relationships/tags" Target="../tags/tag171.xml"/><Relationship Id="rId3" Type="http://schemas.openxmlformats.org/officeDocument/2006/relationships/tags" Target="../tags/tag166.xml"/></Relationships>
</file>

<file path=ppt/slides/_rels/slide11.xml.rels><?xml version="1.0" encoding="UTF-8" standalone="yes"?>
<Relationships xmlns="http://schemas.openxmlformats.org/package/2006/relationships"><Relationship Id="rId8" Type="http://schemas.openxmlformats.org/officeDocument/2006/relationships/tags" Target="../tags/tag204.xml"/><Relationship Id="rId13" Type="http://schemas.openxmlformats.org/officeDocument/2006/relationships/tags" Target="../tags/tag209.xml"/><Relationship Id="rId18" Type="http://schemas.openxmlformats.org/officeDocument/2006/relationships/tags" Target="../tags/tag214.xml"/><Relationship Id="rId3" Type="http://schemas.openxmlformats.org/officeDocument/2006/relationships/tags" Target="../tags/tag199.xml"/><Relationship Id="rId21" Type="http://schemas.openxmlformats.org/officeDocument/2006/relationships/notesSlide" Target="../notesSlides/notesSlide10.xml"/><Relationship Id="rId7" Type="http://schemas.openxmlformats.org/officeDocument/2006/relationships/tags" Target="../tags/tag203.xml"/><Relationship Id="rId12" Type="http://schemas.openxmlformats.org/officeDocument/2006/relationships/tags" Target="../tags/tag208.xml"/><Relationship Id="rId17" Type="http://schemas.openxmlformats.org/officeDocument/2006/relationships/tags" Target="../tags/tag213.xml"/><Relationship Id="rId2" Type="http://schemas.openxmlformats.org/officeDocument/2006/relationships/tags" Target="../tags/tag198.xml"/><Relationship Id="rId16" Type="http://schemas.openxmlformats.org/officeDocument/2006/relationships/tags" Target="../tags/tag212.xml"/><Relationship Id="rId20" Type="http://schemas.openxmlformats.org/officeDocument/2006/relationships/slideLayout" Target="../slideLayouts/slideLayout112.xml"/><Relationship Id="rId1" Type="http://schemas.openxmlformats.org/officeDocument/2006/relationships/tags" Target="../tags/tag197.xml"/><Relationship Id="rId6" Type="http://schemas.openxmlformats.org/officeDocument/2006/relationships/tags" Target="../tags/tag202.xml"/><Relationship Id="rId11" Type="http://schemas.openxmlformats.org/officeDocument/2006/relationships/tags" Target="../tags/tag207.xml"/><Relationship Id="rId24" Type="http://schemas.openxmlformats.org/officeDocument/2006/relationships/chart" Target="../charts/chart11.xml"/><Relationship Id="rId5" Type="http://schemas.openxmlformats.org/officeDocument/2006/relationships/tags" Target="../tags/tag201.xml"/><Relationship Id="rId15" Type="http://schemas.openxmlformats.org/officeDocument/2006/relationships/tags" Target="../tags/tag211.xml"/><Relationship Id="rId23" Type="http://schemas.openxmlformats.org/officeDocument/2006/relationships/image" Target="../media/image26.emf"/><Relationship Id="rId10" Type="http://schemas.openxmlformats.org/officeDocument/2006/relationships/tags" Target="../tags/tag206.xml"/><Relationship Id="rId19" Type="http://schemas.openxmlformats.org/officeDocument/2006/relationships/tags" Target="../tags/tag215.xml"/><Relationship Id="rId4" Type="http://schemas.openxmlformats.org/officeDocument/2006/relationships/tags" Target="../tags/tag200.xml"/><Relationship Id="rId9" Type="http://schemas.openxmlformats.org/officeDocument/2006/relationships/tags" Target="../tags/tag205.xml"/><Relationship Id="rId14" Type="http://schemas.openxmlformats.org/officeDocument/2006/relationships/tags" Target="../tags/tag210.xml"/><Relationship Id="rId22" Type="http://schemas.openxmlformats.org/officeDocument/2006/relationships/oleObject" Target="../embeddings/oleObject21.bin"/></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35.svg"/><Relationship Id="rId2" Type="http://schemas.openxmlformats.org/officeDocument/2006/relationships/slideLayout" Target="../slideLayouts/slideLayout96.xml"/><Relationship Id="rId1" Type="http://schemas.openxmlformats.org/officeDocument/2006/relationships/tags" Target="../tags/tag216.xml"/><Relationship Id="rId6" Type="http://schemas.openxmlformats.org/officeDocument/2006/relationships/image" Target="../media/image34.png"/><Relationship Id="rId5" Type="http://schemas.openxmlformats.org/officeDocument/2006/relationships/image" Target="../media/image33.emf"/><Relationship Id="rId4" Type="http://schemas.openxmlformats.org/officeDocument/2006/relationships/oleObject" Target="../embeddings/oleObject22.bin"/></Relationships>
</file>

<file path=ppt/slides/_rels/slide13.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2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12.xml"/><Relationship Id="rId2" Type="http://schemas.openxmlformats.org/officeDocument/2006/relationships/tags" Target="../tags/tag76.xml"/><Relationship Id="rId1" Type="http://schemas.openxmlformats.org/officeDocument/2006/relationships/tags" Target="../tags/tag75.xml"/><Relationship Id="rId6" Type="http://schemas.openxmlformats.org/officeDocument/2006/relationships/image" Target="../media/image26.emf"/><Relationship Id="rId5" Type="http://schemas.openxmlformats.org/officeDocument/2006/relationships/oleObject" Target="../embeddings/oleObject14.bin"/><Relationship Id="rId4" Type="http://schemas.openxmlformats.org/officeDocument/2006/relationships/notesSlide" Target="../notesSlides/notesSlide1.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6.xml"/></Relationships>
</file>

<file path=ppt/slides/_rels/slide4.xml.rels><?xml version="1.0" encoding="UTF-8" standalone="yes"?>
<Relationships xmlns="http://schemas.openxmlformats.org/package/2006/relationships"><Relationship Id="rId8" Type="http://schemas.openxmlformats.org/officeDocument/2006/relationships/hyperlink" Target="https://misa.gov.sa/en/" TargetMode="External"/><Relationship Id="rId3" Type="http://schemas.openxmlformats.org/officeDocument/2006/relationships/slideLayout" Target="../slideLayouts/slideLayout183.xml"/><Relationship Id="rId7" Type="http://schemas.openxmlformats.org/officeDocument/2006/relationships/image" Target="../media/image27.png"/><Relationship Id="rId12" Type="http://schemas.openxmlformats.org/officeDocument/2006/relationships/image" Target="../media/image31.svg"/><Relationship Id="rId2" Type="http://schemas.openxmlformats.org/officeDocument/2006/relationships/tags" Target="../tags/tag78.xml"/><Relationship Id="rId1" Type="http://schemas.openxmlformats.org/officeDocument/2006/relationships/tags" Target="../tags/tag77.xml"/><Relationship Id="rId6" Type="http://schemas.openxmlformats.org/officeDocument/2006/relationships/image" Target="../media/image26.emf"/><Relationship Id="rId11" Type="http://schemas.openxmlformats.org/officeDocument/2006/relationships/image" Target="../media/image30.png"/><Relationship Id="rId5" Type="http://schemas.openxmlformats.org/officeDocument/2006/relationships/oleObject" Target="../embeddings/oleObject15.bin"/><Relationship Id="rId10" Type="http://schemas.openxmlformats.org/officeDocument/2006/relationships/image" Target="../media/image29.svg"/><Relationship Id="rId4" Type="http://schemas.openxmlformats.org/officeDocument/2006/relationships/notesSlide" Target="../notesSlides/notesSlide3.xml"/><Relationship Id="rId9"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4.xml"/><Relationship Id="rId1" Type="http://schemas.openxmlformats.org/officeDocument/2006/relationships/slideLayout" Target="../slideLayouts/slideLayout122.xml"/></Relationships>
</file>

<file path=ppt/slides/_rels/slide6.xml.rels><?xml version="1.0" encoding="UTF-8" standalone="yes"?>
<Relationships xmlns="http://schemas.openxmlformats.org/package/2006/relationships"><Relationship Id="rId13" Type="http://schemas.openxmlformats.org/officeDocument/2006/relationships/tags" Target="../tags/tag91.xml"/><Relationship Id="rId18" Type="http://schemas.openxmlformats.org/officeDocument/2006/relationships/tags" Target="../tags/tag96.xml"/><Relationship Id="rId26" Type="http://schemas.openxmlformats.org/officeDocument/2006/relationships/tags" Target="../tags/tag104.xml"/><Relationship Id="rId21" Type="http://schemas.openxmlformats.org/officeDocument/2006/relationships/tags" Target="../tags/tag99.xml"/><Relationship Id="rId34" Type="http://schemas.openxmlformats.org/officeDocument/2006/relationships/image" Target="../media/image26.emf"/><Relationship Id="rId7" Type="http://schemas.openxmlformats.org/officeDocument/2006/relationships/tags" Target="../tags/tag85.xml"/><Relationship Id="rId12" Type="http://schemas.openxmlformats.org/officeDocument/2006/relationships/tags" Target="../tags/tag90.xml"/><Relationship Id="rId17" Type="http://schemas.openxmlformats.org/officeDocument/2006/relationships/tags" Target="../tags/tag95.xml"/><Relationship Id="rId25" Type="http://schemas.openxmlformats.org/officeDocument/2006/relationships/tags" Target="../tags/tag103.xml"/><Relationship Id="rId33" Type="http://schemas.openxmlformats.org/officeDocument/2006/relationships/oleObject" Target="../embeddings/oleObject16.bin"/><Relationship Id="rId38" Type="http://schemas.openxmlformats.org/officeDocument/2006/relationships/chart" Target="../charts/chart4.xml"/><Relationship Id="rId2" Type="http://schemas.openxmlformats.org/officeDocument/2006/relationships/tags" Target="../tags/tag80.xml"/><Relationship Id="rId16" Type="http://schemas.openxmlformats.org/officeDocument/2006/relationships/tags" Target="../tags/tag94.xml"/><Relationship Id="rId20" Type="http://schemas.openxmlformats.org/officeDocument/2006/relationships/tags" Target="../tags/tag98.xml"/><Relationship Id="rId29" Type="http://schemas.openxmlformats.org/officeDocument/2006/relationships/tags" Target="../tags/tag107.xml"/><Relationship Id="rId1" Type="http://schemas.openxmlformats.org/officeDocument/2006/relationships/tags" Target="../tags/tag79.xml"/><Relationship Id="rId6" Type="http://schemas.openxmlformats.org/officeDocument/2006/relationships/tags" Target="../tags/tag84.xml"/><Relationship Id="rId11" Type="http://schemas.openxmlformats.org/officeDocument/2006/relationships/tags" Target="../tags/tag89.xml"/><Relationship Id="rId24" Type="http://schemas.openxmlformats.org/officeDocument/2006/relationships/tags" Target="../tags/tag102.xml"/><Relationship Id="rId32" Type="http://schemas.openxmlformats.org/officeDocument/2006/relationships/notesSlide" Target="../notesSlides/notesSlide5.xml"/><Relationship Id="rId37" Type="http://schemas.openxmlformats.org/officeDocument/2006/relationships/chart" Target="../charts/chart3.xml"/><Relationship Id="rId5" Type="http://schemas.openxmlformats.org/officeDocument/2006/relationships/tags" Target="../tags/tag83.xml"/><Relationship Id="rId15" Type="http://schemas.openxmlformats.org/officeDocument/2006/relationships/tags" Target="../tags/tag93.xml"/><Relationship Id="rId23" Type="http://schemas.openxmlformats.org/officeDocument/2006/relationships/tags" Target="../tags/tag101.xml"/><Relationship Id="rId28" Type="http://schemas.openxmlformats.org/officeDocument/2006/relationships/tags" Target="../tags/tag106.xml"/><Relationship Id="rId36" Type="http://schemas.openxmlformats.org/officeDocument/2006/relationships/chart" Target="../charts/chart2.xml"/><Relationship Id="rId10" Type="http://schemas.openxmlformats.org/officeDocument/2006/relationships/tags" Target="../tags/tag88.xml"/><Relationship Id="rId19" Type="http://schemas.openxmlformats.org/officeDocument/2006/relationships/tags" Target="../tags/tag97.xml"/><Relationship Id="rId31" Type="http://schemas.openxmlformats.org/officeDocument/2006/relationships/slideLayout" Target="../slideLayouts/slideLayout148.xml"/><Relationship Id="rId4" Type="http://schemas.openxmlformats.org/officeDocument/2006/relationships/tags" Target="../tags/tag82.xml"/><Relationship Id="rId9" Type="http://schemas.openxmlformats.org/officeDocument/2006/relationships/tags" Target="../tags/tag87.xml"/><Relationship Id="rId14" Type="http://schemas.openxmlformats.org/officeDocument/2006/relationships/tags" Target="../tags/tag92.xml"/><Relationship Id="rId22" Type="http://schemas.openxmlformats.org/officeDocument/2006/relationships/tags" Target="../tags/tag100.xml"/><Relationship Id="rId27" Type="http://schemas.openxmlformats.org/officeDocument/2006/relationships/tags" Target="../tags/tag105.xml"/><Relationship Id="rId30" Type="http://schemas.openxmlformats.org/officeDocument/2006/relationships/tags" Target="../tags/tag108.xml"/><Relationship Id="rId35" Type="http://schemas.openxmlformats.org/officeDocument/2006/relationships/chart" Target="../charts/chart1.xml"/><Relationship Id="rId8" Type="http://schemas.openxmlformats.org/officeDocument/2006/relationships/tags" Target="../tags/tag86.xml"/><Relationship Id="rId3" Type="http://schemas.openxmlformats.org/officeDocument/2006/relationships/tags" Target="../tags/tag81.xml"/></Relationships>
</file>

<file path=ppt/slides/_rels/slide7.xml.rels><?xml version="1.0" encoding="UTF-8" standalone="yes"?>
<Relationships xmlns="http://schemas.openxmlformats.org/package/2006/relationships"><Relationship Id="rId13" Type="http://schemas.openxmlformats.org/officeDocument/2006/relationships/tags" Target="../tags/tag121.xml"/><Relationship Id="rId18" Type="http://schemas.openxmlformats.org/officeDocument/2006/relationships/tags" Target="../tags/tag126.xml"/><Relationship Id="rId26" Type="http://schemas.openxmlformats.org/officeDocument/2006/relationships/tags" Target="../tags/tag134.xml"/><Relationship Id="rId21" Type="http://schemas.openxmlformats.org/officeDocument/2006/relationships/tags" Target="../tags/tag129.xml"/><Relationship Id="rId34" Type="http://schemas.openxmlformats.org/officeDocument/2006/relationships/image" Target="../media/image26.emf"/><Relationship Id="rId7" Type="http://schemas.openxmlformats.org/officeDocument/2006/relationships/tags" Target="../tags/tag115.xml"/><Relationship Id="rId12" Type="http://schemas.openxmlformats.org/officeDocument/2006/relationships/tags" Target="../tags/tag120.xml"/><Relationship Id="rId17" Type="http://schemas.openxmlformats.org/officeDocument/2006/relationships/tags" Target="../tags/tag125.xml"/><Relationship Id="rId25" Type="http://schemas.openxmlformats.org/officeDocument/2006/relationships/tags" Target="../tags/tag133.xml"/><Relationship Id="rId33" Type="http://schemas.openxmlformats.org/officeDocument/2006/relationships/oleObject" Target="../embeddings/oleObject17.bin"/><Relationship Id="rId38" Type="http://schemas.openxmlformats.org/officeDocument/2006/relationships/chart" Target="../charts/chart8.xml"/><Relationship Id="rId2" Type="http://schemas.openxmlformats.org/officeDocument/2006/relationships/tags" Target="../tags/tag110.xml"/><Relationship Id="rId16" Type="http://schemas.openxmlformats.org/officeDocument/2006/relationships/tags" Target="../tags/tag124.xml"/><Relationship Id="rId20" Type="http://schemas.openxmlformats.org/officeDocument/2006/relationships/tags" Target="../tags/tag128.xml"/><Relationship Id="rId29" Type="http://schemas.openxmlformats.org/officeDocument/2006/relationships/tags" Target="../tags/tag137.xml"/><Relationship Id="rId1" Type="http://schemas.openxmlformats.org/officeDocument/2006/relationships/tags" Target="../tags/tag109.xml"/><Relationship Id="rId6" Type="http://schemas.openxmlformats.org/officeDocument/2006/relationships/tags" Target="../tags/tag114.xml"/><Relationship Id="rId11" Type="http://schemas.openxmlformats.org/officeDocument/2006/relationships/tags" Target="../tags/tag119.xml"/><Relationship Id="rId24" Type="http://schemas.openxmlformats.org/officeDocument/2006/relationships/tags" Target="../tags/tag132.xml"/><Relationship Id="rId32" Type="http://schemas.openxmlformats.org/officeDocument/2006/relationships/notesSlide" Target="../notesSlides/notesSlide6.xml"/><Relationship Id="rId37" Type="http://schemas.openxmlformats.org/officeDocument/2006/relationships/chart" Target="../charts/chart7.xml"/><Relationship Id="rId5" Type="http://schemas.openxmlformats.org/officeDocument/2006/relationships/tags" Target="../tags/tag113.xml"/><Relationship Id="rId15" Type="http://schemas.openxmlformats.org/officeDocument/2006/relationships/tags" Target="../tags/tag123.xml"/><Relationship Id="rId23" Type="http://schemas.openxmlformats.org/officeDocument/2006/relationships/tags" Target="../tags/tag131.xml"/><Relationship Id="rId28" Type="http://schemas.openxmlformats.org/officeDocument/2006/relationships/tags" Target="../tags/tag136.xml"/><Relationship Id="rId36" Type="http://schemas.openxmlformats.org/officeDocument/2006/relationships/chart" Target="../charts/chart6.xml"/><Relationship Id="rId10" Type="http://schemas.openxmlformats.org/officeDocument/2006/relationships/tags" Target="../tags/tag118.xml"/><Relationship Id="rId19" Type="http://schemas.openxmlformats.org/officeDocument/2006/relationships/tags" Target="../tags/tag127.xml"/><Relationship Id="rId31" Type="http://schemas.openxmlformats.org/officeDocument/2006/relationships/slideLayout" Target="../slideLayouts/slideLayout148.xml"/><Relationship Id="rId4" Type="http://schemas.openxmlformats.org/officeDocument/2006/relationships/tags" Target="../tags/tag112.xml"/><Relationship Id="rId9" Type="http://schemas.openxmlformats.org/officeDocument/2006/relationships/tags" Target="../tags/tag117.xml"/><Relationship Id="rId14" Type="http://schemas.openxmlformats.org/officeDocument/2006/relationships/tags" Target="../tags/tag122.xml"/><Relationship Id="rId22" Type="http://schemas.openxmlformats.org/officeDocument/2006/relationships/tags" Target="../tags/tag130.xml"/><Relationship Id="rId27" Type="http://schemas.openxmlformats.org/officeDocument/2006/relationships/tags" Target="../tags/tag135.xml"/><Relationship Id="rId30" Type="http://schemas.openxmlformats.org/officeDocument/2006/relationships/tags" Target="../tags/tag138.xml"/><Relationship Id="rId35" Type="http://schemas.openxmlformats.org/officeDocument/2006/relationships/chart" Target="../charts/chart5.xml"/><Relationship Id="rId8" Type="http://schemas.openxmlformats.org/officeDocument/2006/relationships/tags" Target="../tags/tag116.xml"/><Relationship Id="rId3" Type="http://schemas.openxmlformats.org/officeDocument/2006/relationships/tags" Target="../tags/tag111.xml"/></Relationships>
</file>

<file path=ppt/slides/_rels/slide8.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slideLayout" Target="../slideLayouts/slideLayout148.xml"/><Relationship Id="rId7" Type="http://schemas.openxmlformats.org/officeDocument/2006/relationships/image" Target="../media/image27.png"/><Relationship Id="rId2" Type="http://schemas.openxmlformats.org/officeDocument/2006/relationships/tags" Target="../tags/tag140.xml"/><Relationship Id="rId1" Type="http://schemas.openxmlformats.org/officeDocument/2006/relationships/tags" Target="../tags/tag139.xml"/><Relationship Id="rId6" Type="http://schemas.openxmlformats.org/officeDocument/2006/relationships/image" Target="../media/image26.emf"/><Relationship Id="rId5" Type="http://schemas.openxmlformats.org/officeDocument/2006/relationships/oleObject" Target="../embeddings/oleObject18.bin"/><Relationship Id="rId4" Type="http://schemas.openxmlformats.org/officeDocument/2006/relationships/notesSlide" Target="../notesSlides/notesSlide7.xml"/></Relationships>
</file>

<file path=ppt/slides/_rels/slide9.xml.rels><?xml version="1.0" encoding="UTF-8" standalone="yes"?>
<Relationships xmlns="http://schemas.openxmlformats.org/package/2006/relationships"><Relationship Id="rId8" Type="http://schemas.openxmlformats.org/officeDocument/2006/relationships/tags" Target="../tags/tag148.xml"/><Relationship Id="rId13" Type="http://schemas.openxmlformats.org/officeDocument/2006/relationships/tags" Target="../tags/tag153.xml"/><Relationship Id="rId18" Type="http://schemas.openxmlformats.org/officeDocument/2006/relationships/tags" Target="../tags/tag158.xml"/><Relationship Id="rId26" Type="http://schemas.openxmlformats.org/officeDocument/2006/relationships/oleObject" Target="../embeddings/oleObject19.bin"/><Relationship Id="rId3" Type="http://schemas.openxmlformats.org/officeDocument/2006/relationships/tags" Target="../tags/tag143.xml"/><Relationship Id="rId21" Type="http://schemas.openxmlformats.org/officeDocument/2006/relationships/tags" Target="../tags/tag161.xml"/><Relationship Id="rId7" Type="http://schemas.openxmlformats.org/officeDocument/2006/relationships/tags" Target="../tags/tag147.xml"/><Relationship Id="rId12" Type="http://schemas.openxmlformats.org/officeDocument/2006/relationships/tags" Target="../tags/tag152.xml"/><Relationship Id="rId17" Type="http://schemas.openxmlformats.org/officeDocument/2006/relationships/tags" Target="../tags/tag157.xml"/><Relationship Id="rId25" Type="http://schemas.openxmlformats.org/officeDocument/2006/relationships/notesSlide" Target="../notesSlides/notesSlide8.xml"/><Relationship Id="rId2" Type="http://schemas.openxmlformats.org/officeDocument/2006/relationships/tags" Target="../tags/tag142.xml"/><Relationship Id="rId16" Type="http://schemas.openxmlformats.org/officeDocument/2006/relationships/tags" Target="../tags/tag156.xml"/><Relationship Id="rId20" Type="http://schemas.openxmlformats.org/officeDocument/2006/relationships/tags" Target="../tags/tag160.xml"/><Relationship Id="rId1" Type="http://schemas.openxmlformats.org/officeDocument/2006/relationships/tags" Target="../tags/tag141.xml"/><Relationship Id="rId6" Type="http://schemas.openxmlformats.org/officeDocument/2006/relationships/tags" Target="../tags/tag146.xml"/><Relationship Id="rId11" Type="http://schemas.openxmlformats.org/officeDocument/2006/relationships/tags" Target="../tags/tag151.xml"/><Relationship Id="rId24" Type="http://schemas.openxmlformats.org/officeDocument/2006/relationships/slideLayout" Target="../slideLayouts/slideLayout148.xml"/><Relationship Id="rId5" Type="http://schemas.openxmlformats.org/officeDocument/2006/relationships/tags" Target="../tags/tag145.xml"/><Relationship Id="rId15" Type="http://schemas.openxmlformats.org/officeDocument/2006/relationships/tags" Target="../tags/tag155.xml"/><Relationship Id="rId23" Type="http://schemas.openxmlformats.org/officeDocument/2006/relationships/tags" Target="../tags/tag163.xml"/><Relationship Id="rId10" Type="http://schemas.openxmlformats.org/officeDocument/2006/relationships/tags" Target="../tags/tag150.xml"/><Relationship Id="rId19" Type="http://schemas.openxmlformats.org/officeDocument/2006/relationships/tags" Target="../tags/tag159.xml"/><Relationship Id="rId4" Type="http://schemas.openxmlformats.org/officeDocument/2006/relationships/tags" Target="../tags/tag144.xml"/><Relationship Id="rId9" Type="http://schemas.openxmlformats.org/officeDocument/2006/relationships/tags" Target="../tags/tag149.xml"/><Relationship Id="rId14" Type="http://schemas.openxmlformats.org/officeDocument/2006/relationships/tags" Target="../tags/tag154.xml"/><Relationship Id="rId22" Type="http://schemas.openxmlformats.org/officeDocument/2006/relationships/tags" Target="../tags/tag162.xml"/><Relationship Id="rId27" Type="http://schemas.openxmlformats.org/officeDocument/2006/relationships/image" Target="../media/image26.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6684384-1746-4615-8D44-D1C95A2B9934}"/>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ext Placeholder 4"/>
          <p:cNvSpPr>
            <a:spLocks noGrp="1"/>
          </p:cNvSpPr>
          <p:nvPr>
            <p:ph type="body" sz="quarter" idx="10"/>
          </p:nvPr>
        </p:nvSpPr>
        <p:spPr>
          <a:xfrm>
            <a:off x="2111828" y="1774370"/>
            <a:ext cx="6676523" cy="790917"/>
          </a:xfrm>
        </p:spPr>
        <p:txBody>
          <a:bodyPr anchor="ctr"/>
          <a:lstStyle/>
          <a:p>
            <a:r>
              <a:rPr lang="en-US" dirty="0">
                <a:solidFill>
                  <a:sysClr val="windowText" lastClr="000000"/>
                </a:solidFill>
                <a:latin typeface="+mj-lt"/>
              </a:rPr>
              <a:t>Agility Earnings Call Presentation</a:t>
            </a:r>
          </a:p>
        </p:txBody>
      </p:sp>
      <p:sp>
        <p:nvSpPr>
          <p:cNvPr id="7" name="Text Placeholder 6"/>
          <p:cNvSpPr>
            <a:spLocks noGrp="1"/>
          </p:cNvSpPr>
          <p:nvPr>
            <p:ph type="body" sz="quarter" idx="12"/>
          </p:nvPr>
        </p:nvSpPr>
        <p:spPr>
          <a:xfrm>
            <a:off x="2111828" y="2832905"/>
            <a:ext cx="6676523" cy="494440"/>
          </a:xfrm>
        </p:spPr>
        <p:txBody>
          <a:bodyPr anchor="ctr"/>
          <a:lstStyle/>
          <a:p>
            <a:r>
              <a:rPr lang="en-US" dirty="0">
                <a:solidFill>
                  <a:schemeClr val="tx2"/>
                </a:solidFill>
              </a:rPr>
              <a:t>Third Quarter 2023</a:t>
            </a:r>
          </a:p>
        </p:txBody>
      </p:sp>
      <p:pic>
        <p:nvPicPr>
          <p:cNvPr id="8" name="Imagen 9" descr="Agility_logos_ppt-03.png">
            <a:extLst>
              <a:ext uri="{FF2B5EF4-FFF2-40B4-BE49-F238E27FC236}">
                <a16:creationId xmlns:a16="http://schemas.microsoft.com/office/drawing/2014/main" id="{4CF941C2-FBC9-4F03-87C9-C24BD7033FA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46540" y="5060723"/>
            <a:ext cx="2550160" cy="705669"/>
          </a:xfrm>
          <a:prstGeom prst="rect">
            <a:avLst/>
          </a:prstGeom>
        </p:spPr>
      </p:pic>
      <p:sp>
        <p:nvSpPr>
          <p:cNvPr id="10" name="Text Placeholder 5">
            <a:extLst>
              <a:ext uri="{FF2B5EF4-FFF2-40B4-BE49-F238E27FC236}">
                <a16:creationId xmlns:a16="http://schemas.microsoft.com/office/drawing/2014/main" id="{CE4C3F86-C234-4582-8BEA-C0F4FFC7D8F4}"/>
              </a:ext>
            </a:extLst>
          </p:cNvPr>
          <p:cNvSpPr txBox="1">
            <a:spLocks/>
          </p:cNvSpPr>
          <p:nvPr/>
        </p:nvSpPr>
        <p:spPr>
          <a:xfrm>
            <a:off x="2424728" y="5413557"/>
            <a:ext cx="2325750" cy="328564"/>
          </a:xfrm>
          <a:prstGeom prst="rect">
            <a:avLst/>
          </a:prstGeom>
          <a:noFill/>
        </p:spPr>
        <p:txBody>
          <a:bodyPr vert="horz" lIns="34267" tIns="17132" rIns="34267" bIns="17132" anchor="ctr"/>
          <a:lstStyle>
            <a:lvl1pPr marL="0" indent="0" algn="l" rtl="0" eaLnBrk="1" fontAlgn="base" hangingPunct="1">
              <a:spcBef>
                <a:spcPct val="20000"/>
              </a:spcBef>
              <a:spcAft>
                <a:spcPct val="0"/>
              </a:spcAft>
              <a:buNone/>
              <a:defRPr sz="900" baseline="0">
                <a:solidFill>
                  <a:schemeClr val="bg2"/>
                </a:solidFill>
                <a:latin typeface="+mn-lt"/>
                <a:ea typeface="MS PGothic" pitchFamily="34" charset="-128"/>
                <a:cs typeface="Karla"/>
              </a:defRPr>
            </a:lvl1pPr>
            <a:lvl2pPr marL="773219" indent="-297392" algn="l" rtl="0" eaLnBrk="1" fontAlgn="base" hangingPunct="1">
              <a:spcBef>
                <a:spcPct val="20000"/>
              </a:spcBef>
              <a:spcAft>
                <a:spcPct val="0"/>
              </a:spcAft>
              <a:buChar char="–"/>
              <a:defRPr sz="1200">
                <a:solidFill>
                  <a:srgbClr val="888888"/>
                </a:solidFill>
                <a:latin typeface="Arial"/>
                <a:ea typeface="MS PGothic" pitchFamily="34" charset="-128"/>
                <a:cs typeface="Arial"/>
              </a:defRPr>
            </a:lvl2pPr>
            <a:lvl3pPr marL="1189569"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3pPr>
            <a:lvl4pPr marL="1665396"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4pPr>
            <a:lvl5pPr marL="2141224"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5pPr>
            <a:lvl6pPr marL="2617260" indent="-237931" algn="l" rtl="0" eaLnBrk="1" latinLnBrk="0" hangingPunct="1">
              <a:spcBef>
                <a:spcPct val="20000"/>
              </a:spcBef>
              <a:buChar char="•"/>
              <a:defRPr sz="2133">
                <a:solidFill>
                  <a:schemeClr val="tx1"/>
                </a:solidFill>
                <a:latin typeface="+mn-lt"/>
                <a:ea typeface="+mn-ea"/>
                <a:cs typeface="+mn-cs"/>
              </a:defRPr>
            </a:lvl6pPr>
            <a:lvl7pPr marL="3093125" indent="-237931" algn="l" rtl="0" eaLnBrk="1" latinLnBrk="0" hangingPunct="1">
              <a:spcBef>
                <a:spcPct val="20000"/>
              </a:spcBef>
              <a:buChar char="•"/>
              <a:defRPr sz="2133">
                <a:solidFill>
                  <a:schemeClr val="tx1"/>
                </a:solidFill>
                <a:latin typeface="+mn-lt"/>
                <a:ea typeface="+mn-ea"/>
                <a:cs typeface="+mn-cs"/>
              </a:defRPr>
            </a:lvl7pPr>
            <a:lvl8pPr marL="3568992" indent="-237931" algn="l" rtl="0" eaLnBrk="1" latinLnBrk="0" hangingPunct="1">
              <a:spcBef>
                <a:spcPct val="20000"/>
              </a:spcBef>
              <a:buChar char="•"/>
              <a:defRPr sz="2133">
                <a:solidFill>
                  <a:schemeClr val="tx1"/>
                </a:solidFill>
                <a:latin typeface="+mn-lt"/>
                <a:ea typeface="+mn-ea"/>
                <a:cs typeface="+mn-cs"/>
              </a:defRPr>
            </a:lvl8pPr>
            <a:lvl9pPr marL="4044857" indent="-237931" algn="l" rtl="0" eaLnBrk="1" latinLnBrk="0" hangingPunct="1">
              <a:spcBef>
                <a:spcPct val="20000"/>
              </a:spcBef>
              <a:buChar char="•"/>
              <a:defRPr sz="2133">
                <a:solidFill>
                  <a:schemeClr val="tx1"/>
                </a:solidFill>
                <a:latin typeface="+mn-lt"/>
                <a:ea typeface="+mn-ea"/>
                <a:cs typeface="+mn-cs"/>
              </a:defRPr>
            </a:lvl9pPr>
          </a:lstStyle>
          <a:p>
            <a:r>
              <a:rPr lang="en-US" sz="1200" i="1" kern="0" dirty="0">
                <a:solidFill>
                  <a:schemeClr val="accent2"/>
                </a:solidFill>
              </a:rPr>
              <a:t>August 2023</a:t>
            </a:r>
          </a:p>
        </p:txBody>
      </p:sp>
      <p:sp>
        <p:nvSpPr>
          <p:cNvPr id="11" name="Right Triangle 10">
            <a:extLst>
              <a:ext uri="{FF2B5EF4-FFF2-40B4-BE49-F238E27FC236}">
                <a16:creationId xmlns:a16="http://schemas.microsoft.com/office/drawing/2014/main" id="{45A97F5D-EA1B-4C36-9812-176876DF1324}"/>
              </a:ext>
            </a:extLst>
          </p:cNvPr>
          <p:cNvSpPr/>
          <p:nvPr/>
        </p:nvSpPr>
        <p:spPr>
          <a:xfrm flipV="1">
            <a:off x="0" y="0"/>
            <a:ext cx="1982606" cy="68580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ight Triangle 13">
            <a:extLst>
              <a:ext uri="{FF2B5EF4-FFF2-40B4-BE49-F238E27FC236}">
                <a16:creationId xmlns:a16="http://schemas.microsoft.com/office/drawing/2014/main" id="{B424F9FE-F00A-4B1E-B0F4-189C59B10690}"/>
              </a:ext>
            </a:extLst>
          </p:cNvPr>
          <p:cNvSpPr/>
          <p:nvPr/>
        </p:nvSpPr>
        <p:spPr>
          <a:xfrm>
            <a:off x="0" y="4297680"/>
            <a:ext cx="1036320" cy="2560320"/>
          </a:xfrm>
          <a:prstGeom prst="rtTriangle">
            <a:avLst/>
          </a:prstGeom>
          <a:solidFill>
            <a:srgbClr val="AF272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DC8330EA-233A-4B0A-88C0-6C345691AE53}"/>
              </a:ext>
            </a:extLst>
          </p:cNvPr>
          <p:cNvSpPr/>
          <p:nvPr/>
        </p:nvSpPr>
        <p:spPr>
          <a:xfrm>
            <a:off x="2111828" y="5420726"/>
            <a:ext cx="47966" cy="32856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9" name="Straight Connector 18">
            <a:extLst>
              <a:ext uri="{FF2B5EF4-FFF2-40B4-BE49-F238E27FC236}">
                <a16:creationId xmlns:a16="http://schemas.microsoft.com/office/drawing/2014/main" id="{65BFCE8D-8EF8-4347-9C8B-ECA242E54C71}"/>
              </a:ext>
            </a:extLst>
          </p:cNvPr>
          <p:cNvCxnSpPr/>
          <p:nvPr/>
        </p:nvCxnSpPr>
        <p:spPr>
          <a:xfrm>
            <a:off x="3459706" y="5585007"/>
            <a:ext cx="5328645" cy="0"/>
          </a:xfrm>
          <a:prstGeom prst="line">
            <a:avLst/>
          </a:prstGeom>
          <a:ln>
            <a:solidFill>
              <a:srgbClr val="AF272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556245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35691076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592" imgH="661" progId="TCLayout.ActiveDocument.1">
                  <p:embed/>
                </p:oleObj>
              </mc:Choice>
              <mc:Fallback>
                <p:oleObj name="think-cell Slide" r:id="rId36" imgW="592" imgH="661" progId="TCLayout.ActiveDocument.1">
                  <p:embed/>
                  <p:pic>
                    <p:nvPicPr>
                      <p:cNvPr id="13" name="Object 12" hidden="1"/>
                      <p:cNvPicPr/>
                      <p:nvPr/>
                    </p:nvPicPr>
                    <p:blipFill>
                      <a:blip r:embed="rId37"/>
                      <a:stretch>
                        <a:fillRect/>
                      </a:stretch>
                    </p:blipFill>
                    <p:spPr>
                      <a:xfrm>
                        <a:off x="1588" y="1588"/>
                        <a:ext cx="1588" cy="1588"/>
                      </a:xfrm>
                      <a:prstGeom prst="rect">
                        <a:avLst/>
                      </a:prstGeom>
                    </p:spPr>
                  </p:pic>
                </p:oleObj>
              </mc:Fallback>
            </mc:AlternateContent>
          </a:graphicData>
        </a:graphic>
      </p:graphicFrame>
      <p:graphicFrame>
        <p:nvGraphicFramePr>
          <p:cNvPr id="119" name="Chart 118">
            <a:extLst>
              <a:ext uri="{FF2B5EF4-FFF2-40B4-BE49-F238E27FC236}">
                <a16:creationId xmlns:a16="http://schemas.microsoft.com/office/drawing/2014/main" id="{793EA9B6-9851-37D0-17C8-966A3E3FCC43}"/>
              </a:ext>
            </a:extLst>
          </p:cNvPr>
          <p:cNvGraphicFramePr/>
          <p:nvPr>
            <p:custDataLst>
              <p:tags r:id="rId2"/>
            </p:custDataLst>
            <p:extLst>
              <p:ext uri="{D42A27DB-BD31-4B8C-83A1-F6EECF244321}">
                <p14:modId xmlns:p14="http://schemas.microsoft.com/office/powerpoint/2010/main" val="475564362"/>
              </p:ext>
            </p:extLst>
          </p:nvPr>
        </p:nvGraphicFramePr>
        <p:xfrm>
          <a:off x="895350" y="1570038"/>
          <a:ext cx="4287838" cy="2917825"/>
        </p:xfrm>
        <a:graphic>
          <a:graphicData uri="http://schemas.openxmlformats.org/drawingml/2006/chart">
            <c:chart xmlns:c="http://schemas.openxmlformats.org/drawingml/2006/chart" xmlns:r="http://schemas.openxmlformats.org/officeDocument/2006/relationships" r:id="rId38"/>
          </a:graphicData>
        </a:graphic>
      </p:graphicFrame>
      <p:sp>
        <p:nvSpPr>
          <p:cNvPr id="71" name="Rectangle 70">
            <a:extLst>
              <a:ext uri="{FF2B5EF4-FFF2-40B4-BE49-F238E27FC236}">
                <a16:creationId xmlns:a16="http://schemas.microsoft.com/office/drawing/2014/main" id="{F3E99214-F808-1A0B-E2D1-E84ABFE91D00}"/>
              </a:ext>
            </a:extLst>
          </p:cNvPr>
          <p:cNvSpPr/>
          <p:nvPr>
            <p:custDataLst>
              <p:tags r:id="rId3"/>
            </p:custDataLst>
          </p:nvPr>
        </p:nvSpPr>
        <p:spPr bwMode="gray">
          <a:xfrm>
            <a:off x="4927600" y="2349500"/>
            <a:ext cx="254000" cy="165100"/>
          </a:xfrm>
          <a:prstGeom prst="rect">
            <a:avLst/>
          </a:prstGeom>
          <a:solidFill>
            <a:srgbClr val="C3CFE1"/>
          </a:solidFill>
          <a:ln w="425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22225" tIns="0" rIns="22225" bIns="0" rtlCol="0" anchor="ctr"/>
          <a:lstStyle/>
          <a:p>
            <a:pPr algn="ctr">
              <a:lnSpc>
                <a:spcPct val="90000"/>
              </a:lnSpc>
              <a:spcBef>
                <a:spcPct val="0"/>
              </a:spcBef>
              <a:spcAft>
                <a:spcPct val="0"/>
              </a:spcAft>
            </a:pPr>
            <a:fld id="{EADBBCF2-E594-4775-916E-5590AD99BC6D}" type="datetime'2''''''''%'''''''''''''''''''''''''''''''''''''''''''''''">
              <a:rPr lang="en-US" altLang="en-US" sz="1200" smtClean="0">
                <a:solidFill>
                  <a:schemeClr val="tx1"/>
                </a:solidFill>
                <a:effectLst/>
              </a:rPr>
              <a:pPr/>
              <a:t>2%</a:t>
            </a:fld>
            <a:endParaRPr lang="en-US" sz="1200">
              <a:solidFill>
                <a:schemeClr val="tx1"/>
              </a:solidFill>
            </a:endParaRPr>
          </a:p>
        </p:txBody>
      </p:sp>
      <p:sp>
        <p:nvSpPr>
          <p:cNvPr id="67" name="Rectangle 66">
            <a:extLst>
              <a:ext uri="{FF2B5EF4-FFF2-40B4-BE49-F238E27FC236}">
                <a16:creationId xmlns:a16="http://schemas.microsoft.com/office/drawing/2014/main" id="{F056CE84-B383-7EEF-5504-8DCD97317DF1}"/>
              </a:ext>
            </a:extLst>
          </p:cNvPr>
          <p:cNvSpPr/>
          <p:nvPr>
            <p:custDataLst>
              <p:tags r:id="rId4"/>
            </p:custDataLst>
          </p:nvPr>
        </p:nvSpPr>
        <p:spPr bwMode="gray">
          <a:xfrm>
            <a:off x="5200650" y="2357438"/>
            <a:ext cx="269875" cy="150813"/>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numCol="1" spcCol="0" rtlCol="0" anchor="ctr" anchorCtr="0">
            <a:noAutofit/>
          </a:bodyPr>
          <a:lstStyle/>
          <a:p>
            <a:pPr>
              <a:lnSpc>
                <a:spcPct val="90000"/>
              </a:lnSpc>
              <a:spcBef>
                <a:spcPct val="0"/>
              </a:spcBef>
              <a:spcAft>
                <a:spcPct val="0"/>
              </a:spcAft>
            </a:pPr>
            <a:r>
              <a:rPr lang="en-US" sz="1100" dirty="0">
                <a:solidFill>
                  <a:schemeClr val="tx1"/>
                </a:solidFill>
              </a:rPr>
              <a:t>830</a:t>
            </a:r>
          </a:p>
        </p:txBody>
      </p:sp>
      <p:sp>
        <p:nvSpPr>
          <p:cNvPr id="285" name="Rectangle 284">
            <a:extLst>
              <a:ext uri="{FF2B5EF4-FFF2-40B4-BE49-F238E27FC236}">
                <a16:creationId xmlns:a16="http://schemas.microsoft.com/office/drawing/2014/main" id="{4837A278-523F-C0E3-5456-C4FFEF4C0632}"/>
              </a:ext>
            </a:extLst>
          </p:cNvPr>
          <p:cNvSpPr/>
          <p:nvPr>
            <p:custDataLst>
              <p:tags r:id="rId5"/>
            </p:custDataLst>
          </p:nvPr>
        </p:nvSpPr>
        <p:spPr bwMode="gray">
          <a:xfrm>
            <a:off x="5200650" y="3549650"/>
            <a:ext cx="269875" cy="150813"/>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20638" tIns="0" rIns="20638" bIns="0" numCol="1" spcCol="0" rtlCol="0" anchor="ctr" anchorCtr="0">
            <a:noAutofit/>
          </a:bodyPr>
          <a:lstStyle/>
          <a:p>
            <a:pPr>
              <a:lnSpc>
                <a:spcPct val="90000"/>
              </a:lnSpc>
              <a:spcBef>
                <a:spcPct val="0"/>
              </a:spcBef>
              <a:spcAft>
                <a:spcPct val="0"/>
              </a:spcAft>
            </a:pPr>
            <a:r>
              <a:rPr lang="en-US" sz="1100" dirty="0">
                <a:solidFill>
                  <a:schemeClr val="tx1"/>
                </a:solidFill>
              </a:rPr>
              <a:t>830</a:t>
            </a:r>
          </a:p>
        </p:txBody>
      </p:sp>
      <p:sp>
        <p:nvSpPr>
          <p:cNvPr id="3" name="Rectangle 2" hidden="1"/>
          <p:cNvSpPr/>
          <p:nvPr>
            <p:custDataLst>
              <p:tags r:id="rId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to Sans" panose="020B0502040504020204" pitchFamily="34"/>
              <a:ea typeface="+mn-ea"/>
              <a:cs typeface="+mn-cs"/>
              <a:sym typeface="Noto Sans" panose="020B0502040504020204" pitchFamily="34"/>
            </a:endParaRPr>
          </a:p>
        </p:txBody>
      </p:sp>
      <p:sp>
        <p:nvSpPr>
          <p:cNvPr id="4" name="Rectangle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Noto Sans" panose="020B0502040504020204" pitchFamily="34"/>
              <a:ea typeface="+mn-ea"/>
              <a:cs typeface="+mn-cs"/>
            </a:endParaRPr>
          </a:p>
        </p:txBody>
      </p:sp>
      <p:sp>
        <p:nvSpPr>
          <p:cNvPr id="47" name="TextBox 46"/>
          <p:cNvSpPr txBox="1"/>
          <p:nvPr/>
        </p:nvSpPr>
        <p:spPr>
          <a:xfrm>
            <a:off x="7932474" y="4842504"/>
            <a:ext cx="847989" cy="184666"/>
          </a:xfrm>
          <a:prstGeom prst="rect">
            <a:avLst/>
          </a:prstGeom>
          <a:noFill/>
          <a:ln>
            <a:noFill/>
          </a:ln>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Noto Sans"/>
                <a:ea typeface="+mn-ea"/>
                <a:cs typeface="Arial" panose="020B0604020202020204" pitchFamily="34" charset="0"/>
              </a:rPr>
              <a:t>Controlled </a:t>
            </a:r>
          </a:p>
        </p:txBody>
      </p:sp>
      <p:sp>
        <p:nvSpPr>
          <p:cNvPr id="64" name="TextBox 63"/>
          <p:cNvSpPr txBox="1"/>
          <p:nvPr/>
        </p:nvSpPr>
        <p:spPr>
          <a:xfrm>
            <a:off x="7711369" y="2555869"/>
            <a:ext cx="1218282" cy="184666"/>
          </a:xfrm>
          <a:prstGeom prst="rect">
            <a:avLst/>
          </a:prstGeom>
          <a:noFill/>
          <a:ln>
            <a:noFill/>
          </a:ln>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FFFFFF"/>
                </a:solidFill>
                <a:effectLst/>
                <a:uLnTx/>
                <a:uFillTx/>
                <a:latin typeface="Noto Sans"/>
                <a:ea typeface="+mn-ea"/>
                <a:cs typeface="Arial" panose="020B0604020202020204" pitchFamily="34" charset="0"/>
              </a:rPr>
              <a:t>Non-Controlled </a:t>
            </a:r>
          </a:p>
        </p:txBody>
      </p:sp>
      <p:sp>
        <p:nvSpPr>
          <p:cNvPr id="45" name="Text Placeholder 2">
            <a:extLst>
              <a:ext uri="{FF2B5EF4-FFF2-40B4-BE49-F238E27FC236}">
                <a16:creationId xmlns:a16="http://schemas.microsoft.com/office/drawing/2014/main" id="{A84325FC-782E-4385-B122-861BB91C8C0B}"/>
              </a:ext>
            </a:extLst>
          </p:cNvPr>
          <p:cNvSpPr txBox="1">
            <a:spLocks/>
          </p:cNvSpPr>
          <p:nvPr/>
        </p:nvSpPr>
        <p:spPr>
          <a:xfrm>
            <a:off x="312358" y="804544"/>
            <a:ext cx="11484157" cy="240541"/>
          </a:xfrm>
          <a:prstGeom prst="rect">
            <a:avLst/>
          </a:prstGeom>
        </p:spPr>
        <p:txBody>
          <a:bodyPr lIns="17131" tIns="8565" rIns="17131" bIns="8565" anchor="ctr"/>
          <a:lstStyle>
            <a:lvl1pPr marL="356871" indent="-356871" algn="l" rtl="0" eaLnBrk="1" fontAlgn="base" hangingPunct="1">
              <a:spcBef>
                <a:spcPct val="20000"/>
              </a:spcBef>
              <a:spcAft>
                <a:spcPct val="0"/>
              </a:spcAft>
              <a:buChar char="•"/>
              <a:defRPr sz="1200">
                <a:solidFill>
                  <a:srgbClr val="888888"/>
                </a:solidFill>
                <a:latin typeface="Arial"/>
                <a:ea typeface="MS PGothic" pitchFamily="34" charset="-128"/>
                <a:cs typeface="Arial"/>
              </a:defRPr>
            </a:lvl1pPr>
            <a:lvl2pPr marL="773219" indent="-297392" algn="l" rtl="0" eaLnBrk="1" fontAlgn="base" hangingPunct="1">
              <a:spcBef>
                <a:spcPct val="20000"/>
              </a:spcBef>
              <a:spcAft>
                <a:spcPct val="0"/>
              </a:spcAft>
              <a:buChar char="–"/>
              <a:defRPr sz="1200">
                <a:solidFill>
                  <a:srgbClr val="888888"/>
                </a:solidFill>
                <a:latin typeface="Arial"/>
                <a:ea typeface="MS PGothic" pitchFamily="34" charset="-128"/>
                <a:cs typeface="Arial"/>
              </a:defRPr>
            </a:lvl2pPr>
            <a:lvl3pPr marL="1189569"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3pPr>
            <a:lvl4pPr marL="1665396"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4pPr>
            <a:lvl5pPr marL="2141224"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5pPr>
            <a:lvl6pPr marL="2617260" indent="-237931" algn="l" rtl="0" eaLnBrk="1" latinLnBrk="0" hangingPunct="1">
              <a:spcBef>
                <a:spcPct val="20000"/>
              </a:spcBef>
              <a:buChar char="•"/>
              <a:defRPr sz="2133">
                <a:solidFill>
                  <a:schemeClr val="tx1"/>
                </a:solidFill>
                <a:latin typeface="+mn-lt"/>
                <a:ea typeface="+mn-ea"/>
                <a:cs typeface="+mn-cs"/>
              </a:defRPr>
            </a:lvl6pPr>
            <a:lvl7pPr marL="3093125" indent="-237931" algn="l" rtl="0" eaLnBrk="1" latinLnBrk="0" hangingPunct="1">
              <a:spcBef>
                <a:spcPct val="20000"/>
              </a:spcBef>
              <a:buChar char="•"/>
              <a:defRPr sz="2133">
                <a:solidFill>
                  <a:schemeClr val="tx1"/>
                </a:solidFill>
                <a:latin typeface="+mn-lt"/>
                <a:ea typeface="+mn-ea"/>
                <a:cs typeface="+mn-cs"/>
              </a:defRPr>
            </a:lvl7pPr>
            <a:lvl8pPr marL="3568992" indent="-237931" algn="l" rtl="0" eaLnBrk="1" latinLnBrk="0" hangingPunct="1">
              <a:spcBef>
                <a:spcPct val="20000"/>
              </a:spcBef>
              <a:buChar char="•"/>
              <a:defRPr sz="2133">
                <a:solidFill>
                  <a:schemeClr val="tx1"/>
                </a:solidFill>
                <a:latin typeface="+mn-lt"/>
                <a:ea typeface="+mn-ea"/>
                <a:cs typeface="+mn-cs"/>
              </a:defRPr>
            </a:lvl8pPr>
            <a:lvl9pPr marL="4044857" indent="-237931" algn="l" rtl="0" eaLnBrk="1" latinLnBrk="0" hangingPunct="1">
              <a:spcBef>
                <a:spcPct val="20000"/>
              </a:spcBef>
              <a:buChar char="•"/>
              <a:defRPr sz="2133">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600" b="0" i="0" u="none" strike="noStrike" kern="0" cap="none" spc="0" normalizeH="0" baseline="0" noProof="0" dirty="0">
                <a:ln>
                  <a:noFill/>
                </a:ln>
                <a:solidFill>
                  <a:srgbClr val="888888"/>
                </a:solidFill>
                <a:effectLst/>
                <a:uLnTx/>
                <a:uFillTx/>
                <a:latin typeface="Noto Sans"/>
                <a:ea typeface="Noto Sans" panose="020B0502040504020204" pitchFamily="34" charset="0"/>
                <a:cs typeface="Arial" panose="020B0604020202020204" pitchFamily="34" charset="0"/>
              </a:rPr>
              <a:t>Refinanced our credit facilities with cheaper interest facilities</a:t>
            </a:r>
          </a:p>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en-US" sz="1600" b="0" i="0" u="none" strike="noStrike" kern="0" cap="none" spc="0" normalizeH="0" baseline="0" noProof="0" dirty="0">
              <a:ln>
                <a:noFill/>
              </a:ln>
              <a:solidFill>
                <a:srgbClr val="888888"/>
              </a:solidFill>
              <a:effectLst/>
              <a:uLnTx/>
              <a:uFillTx/>
              <a:latin typeface="Noto Sans"/>
              <a:ea typeface="Noto Sans" panose="020B0502040504020204" pitchFamily="34" charset="0"/>
              <a:cs typeface="Arial" panose="020B0604020202020204" pitchFamily="34" charset="0"/>
            </a:endParaRPr>
          </a:p>
        </p:txBody>
      </p:sp>
      <p:sp>
        <p:nvSpPr>
          <p:cNvPr id="46" name="Text Placeholder 8">
            <a:extLst>
              <a:ext uri="{FF2B5EF4-FFF2-40B4-BE49-F238E27FC236}">
                <a16:creationId xmlns:a16="http://schemas.microsoft.com/office/drawing/2014/main" id="{7B5E93B1-982D-465D-B105-0A439C284B95}"/>
              </a:ext>
            </a:extLst>
          </p:cNvPr>
          <p:cNvSpPr txBox="1">
            <a:spLocks/>
          </p:cNvSpPr>
          <p:nvPr/>
        </p:nvSpPr>
        <p:spPr>
          <a:xfrm>
            <a:off x="312358" y="270508"/>
            <a:ext cx="8807583" cy="337873"/>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ea typeface="MS PGothic" pitchFamily="34" charset="-128"/>
                <a:cs typeface="Karla"/>
              </a:defRPr>
            </a:lvl1pPr>
            <a:lvl2pPr marL="773219" indent="-297392" algn="l" rtl="0" eaLnBrk="1" fontAlgn="base" hangingPunct="1">
              <a:spcBef>
                <a:spcPct val="20000"/>
              </a:spcBef>
              <a:spcAft>
                <a:spcPct val="0"/>
              </a:spcAft>
              <a:buChar char="–"/>
              <a:defRPr sz="1200">
                <a:solidFill>
                  <a:srgbClr val="888888"/>
                </a:solidFill>
                <a:latin typeface="Arial"/>
                <a:ea typeface="MS PGothic" pitchFamily="34" charset="-128"/>
                <a:cs typeface="Arial"/>
              </a:defRPr>
            </a:lvl2pPr>
            <a:lvl3pPr marL="1189569"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3pPr>
            <a:lvl4pPr marL="1665396"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4pPr>
            <a:lvl5pPr marL="2141224"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5pPr>
            <a:lvl6pPr marL="2617260" indent="-237931" algn="l" rtl="0" eaLnBrk="1" latinLnBrk="0" hangingPunct="1">
              <a:spcBef>
                <a:spcPct val="20000"/>
              </a:spcBef>
              <a:buChar char="•"/>
              <a:defRPr sz="2133">
                <a:solidFill>
                  <a:schemeClr val="tx1"/>
                </a:solidFill>
                <a:latin typeface="+mn-lt"/>
                <a:ea typeface="+mn-ea"/>
                <a:cs typeface="+mn-cs"/>
              </a:defRPr>
            </a:lvl6pPr>
            <a:lvl7pPr marL="3093125" indent="-237931" algn="l" rtl="0" eaLnBrk="1" latinLnBrk="0" hangingPunct="1">
              <a:spcBef>
                <a:spcPct val="20000"/>
              </a:spcBef>
              <a:buChar char="•"/>
              <a:defRPr sz="2133">
                <a:solidFill>
                  <a:schemeClr val="tx1"/>
                </a:solidFill>
                <a:latin typeface="+mn-lt"/>
                <a:ea typeface="+mn-ea"/>
                <a:cs typeface="+mn-cs"/>
              </a:defRPr>
            </a:lvl7pPr>
            <a:lvl8pPr marL="3568992" indent="-237931" algn="l" rtl="0" eaLnBrk="1" latinLnBrk="0" hangingPunct="1">
              <a:spcBef>
                <a:spcPct val="20000"/>
              </a:spcBef>
              <a:buChar char="•"/>
              <a:defRPr sz="2133">
                <a:solidFill>
                  <a:schemeClr val="tx1"/>
                </a:solidFill>
                <a:latin typeface="+mn-lt"/>
                <a:ea typeface="+mn-ea"/>
                <a:cs typeface="+mn-cs"/>
              </a:defRPr>
            </a:lvl8pPr>
            <a:lvl9pPr marL="4044857" indent="-237931" algn="l" rtl="0" eaLnBrk="1" latinLnBrk="0" hangingPunct="1">
              <a:spcBef>
                <a:spcPct val="20000"/>
              </a:spcBef>
              <a:buChar char="•"/>
              <a:defRPr sz="2133">
                <a:solidFill>
                  <a:schemeClr val="tx1"/>
                </a:solidFill>
                <a:latin typeface="+mn-lt"/>
                <a:ea typeface="+mn-ea"/>
                <a:cs typeface="+mn-cs"/>
              </a:defRPr>
            </a:lvl9pPr>
          </a:lstStyle>
          <a:p>
            <a:pPr marL="0" marR="0" lvl="0" indent="0" algn="l" defTabSz="457109" rtl="0" eaLnBrk="1" fontAlgn="base" latinLnBrk="0" hangingPunct="1">
              <a:lnSpc>
                <a:spcPct val="85000"/>
              </a:lnSpc>
              <a:spcBef>
                <a:spcPct val="20000"/>
              </a:spcBef>
              <a:spcAft>
                <a:spcPct val="0"/>
              </a:spcAft>
              <a:buClrTx/>
              <a:buSzTx/>
              <a:buFontTx/>
              <a:buNone/>
              <a:tabLst/>
              <a:defRPr/>
            </a:pPr>
            <a:r>
              <a:rPr lang="en-US" kern="0" dirty="0">
                <a:solidFill>
                  <a:srgbClr val="D86018"/>
                </a:solidFill>
                <a:latin typeface="Karla"/>
              </a:rPr>
              <a:t>Debt</a:t>
            </a:r>
            <a:r>
              <a:rPr kumimoji="0" lang="en-US" sz="2500" b="1" i="0" u="none" strike="noStrike" kern="0" cap="none" spc="-74" normalizeH="0" baseline="0" noProof="0" dirty="0">
                <a:ln>
                  <a:noFill/>
                </a:ln>
                <a:solidFill>
                  <a:srgbClr val="D86018"/>
                </a:solidFill>
                <a:effectLst/>
                <a:uLnTx/>
                <a:uFillTx/>
                <a:latin typeface="Karla"/>
                <a:ea typeface="MS PGothic" pitchFamily="34" charset="-128"/>
              </a:rPr>
              <a:t> Profile (KD </a:t>
            </a:r>
            <a:r>
              <a:rPr kumimoji="0" lang="en-US" sz="2500" b="1" i="0" u="none" strike="noStrike" kern="0" cap="none" spc="-74" normalizeH="0" baseline="0" noProof="0" dirty="0" err="1">
                <a:ln>
                  <a:noFill/>
                </a:ln>
                <a:solidFill>
                  <a:srgbClr val="D86018"/>
                </a:solidFill>
                <a:effectLst/>
                <a:uLnTx/>
                <a:uFillTx/>
                <a:latin typeface="Karla"/>
                <a:ea typeface="MS PGothic" pitchFamily="34" charset="-128"/>
              </a:rPr>
              <a:t>Mln</a:t>
            </a:r>
            <a:r>
              <a:rPr kumimoji="0" lang="en-US" sz="2500" b="1" i="0" u="none" strike="noStrike" kern="0" cap="none" spc="-74" normalizeH="0" baseline="0" noProof="0" dirty="0">
                <a:ln>
                  <a:noFill/>
                </a:ln>
                <a:solidFill>
                  <a:srgbClr val="D86018"/>
                </a:solidFill>
                <a:effectLst/>
                <a:uLnTx/>
                <a:uFillTx/>
                <a:latin typeface="Karla"/>
                <a:ea typeface="MS PGothic" pitchFamily="34" charset="-128"/>
              </a:rPr>
              <a:t>)	</a:t>
            </a:r>
          </a:p>
        </p:txBody>
      </p:sp>
      <p:sp>
        <p:nvSpPr>
          <p:cNvPr id="87" name="object 8">
            <a:extLst>
              <a:ext uri="{FF2B5EF4-FFF2-40B4-BE49-F238E27FC236}">
                <a16:creationId xmlns:a16="http://schemas.microsoft.com/office/drawing/2014/main" id="{43158E11-093D-D1D1-B249-35816CA63CCF}"/>
              </a:ext>
            </a:extLst>
          </p:cNvPr>
          <p:cNvSpPr/>
          <p:nvPr/>
        </p:nvSpPr>
        <p:spPr>
          <a:xfrm rot="5400000">
            <a:off x="5264922" y="-20866"/>
            <a:ext cx="1529720" cy="11233610"/>
          </a:xfrm>
          <a:custGeom>
            <a:avLst/>
            <a:gdLst/>
            <a:ahLst/>
            <a:cxnLst/>
            <a:rect l="l" t="t" r="r" b="b"/>
            <a:pathLst>
              <a:path w="3397885" h="6300470">
                <a:moveTo>
                  <a:pt x="3397478" y="0"/>
                </a:moveTo>
                <a:lnTo>
                  <a:pt x="0" y="0"/>
                </a:lnTo>
                <a:lnTo>
                  <a:pt x="0" y="6300216"/>
                </a:lnTo>
                <a:lnTo>
                  <a:pt x="3397478" y="6300216"/>
                </a:lnTo>
                <a:lnTo>
                  <a:pt x="3397478" y="0"/>
                </a:lnTo>
                <a:close/>
              </a:path>
            </a:pathLst>
          </a:custGeom>
          <a:solidFill>
            <a:srgbClr val="F2F2F2"/>
          </a:solidFill>
        </p:spPr>
        <p:txBody>
          <a:bodyPr wrap="square" lIns="0" tIns="0" rIns="0" bIns="0" rtlCol="0"/>
          <a:lstStyle/>
          <a:p>
            <a:endParaRPr/>
          </a:p>
        </p:txBody>
      </p:sp>
      <p:sp>
        <p:nvSpPr>
          <p:cNvPr id="8" name="TextBox 340">
            <a:extLst>
              <a:ext uri="{FF2B5EF4-FFF2-40B4-BE49-F238E27FC236}">
                <a16:creationId xmlns:a16="http://schemas.microsoft.com/office/drawing/2014/main" id="{80CFFE61-C9D8-7C7E-7A28-230A442181CD}"/>
              </a:ext>
            </a:extLst>
          </p:cNvPr>
          <p:cNvSpPr txBox="1">
            <a:spLocks noChangeArrowheads="1"/>
          </p:cNvSpPr>
          <p:nvPr/>
        </p:nvSpPr>
        <p:spPr bwMode="auto">
          <a:xfrm>
            <a:off x="545413" y="5075326"/>
            <a:ext cx="10846210" cy="1169551"/>
          </a:xfrm>
          <a:prstGeom prst="rect">
            <a:avLst/>
          </a:prstGeom>
          <a:noFill/>
          <a:ln w="9525">
            <a:noFill/>
            <a:miter lim="800000"/>
            <a:headEnd/>
            <a:tailEnd/>
          </a:ln>
        </p:spPr>
        <p:txBody>
          <a:bodyPr wrap="square" lIns="0" rIns="0" numCol="2" anchor="ctr">
            <a:spAutoFit/>
          </a:bodyPr>
          <a:lstStyle/>
          <a:p>
            <a:pPr marL="285750" marR="0" lvl="0" indent="-285750" fontAlgn="auto">
              <a:lnSpc>
                <a:spcPct val="100000"/>
              </a:lnSpc>
              <a:spcBef>
                <a:spcPts val="0"/>
              </a:spcBef>
              <a:spcAft>
                <a:spcPts val="0"/>
              </a:spcAft>
              <a:buClrTx/>
              <a:buSzTx/>
              <a:buFont typeface="Arial" panose="020B0604020202020204" pitchFamily="34" charset="0"/>
              <a:buChar char="•"/>
              <a:tabLst/>
              <a:defRPr/>
            </a:pPr>
            <a:r>
              <a:rPr lang="en-US" sz="1400" dirty="0"/>
              <a:t>Agility has entered into a multi year funded equity collar agreements concerning a number of DSV shares. </a:t>
            </a:r>
          </a:p>
          <a:p>
            <a:pPr marR="0" lvl="0" fontAlgn="auto">
              <a:lnSpc>
                <a:spcPct val="100000"/>
              </a:lnSpc>
              <a:spcBef>
                <a:spcPts val="0"/>
              </a:spcBef>
              <a:spcAft>
                <a:spcPts val="0"/>
              </a:spcAft>
              <a:buClrTx/>
              <a:buSzTx/>
              <a:tabLst/>
              <a:defRPr/>
            </a:pPr>
            <a:endParaRPr lang="en-US" sz="1400" dirty="0"/>
          </a:p>
          <a:p>
            <a:pPr marL="285750" marR="0" lvl="0" indent="-285750" fontAlgn="auto">
              <a:lnSpc>
                <a:spcPct val="100000"/>
              </a:lnSpc>
              <a:spcBef>
                <a:spcPts val="0"/>
              </a:spcBef>
              <a:spcAft>
                <a:spcPts val="0"/>
              </a:spcAft>
              <a:buClrTx/>
              <a:buSzTx/>
              <a:buFont typeface="Arial" panose="020B0604020202020204" pitchFamily="34" charset="0"/>
              <a:buChar char="•"/>
              <a:tabLst/>
              <a:defRPr/>
            </a:pPr>
            <a:r>
              <a:rPr lang="en-US" sz="1400" dirty="0"/>
              <a:t>Those agreements allowed Agility to have access to around KD 770 million (Euros 2.2 </a:t>
            </a:r>
            <a:r>
              <a:rPr lang="en-US" sz="1400" dirty="0" err="1"/>
              <a:t>bln</a:t>
            </a:r>
            <a:r>
              <a:rPr lang="en-US" sz="1400" dirty="0"/>
              <a:t>) of relatively cheaper financing </a:t>
            </a:r>
          </a:p>
          <a:p>
            <a:pPr marL="285750" marR="0" lvl="0" indent="-285750" fontAlgn="auto">
              <a:lnSpc>
                <a:spcPct val="100000"/>
              </a:lnSpc>
              <a:spcBef>
                <a:spcPts val="0"/>
              </a:spcBef>
              <a:spcAft>
                <a:spcPts val="0"/>
              </a:spcAft>
              <a:buClrTx/>
              <a:buSzTx/>
              <a:buFont typeface="Arial" panose="020B0604020202020204" pitchFamily="34" charset="0"/>
              <a:buChar char="•"/>
              <a:tabLst/>
              <a:defRPr/>
            </a:pPr>
            <a:r>
              <a:rPr lang="en-US" sz="1400" dirty="0"/>
              <a:t>Proceeds from the equity collars were used to close a previous more expensive debt</a:t>
            </a:r>
          </a:p>
        </p:txBody>
      </p:sp>
      <p:graphicFrame>
        <p:nvGraphicFramePr>
          <p:cNvPr id="31" name="object 2">
            <a:extLst>
              <a:ext uri="{FF2B5EF4-FFF2-40B4-BE49-F238E27FC236}">
                <a16:creationId xmlns:a16="http://schemas.microsoft.com/office/drawing/2014/main" id="{22D8A7E0-34BB-1040-BDC5-F12F137C3105}"/>
              </a:ext>
            </a:extLst>
          </p:cNvPr>
          <p:cNvGraphicFramePr>
            <a:graphicFrameLocks noGrp="1"/>
          </p:cNvGraphicFramePr>
          <p:nvPr>
            <p:extLst>
              <p:ext uri="{D42A27DB-BD31-4B8C-83A1-F6EECF244321}">
                <p14:modId xmlns:p14="http://schemas.microsoft.com/office/powerpoint/2010/main" val="1908525118"/>
              </p:ext>
            </p:extLst>
          </p:nvPr>
        </p:nvGraphicFramePr>
        <p:xfrm>
          <a:off x="7167563" y="1205239"/>
          <a:ext cx="4055482" cy="254635"/>
        </p:xfrm>
        <a:graphic>
          <a:graphicData uri="http://schemas.openxmlformats.org/drawingml/2006/table">
            <a:tbl>
              <a:tblPr firstRow="1" bandRow="1">
                <a:tableStyleId>{2D5ABB26-0587-4C30-8999-92F81FD0307C}</a:tableStyleId>
              </a:tblPr>
              <a:tblGrid>
                <a:gridCol w="4055482">
                  <a:extLst>
                    <a:ext uri="{9D8B030D-6E8A-4147-A177-3AD203B41FA5}">
                      <a16:colId xmlns:a16="http://schemas.microsoft.com/office/drawing/2014/main" val="20000"/>
                    </a:ext>
                  </a:extLst>
                </a:gridCol>
              </a:tblGrid>
              <a:tr h="246888">
                <a:tc>
                  <a:txBody>
                    <a:bodyPr/>
                    <a:lstStyle/>
                    <a:p>
                      <a:pPr marL="255270" algn="ctr">
                        <a:lnSpc>
                          <a:spcPct val="100000"/>
                        </a:lnSpc>
                        <a:spcBef>
                          <a:spcPts val="325"/>
                        </a:spcBef>
                      </a:pPr>
                      <a:r>
                        <a:rPr lang="en-US" sz="1400" b="1" dirty="0">
                          <a:solidFill>
                            <a:schemeClr val="bg1"/>
                          </a:solidFill>
                          <a:latin typeface="Noto Sans"/>
                          <a:cs typeface="Noto Sans"/>
                        </a:rPr>
                        <a:t>Group Net Debt Bridge </a:t>
                      </a:r>
                    </a:p>
                  </a:txBody>
                  <a:tcPr marL="0" marR="0" marT="41275" marB="0">
                    <a:solidFill>
                      <a:schemeClr val="bg1">
                        <a:lumMod val="50000"/>
                      </a:schemeClr>
                    </a:solidFill>
                  </a:tcPr>
                </a:tc>
                <a:extLst>
                  <a:ext uri="{0D108BD9-81ED-4DB2-BD59-A6C34878D82A}">
                    <a16:rowId xmlns:a16="http://schemas.microsoft.com/office/drawing/2014/main" val="10000"/>
                  </a:ext>
                </a:extLst>
              </a:tr>
            </a:tbl>
          </a:graphicData>
        </a:graphic>
      </p:graphicFrame>
      <p:graphicFrame>
        <p:nvGraphicFramePr>
          <p:cNvPr id="334" name="object 2">
            <a:extLst>
              <a:ext uri="{FF2B5EF4-FFF2-40B4-BE49-F238E27FC236}">
                <a16:creationId xmlns:a16="http://schemas.microsoft.com/office/drawing/2014/main" id="{DB5BF60B-5063-0D01-4F02-18CE30DBEB2B}"/>
              </a:ext>
            </a:extLst>
          </p:cNvPr>
          <p:cNvGraphicFramePr>
            <a:graphicFrameLocks noGrp="1"/>
          </p:cNvGraphicFramePr>
          <p:nvPr>
            <p:extLst>
              <p:ext uri="{D42A27DB-BD31-4B8C-83A1-F6EECF244321}">
                <p14:modId xmlns:p14="http://schemas.microsoft.com/office/powerpoint/2010/main" val="3875975820"/>
              </p:ext>
            </p:extLst>
          </p:nvPr>
        </p:nvGraphicFramePr>
        <p:xfrm>
          <a:off x="989854" y="1209618"/>
          <a:ext cx="4136183" cy="475615"/>
        </p:xfrm>
        <a:graphic>
          <a:graphicData uri="http://schemas.openxmlformats.org/drawingml/2006/table">
            <a:tbl>
              <a:tblPr firstRow="1" bandRow="1">
                <a:tableStyleId>{2D5ABB26-0587-4C30-8999-92F81FD0307C}</a:tableStyleId>
              </a:tblPr>
              <a:tblGrid>
                <a:gridCol w="4136183">
                  <a:extLst>
                    <a:ext uri="{9D8B030D-6E8A-4147-A177-3AD203B41FA5}">
                      <a16:colId xmlns:a16="http://schemas.microsoft.com/office/drawing/2014/main" val="20000"/>
                    </a:ext>
                  </a:extLst>
                </a:gridCol>
              </a:tblGrid>
              <a:tr h="206239">
                <a:tc>
                  <a:txBody>
                    <a:bodyPr/>
                    <a:lstStyle/>
                    <a:p>
                      <a:pPr marL="255270" algn="ctr">
                        <a:lnSpc>
                          <a:spcPct val="100000"/>
                        </a:lnSpc>
                        <a:spcBef>
                          <a:spcPts val="325"/>
                        </a:spcBef>
                      </a:pPr>
                      <a:r>
                        <a:rPr lang="en-US" sz="1400" b="1" dirty="0">
                          <a:solidFill>
                            <a:schemeClr val="bg1"/>
                          </a:solidFill>
                          <a:latin typeface="Noto Sans"/>
                          <a:cs typeface="Noto Sans"/>
                        </a:rPr>
                        <a:t>Corporate Gross Debt Profile</a:t>
                      </a:r>
                    </a:p>
                    <a:p>
                      <a:pPr marL="255270" algn="ctr">
                        <a:lnSpc>
                          <a:spcPct val="100000"/>
                        </a:lnSpc>
                        <a:spcBef>
                          <a:spcPts val="325"/>
                        </a:spcBef>
                      </a:pPr>
                      <a:r>
                        <a:rPr lang="en-US" sz="1200" b="1" dirty="0">
                          <a:solidFill>
                            <a:schemeClr val="bg1"/>
                          </a:solidFill>
                          <a:latin typeface="Noto Sans"/>
                          <a:cs typeface="Noto Sans"/>
                        </a:rPr>
                        <a:t>(80% of Group Debt)</a:t>
                      </a:r>
                      <a:endParaRPr sz="1200" b="1" dirty="0">
                        <a:solidFill>
                          <a:schemeClr val="bg1"/>
                        </a:solidFill>
                        <a:latin typeface="Noto Sans"/>
                        <a:cs typeface="Noto Sans"/>
                      </a:endParaRPr>
                    </a:p>
                  </a:txBody>
                  <a:tcPr marL="0" marR="0" marT="41275" marB="0">
                    <a:solidFill>
                      <a:schemeClr val="bg1">
                        <a:lumMod val="50000"/>
                      </a:schemeClr>
                    </a:solidFill>
                  </a:tcPr>
                </a:tc>
                <a:extLst>
                  <a:ext uri="{0D108BD9-81ED-4DB2-BD59-A6C34878D82A}">
                    <a16:rowId xmlns:a16="http://schemas.microsoft.com/office/drawing/2014/main" val="10000"/>
                  </a:ext>
                </a:extLst>
              </a:tr>
            </a:tbl>
          </a:graphicData>
        </a:graphic>
      </p:graphicFrame>
      <p:sp>
        <p:nvSpPr>
          <p:cNvPr id="395" name="TextBox 394">
            <a:extLst>
              <a:ext uri="{FF2B5EF4-FFF2-40B4-BE49-F238E27FC236}">
                <a16:creationId xmlns:a16="http://schemas.microsoft.com/office/drawing/2014/main" id="{BE83691C-78DC-B8D7-7811-D3E180472E2A}"/>
              </a:ext>
            </a:extLst>
          </p:cNvPr>
          <p:cNvSpPr txBox="1"/>
          <p:nvPr/>
        </p:nvSpPr>
        <p:spPr>
          <a:xfrm>
            <a:off x="4672219" y="4041159"/>
            <a:ext cx="708025" cy="261938"/>
          </a:xfrm>
          <a:prstGeom prst="rect">
            <a:avLst/>
          </a:prstGeom>
          <a:noFill/>
          <a:ln>
            <a:noFill/>
          </a:ln>
        </p:spPr>
        <p:txBody>
          <a:bodyPr wrap="square">
            <a:spAutoFit/>
          </a:bodyPr>
          <a:lstStyle/>
          <a:p>
            <a:r>
              <a:rPr lang="en-US" sz="1100" b="1" dirty="0">
                <a:solidFill>
                  <a:srgbClr val="474647"/>
                </a:solidFill>
              </a:rPr>
              <a:t>2029</a:t>
            </a:r>
            <a:endParaRPr lang="en-US" sz="1100" b="1" dirty="0"/>
          </a:p>
        </p:txBody>
      </p:sp>
      <p:graphicFrame>
        <p:nvGraphicFramePr>
          <p:cNvPr id="403" name="object 2">
            <a:extLst>
              <a:ext uri="{FF2B5EF4-FFF2-40B4-BE49-F238E27FC236}">
                <a16:creationId xmlns:a16="http://schemas.microsoft.com/office/drawing/2014/main" id="{FBAC91A1-1FBF-E674-C196-3B81FD50F88E}"/>
              </a:ext>
            </a:extLst>
          </p:cNvPr>
          <p:cNvGraphicFramePr>
            <a:graphicFrameLocks noGrp="1"/>
          </p:cNvGraphicFramePr>
          <p:nvPr>
            <p:extLst>
              <p:ext uri="{D42A27DB-BD31-4B8C-83A1-F6EECF244321}">
                <p14:modId xmlns:p14="http://schemas.microsoft.com/office/powerpoint/2010/main" val="219259859"/>
              </p:ext>
            </p:extLst>
          </p:nvPr>
        </p:nvGraphicFramePr>
        <p:xfrm>
          <a:off x="745971" y="2775065"/>
          <a:ext cx="800100" cy="209550"/>
        </p:xfrm>
        <a:graphic>
          <a:graphicData uri="http://schemas.openxmlformats.org/drawingml/2006/table">
            <a:tbl>
              <a:tblPr firstRow="1" bandRow="1">
                <a:tableStyleId>{2D5ABB26-0587-4C30-8999-92F81FD0307C}</a:tableStyleId>
              </a:tblPr>
              <a:tblGrid>
                <a:gridCol w="800100">
                  <a:extLst>
                    <a:ext uri="{9D8B030D-6E8A-4147-A177-3AD203B41FA5}">
                      <a16:colId xmlns:a16="http://schemas.microsoft.com/office/drawing/2014/main" val="20000"/>
                    </a:ext>
                  </a:extLst>
                </a:gridCol>
              </a:tblGrid>
              <a:tr h="209550">
                <a:tc>
                  <a:txBody>
                    <a:bodyPr/>
                    <a:lstStyle/>
                    <a:p>
                      <a:pPr marL="255270" algn="l">
                        <a:lnSpc>
                          <a:spcPct val="100000"/>
                        </a:lnSpc>
                        <a:spcBef>
                          <a:spcPts val="325"/>
                        </a:spcBef>
                      </a:pPr>
                      <a:r>
                        <a:rPr lang="en-US" sz="1100" b="1" dirty="0">
                          <a:solidFill>
                            <a:schemeClr val="tx1"/>
                          </a:solidFill>
                          <a:latin typeface="Noto Sans"/>
                          <a:cs typeface="Noto Sans"/>
                        </a:rPr>
                        <a:t>USD</a:t>
                      </a:r>
                      <a:endParaRPr sz="1100" dirty="0">
                        <a:solidFill>
                          <a:schemeClr val="tx1"/>
                        </a:solidFill>
                        <a:latin typeface="Noto Sans"/>
                        <a:cs typeface="Noto Sans"/>
                      </a:endParaRPr>
                    </a:p>
                  </a:txBody>
                  <a:tcPr marL="0" marR="0" marT="41275" marB="0">
                    <a:lnL w="28575" cap="flat" cmpd="sng" algn="ctr">
                      <a:solidFill>
                        <a:srgbClr val="FFFFFF"/>
                      </a:solidFill>
                      <a:prstDash val="solid"/>
                      <a:round/>
                      <a:headEnd type="none" w="med" len="med"/>
                      <a:tailEnd type="none" w="med" len="med"/>
                    </a:lnL>
                    <a:lnR w="28575">
                      <a:solidFill>
                        <a:srgbClr val="FFFFFF"/>
                      </a:solidFill>
                      <a:prstDash val="solid"/>
                    </a:lnR>
                    <a:noFill/>
                  </a:tcPr>
                </a:tc>
                <a:extLst>
                  <a:ext uri="{0D108BD9-81ED-4DB2-BD59-A6C34878D82A}">
                    <a16:rowId xmlns:a16="http://schemas.microsoft.com/office/drawing/2014/main" val="10000"/>
                  </a:ext>
                </a:extLst>
              </a:tr>
            </a:tbl>
          </a:graphicData>
        </a:graphic>
      </p:graphicFrame>
      <p:sp>
        <p:nvSpPr>
          <p:cNvPr id="406" name="TextBox 405">
            <a:extLst>
              <a:ext uri="{FF2B5EF4-FFF2-40B4-BE49-F238E27FC236}">
                <a16:creationId xmlns:a16="http://schemas.microsoft.com/office/drawing/2014/main" id="{D1C33F25-2773-9914-7A05-3FA89B4B3F07}"/>
              </a:ext>
            </a:extLst>
          </p:cNvPr>
          <p:cNvSpPr txBox="1"/>
          <p:nvPr/>
        </p:nvSpPr>
        <p:spPr>
          <a:xfrm rot="16200000">
            <a:off x="35719" y="3204369"/>
            <a:ext cx="923925" cy="519113"/>
          </a:xfrm>
          <a:prstGeom prst="rect">
            <a:avLst/>
          </a:prstGeom>
          <a:noFill/>
          <a:ln>
            <a:noFill/>
          </a:ln>
        </p:spPr>
        <p:txBody>
          <a:bodyPr wrap="square" lIns="0" tIns="0" rIns="0" bIns="0" rtlCol="0" anchor="t" anchorCtr="0">
            <a:noAutofit/>
          </a:bodyPr>
          <a:lstStyle/>
          <a:p>
            <a:pPr algn="l">
              <a:lnSpc>
                <a:spcPts val="3500"/>
              </a:lnSpc>
            </a:pPr>
            <a:r>
              <a:rPr lang="en-US" sz="1200" dirty="0">
                <a:cs typeface="Etelka Text Pro"/>
              </a:rPr>
              <a:t> Maturity</a:t>
            </a:r>
            <a:endParaRPr lang="en-US" sz="1200" dirty="0">
              <a:latin typeface="+mn-lt"/>
              <a:cs typeface="Etelka Text Pro"/>
            </a:endParaRPr>
          </a:p>
        </p:txBody>
      </p:sp>
      <p:sp>
        <p:nvSpPr>
          <p:cNvPr id="407" name="TextBox 406">
            <a:extLst>
              <a:ext uri="{FF2B5EF4-FFF2-40B4-BE49-F238E27FC236}">
                <a16:creationId xmlns:a16="http://schemas.microsoft.com/office/drawing/2014/main" id="{B9B25791-4C4D-5CF7-73E2-205F1D8EE97C}"/>
              </a:ext>
            </a:extLst>
          </p:cNvPr>
          <p:cNvSpPr txBox="1"/>
          <p:nvPr/>
        </p:nvSpPr>
        <p:spPr>
          <a:xfrm rot="16200000">
            <a:off x="96191" y="2067560"/>
            <a:ext cx="811213" cy="519113"/>
          </a:xfrm>
          <a:prstGeom prst="rect">
            <a:avLst/>
          </a:prstGeom>
          <a:noFill/>
          <a:ln>
            <a:noFill/>
          </a:ln>
        </p:spPr>
        <p:txBody>
          <a:bodyPr wrap="square" lIns="0" tIns="0" rIns="0" bIns="0" rtlCol="0" anchor="t" anchorCtr="0">
            <a:noAutofit/>
          </a:bodyPr>
          <a:lstStyle/>
          <a:p>
            <a:pPr algn="l">
              <a:lnSpc>
                <a:spcPts val="3500"/>
              </a:lnSpc>
            </a:pPr>
            <a:r>
              <a:rPr lang="en-US" sz="1200" dirty="0">
                <a:cs typeface="Etelka Text Pro"/>
              </a:rPr>
              <a:t>Currency</a:t>
            </a:r>
            <a:endParaRPr lang="en-US" sz="1200" dirty="0">
              <a:latin typeface="+mn-lt"/>
              <a:cs typeface="Etelka Text Pro"/>
            </a:endParaRPr>
          </a:p>
        </p:txBody>
      </p:sp>
      <p:cxnSp>
        <p:nvCxnSpPr>
          <p:cNvPr id="40" name="Straight Connector 39">
            <a:extLst>
              <a:ext uri="{FF2B5EF4-FFF2-40B4-BE49-F238E27FC236}">
                <a16:creationId xmlns:a16="http://schemas.microsoft.com/office/drawing/2014/main" id="{12B290F1-1BA1-41DC-F713-E9ECAFC05374}"/>
              </a:ext>
            </a:extLst>
          </p:cNvPr>
          <p:cNvCxnSpPr/>
          <p:nvPr>
            <p:custDataLst>
              <p:tags r:id="rId7"/>
            </p:custDataLst>
          </p:nvPr>
        </p:nvCxnSpPr>
        <p:spPr bwMode="auto">
          <a:xfrm>
            <a:off x="7618413" y="2513013"/>
            <a:ext cx="2571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4" name="Straight Connector 123">
            <a:extLst>
              <a:ext uri="{FF2B5EF4-FFF2-40B4-BE49-F238E27FC236}">
                <a16:creationId xmlns:a16="http://schemas.microsoft.com/office/drawing/2014/main" id="{AFB3A355-EFBF-59B9-E82E-331A5FAA252B}"/>
              </a:ext>
            </a:extLst>
          </p:cNvPr>
          <p:cNvCxnSpPr/>
          <p:nvPr>
            <p:custDataLst>
              <p:tags r:id="rId8"/>
            </p:custDataLst>
          </p:nvPr>
        </p:nvCxnSpPr>
        <p:spPr bwMode="auto">
          <a:xfrm>
            <a:off x="8197850" y="3770313"/>
            <a:ext cx="2571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Straight Connector 126">
            <a:extLst>
              <a:ext uri="{FF2B5EF4-FFF2-40B4-BE49-F238E27FC236}">
                <a16:creationId xmlns:a16="http://schemas.microsoft.com/office/drawing/2014/main" id="{38C5B2B9-279E-35E4-936A-1CFE35932B2D}"/>
              </a:ext>
            </a:extLst>
          </p:cNvPr>
          <p:cNvCxnSpPr/>
          <p:nvPr>
            <p:custDataLst>
              <p:tags r:id="rId9"/>
            </p:custDataLst>
          </p:nvPr>
        </p:nvCxnSpPr>
        <p:spPr bwMode="auto">
          <a:xfrm>
            <a:off x="8777288" y="3043238"/>
            <a:ext cx="2571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7" name="Straight Connector 256">
            <a:extLst>
              <a:ext uri="{FF2B5EF4-FFF2-40B4-BE49-F238E27FC236}">
                <a16:creationId xmlns:a16="http://schemas.microsoft.com/office/drawing/2014/main" id="{4F9D3508-49E5-23F7-67E4-7D358006F284}"/>
              </a:ext>
            </a:extLst>
          </p:cNvPr>
          <p:cNvCxnSpPr/>
          <p:nvPr>
            <p:custDataLst>
              <p:tags r:id="rId10"/>
            </p:custDataLst>
          </p:nvPr>
        </p:nvCxnSpPr>
        <p:spPr bwMode="auto">
          <a:xfrm>
            <a:off x="10515600" y="2008188"/>
            <a:ext cx="2571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09" name="Straight Connector 108">
            <a:extLst>
              <a:ext uri="{FF2B5EF4-FFF2-40B4-BE49-F238E27FC236}">
                <a16:creationId xmlns:a16="http://schemas.microsoft.com/office/drawing/2014/main" id="{83174CE2-4410-628B-8398-BEA58FADE01C}"/>
              </a:ext>
            </a:extLst>
          </p:cNvPr>
          <p:cNvCxnSpPr/>
          <p:nvPr>
            <p:custDataLst>
              <p:tags r:id="rId11"/>
            </p:custDataLst>
          </p:nvPr>
        </p:nvCxnSpPr>
        <p:spPr bwMode="auto">
          <a:xfrm>
            <a:off x="9356725" y="2943225"/>
            <a:ext cx="2571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71" name="Straight Connector 270">
            <a:extLst>
              <a:ext uri="{FF2B5EF4-FFF2-40B4-BE49-F238E27FC236}">
                <a16:creationId xmlns:a16="http://schemas.microsoft.com/office/drawing/2014/main" id="{0FAF3409-DD03-A7B4-BB41-A12E20DAD8D7}"/>
              </a:ext>
            </a:extLst>
          </p:cNvPr>
          <p:cNvCxnSpPr/>
          <p:nvPr>
            <p:custDataLst>
              <p:tags r:id="rId12"/>
            </p:custDataLst>
          </p:nvPr>
        </p:nvCxnSpPr>
        <p:spPr bwMode="auto">
          <a:xfrm>
            <a:off x="9936163" y="1936750"/>
            <a:ext cx="257175" cy="0"/>
          </a:xfrm>
          <a:prstGeom prst="line">
            <a:avLst/>
          </a:prstGeom>
          <a:ln w="3175" cap="flat" cmpd="sng" algn="ctr">
            <a:solidFill>
              <a:schemeClr val="tx1"/>
            </a:solidFill>
            <a:prstDash val="lg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graphicFrame>
        <p:nvGraphicFramePr>
          <p:cNvPr id="306" name="Chart 305">
            <a:extLst>
              <a:ext uri="{FF2B5EF4-FFF2-40B4-BE49-F238E27FC236}">
                <a16:creationId xmlns:a16="http://schemas.microsoft.com/office/drawing/2014/main" id="{4E67A0BB-E44A-22A6-AD02-649940C7BCD0}"/>
              </a:ext>
            </a:extLst>
          </p:cNvPr>
          <p:cNvGraphicFramePr/>
          <p:nvPr>
            <p:custDataLst>
              <p:tags r:id="rId13"/>
            </p:custDataLst>
            <p:extLst>
              <p:ext uri="{D42A27DB-BD31-4B8C-83A1-F6EECF244321}">
                <p14:modId xmlns:p14="http://schemas.microsoft.com/office/powerpoint/2010/main" val="1945011703"/>
              </p:ext>
            </p:extLst>
          </p:nvPr>
        </p:nvGraphicFramePr>
        <p:xfrm>
          <a:off x="7085013" y="1731963"/>
          <a:ext cx="4221162" cy="2457450"/>
        </p:xfrm>
        <a:graphic>
          <a:graphicData uri="http://schemas.openxmlformats.org/drawingml/2006/chart">
            <c:chart xmlns:c="http://schemas.openxmlformats.org/drawingml/2006/chart" xmlns:r="http://schemas.openxmlformats.org/officeDocument/2006/relationships" r:id="rId39"/>
          </a:graphicData>
        </a:graphic>
      </p:graphicFrame>
      <p:sp useBgFill="1">
        <p:nvSpPr>
          <p:cNvPr id="300" name="Freeform: Shape 299">
            <a:extLst>
              <a:ext uri="{FF2B5EF4-FFF2-40B4-BE49-F238E27FC236}">
                <a16:creationId xmlns:a16="http://schemas.microsoft.com/office/drawing/2014/main" id="{B6EDEAD5-7CA8-BEDA-A583-318550B22AF0}"/>
              </a:ext>
            </a:extLst>
          </p:cNvPr>
          <p:cNvSpPr/>
          <p:nvPr>
            <p:custDataLst>
              <p:tags r:id="rId14"/>
            </p:custDataLst>
          </p:nvPr>
        </p:nvSpPr>
        <p:spPr bwMode="auto">
          <a:xfrm>
            <a:off x="7261225" y="3797300"/>
            <a:ext cx="392114" cy="163514"/>
          </a:xfrm>
          <a:custGeom>
            <a:avLst/>
            <a:gdLst/>
            <a:ahLst/>
            <a:cxnLst/>
            <a:rect l="0" t="0" r="0" b="0"/>
            <a:pathLst>
              <a:path w="392114" h="163514">
                <a:moveTo>
                  <a:pt x="0" y="106363"/>
                </a:moveTo>
                <a:lnTo>
                  <a:pt x="392113" y="0"/>
                </a:lnTo>
                <a:lnTo>
                  <a:pt x="392113" y="57150"/>
                </a:lnTo>
                <a:lnTo>
                  <a:pt x="0" y="163513"/>
                </a:lnTo>
                <a:close/>
              </a:path>
            </a:pathLst>
          </a:custGeom>
          <a:ln w="42500" cap="flat" cmpd="sng" algn="ctr">
            <a:noFill/>
            <a:prstDash val="solid"/>
            <a:round/>
            <a:headEnd type="none" w="med" len="med"/>
            <a:tailEnd type="none" w="med" len="med"/>
          </a:ln>
          <a:effectLst/>
          <a:extLst>
            <a:ext uri="{91240B29-F687-4F45-9708-019B960494DF}">
              <a14:hiddenLine xmlns:a14="http://schemas.microsoft.com/office/drawing/2010/main" w="425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useBgFill="1">
        <p:nvSpPr>
          <p:cNvPr id="303" name="Freeform: Shape 302">
            <a:extLst>
              <a:ext uri="{FF2B5EF4-FFF2-40B4-BE49-F238E27FC236}">
                <a16:creationId xmlns:a16="http://schemas.microsoft.com/office/drawing/2014/main" id="{50C5B423-87F0-CCB8-831B-23B35887A0A2}"/>
              </a:ext>
            </a:extLst>
          </p:cNvPr>
          <p:cNvSpPr/>
          <p:nvPr>
            <p:custDataLst>
              <p:tags r:id="rId15"/>
            </p:custDataLst>
          </p:nvPr>
        </p:nvSpPr>
        <p:spPr bwMode="auto">
          <a:xfrm>
            <a:off x="10737850" y="3797300"/>
            <a:ext cx="392114" cy="163514"/>
          </a:xfrm>
          <a:custGeom>
            <a:avLst/>
            <a:gdLst/>
            <a:ahLst/>
            <a:cxnLst/>
            <a:rect l="0" t="0" r="0" b="0"/>
            <a:pathLst>
              <a:path w="392114" h="163514">
                <a:moveTo>
                  <a:pt x="0" y="106363"/>
                </a:moveTo>
                <a:lnTo>
                  <a:pt x="392113" y="0"/>
                </a:lnTo>
                <a:lnTo>
                  <a:pt x="392113" y="57150"/>
                </a:lnTo>
                <a:lnTo>
                  <a:pt x="0" y="163513"/>
                </a:lnTo>
                <a:close/>
              </a:path>
            </a:pathLst>
          </a:custGeom>
          <a:ln w="42500" cap="flat" cmpd="sng" algn="ctr">
            <a:noFill/>
            <a:prstDash val="solid"/>
            <a:round/>
            <a:headEnd type="none" w="med" len="med"/>
            <a:tailEnd type="none" w="med" len="med"/>
          </a:ln>
          <a:effectLst/>
          <a:extLst>
            <a:ext uri="{91240B29-F687-4F45-9708-019B960494DF}">
              <a14:hiddenLine xmlns:a14="http://schemas.microsoft.com/office/drawing/2010/main" w="42500" cap="flat" cmpd="sng" algn="ctr">
                <a:solidFill>
                  <a:schemeClr val="accent1">
                    <a:shade val="15000"/>
                  </a:schemeClr>
                </a:solidFill>
                <a:prstDash val="solid"/>
                <a:round/>
                <a:headEnd type="none" w="med" len="med"/>
                <a:tailEnd type="none" w="med" len="med"/>
              </a14:hiddenLine>
            </a:ext>
          </a:ex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98" name="Freeform: Shape 297">
            <a:extLst>
              <a:ext uri="{FF2B5EF4-FFF2-40B4-BE49-F238E27FC236}">
                <a16:creationId xmlns:a16="http://schemas.microsoft.com/office/drawing/2014/main" id="{F9FAFF4F-5D2C-4174-8FC0-67D9C41FF7E0}"/>
              </a:ext>
            </a:extLst>
          </p:cNvPr>
          <p:cNvSpPr/>
          <p:nvPr>
            <p:custDataLst>
              <p:tags r:id="rId16"/>
            </p:custDataLst>
          </p:nvPr>
        </p:nvSpPr>
        <p:spPr bwMode="auto">
          <a:xfrm>
            <a:off x="7261225" y="3797300"/>
            <a:ext cx="392114" cy="106364"/>
          </a:xfrm>
          <a:custGeom>
            <a:avLst/>
            <a:gdLst/>
            <a:ahLst/>
            <a:cxnLst/>
            <a:rect l="0" t="0" r="0" b="0"/>
            <a:pathLst>
              <a:path w="392114" h="106364">
                <a:moveTo>
                  <a:pt x="0" y="106363"/>
                </a:moveTo>
                <a:lnTo>
                  <a:pt x="392113"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299" name="Freeform: Shape 298">
            <a:extLst>
              <a:ext uri="{FF2B5EF4-FFF2-40B4-BE49-F238E27FC236}">
                <a16:creationId xmlns:a16="http://schemas.microsoft.com/office/drawing/2014/main" id="{73C48512-7E2B-EAD0-C137-F20341F31F99}"/>
              </a:ext>
            </a:extLst>
          </p:cNvPr>
          <p:cNvSpPr/>
          <p:nvPr>
            <p:custDataLst>
              <p:tags r:id="rId17"/>
            </p:custDataLst>
          </p:nvPr>
        </p:nvSpPr>
        <p:spPr bwMode="auto">
          <a:xfrm>
            <a:off x="7261225" y="3854450"/>
            <a:ext cx="392114" cy="106364"/>
          </a:xfrm>
          <a:custGeom>
            <a:avLst/>
            <a:gdLst/>
            <a:ahLst/>
            <a:cxnLst/>
            <a:rect l="0" t="0" r="0" b="0"/>
            <a:pathLst>
              <a:path w="392114" h="106364">
                <a:moveTo>
                  <a:pt x="0" y="106363"/>
                </a:moveTo>
                <a:lnTo>
                  <a:pt x="392113"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1" name="Freeform: Shape 300">
            <a:extLst>
              <a:ext uri="{FF2B5EF4-FFF2-40B4-BE49-F238E27FC236}">
                <a16:creationId xmlns:a16="http://schemas.microsoft.com/office/drawing/2014/main" id="{7EA15810-6DDA-6DFD-EF75-47C2598D66D0}"/>
              </a:ext>
            </a:extLst>
          </p:cNvPr>
          <p:cNvSpPr/>
          <p:nvPr>
            <p:custDataLst>
              <p:tags r:id="rId18"/>
            </p:custDataLst>
          </p:nvPr>
        </p:nvSpPr>
        <p:spPr bwMode="auto">
          <a:xfrm>
            <a:off x="10737850" y="3797300"/>
            <a:ext cx="392114" cy="106364"/>
          </a:xfrm>
          <a:custGeom>
            <a:avLst/>
            <a:gdLst/>
            <a:ahLst/>
            <a:cxnLst/>
            <a:rect l="0" t="0" r="0" b="0"/>
            <a:pathLst>
              <a:path w="392114" h="106364">
                <a:moveTo>
                  <a:pt x="0" y="106363"/>
                </a:moveTo>
                <a:lnTo>
                  <a:pt x="392113"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302" name="Freeform: Shape 301">
            <a:extLst>
              <a:ext uri="{FF2B5EF4-FFF2-40B4-BE49-F238E27FC236}">
                <a16:creationId xmlns:a16="http://schemas.microsoft.com/office/drawing/2014/main" id="{9CF74FC9-C440-4B8F-3824-DC7FEDDF0800}"/>
              </a:ext>
            </a:extLst>
          </p:cNvPr>
          <p:cNvSpPr/>
          <p:nvPr>
            <p:custDataLst>
              <p:tags r:id="rId19"/>
            </p:custDataLst>
          </p:nvPr>
        </p:nvSpPr>
        <p:spPr bwMode="auto">
          <a:xfrm>
            <a:off x="10737850" y="3854450"/>
            <a:ext cx="392114" cy="106364"/>
          </a:xfrm>
          <a:custGeom>
            <a:avLst/>
            <a:gdLst/>
            <a:ahLst/>
            <a:cxnLst/>
            <a:rect l="0" t="0" r="0" b="0"/>
            <a:pathLst>
              <a:path w="392114" h="106364">
                <a:moveTo>
                  <a:pt x="0" y="106363"/>
                </a:moveTo>
                <a:lnTo>
                  <a:pt x="392113" y="0"/>
                </a:lnTo>
              </a:path>
            </a:pathLst>
          </a:custGeom>
          <a:ln w="9525" cap="flat" cmpd="sng" algn="ctr">
            <a:solidFill>
              <a:schemeClr val="tx1"/>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cxnSp>
        <p:nvCxnSpPr>
          <p:cNvPr id="14" name="Straight Connector 13">
            <a:extLst>
              <a:ext uri="{FF2B5EF4-FFF2-40B4-BE49-F238E27FC236}">
                <a16:creationId xmlns:a16="http://schemas.microsoft.com/office/drawing/2014/main" id="{63C7C329-6093-B6FC-1444-6E0703594817}"/>
              </a:ext>
            </a:extLst>
          </p:cNvPr>
          <p:cNvCxnSpPr/>
          <p:nvPr>
            <p:custDataLst>
              <p:tags r:id="rId20"/>
            </p:custDataLst>
          </p:nvPr>
        </p:nvCxnSpPr>
        <p:spPr bwMode="auto">
          <a:xfrm flipV="1">
            <a:off x="7456488" y="1668463"/>
            <a:ext cx="0" cy="65722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524633D8-A8DB-7E0A-3A0A-EAA9008179C0}"/>
              </a:ext>
            </a:extLst>
          </p:cNvPr>
          <p:cNvCxnSpPr/>
          <p:nvPr>
            <p:custDataLst>
              <p:tags r:id="rId21"/>
            </p:custDataLst>
          </p:nvPr>
        </p:nvCxnSpPr>
        <p:spPr bwMode="auto">
          <a:xfrm>
            <a:off x="7456488" y="1668463"/>
            <a:ext cx="3476625"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60224384-4901-100B-C8C0-E528BF1A329C}"/>
              </a:ext>
            </a:extLst>
          </p:cNvPr>
          <p:cNvCxnSpPr/>
          <p:nvPr>
            <p:custDataLst>
              <p:tags r:id="rId22"/>
            </p:custDataLst>
          </p:nvPr>
        </p:nvCxnSpPr>
        <p:spPr bwMode="auto">
          <a:xfrm>
            <a:off x="10933113" y="1668463"/>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67" name="Rectangle 266">
            <a:extLst>
              <a:ext uri="{FF2B5EF4-FFF2-40B4-BE49-F238E27FC236}">
                <a16:creationId xmlns:a16="http://schemas.microsoft.com/office/drawing/2014/main" id="{D81D2201-ED65-D532-1A0D-6E5271D09901}"/>
              </a:ext>
            </a:extLst>
          </p:cNvPr>
          <p:cNvSpPr/>
          <p:nvPr>
            <p:custDataLst>
              <p:tags r:id="rId23"/>
            </p:custDataLst>
          </p:nvPr>
        </p:nvSpPr>
        <p:spPr bwMode="auto">
          <a:xfrm>
            <a:off x="7224713" y="4022725"/>
            <a:ext cx="463550" cy="136525"/>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defRPr/>
            </a:pPr>
            <a:fld id="{279554C9-D667-45F9-B4FE-61CA748F5469}" type="datetime'''''''''''''''''9''''M'''' ''''2''''''0''''''2''2'''">
              <a:rPr lang="en-US" altLang="en-US" sz="900" smtClean="0">
                <a:solidFill>
                  <a:srgbClr val="474647"/>
                </a:solidFill>
              </a:rPr>
              <a:pPr/>
              <a:t>9M 2022</a:t>
            </a:fld>
            <a:endParaRPr lang="en-US" sz="900" strike="noStrike" normalizeH="0" noProof="0" dirty="0">
              <a:ln>
                <a:noFill/>
              </a:ln>
              <a:solidFill>
                <a:srgbClr val="474647"/>
              </a:solidFill>
              <a:effectLst/>
              <a:uLnTx/>
              <a:uFillTx/>
            </a:endParaRPr>
          </a:p>
        </p:txBody>
      </p:sp>
      <p:sp>
        <p:nvSpPr>
          <p:cNvPr id="37" name="Rectangle 36">
            <a:extLst>
              <a:ext uri="{FF2B5EF4-FFF2-40B4-BE49-F238E27FC236}">
                <a16:creationId xmlns:a16="http://schemas.microsoft.com/office/drawing/2014/main" id="{0C15FFDD-3CE6-D05D-0E6D-9922D9D0CC5A}"/>
              </a:ext>
            </a:extLst>
          </p:cNvPr>
          <p:cNvSpPr/>
          <p:nvPr>
            <p:custDataLst>
              <p:tags r:id="rId24"/>
            </p:custDataLst>
          </p:nvPr>
        </p:nvSpPr>
        <p:spPr bwMode="auto">
          <a:xfrm>
            <a:off x="7920038" y="4022725"/>
            <a:ext cx="231775" cy="136525"/>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defRPr/>
            </a:pPr>
            <a:fld id="{2F427D12-AC2D-4C28-AC02-774C32EAE21F}" type="datetime'''''''''''''''''''O''''''CF'">
              <a:rPr lang="en-US" altLang="en-US" sz="900" smtClean="0">
                <a:solidFill>
                  <a:srgbClr val="474647"/>
                </a:solidFill>
              </a:rPr>
              <a:pPr/>
              <a:t>OCF</a:t>
            </a:fld>
            <a:endParaRPr lang="en-US" sz="900" strike="noStrike" normalizeH="0" noProof="0" dirty="0">
              <a:ln>
                <a:noFill/>
              </a:ln>
              <a:solidFill>
                <a:srgbClr val="474647"/>
              </a:solidFill>
              <a:effectLst/>
              <a:uLnTx/>
              <a:uFillTx/>
            </a:endParaRPr>
          </a:p>
        </p:txBody>
      </p:sp>
      <p:sp>
        <p:nvSpPr>
          <p:cNvPr id="270" name="Rectangle 269">
            <a:extLst>
              <a:ext uri="{FF2B5EF4-FFF2-40B4-BE49-F238E27FC236}">
                <a16:creationId xmlns:a16="http://schemas.microsoft.com/office/drawing/2014/main" id="{628691BF-3A7D-A75A-8F03-2A27CF6C26C9}"/>
              </a:ext>
            </a:extLst>
          </p:cNvPr>
          <p:cNvSpPr/>
          <p:nvPr>
            <p:custDataLst>
              <p:tags r:id="rId25"/>
            </p:custDataLst>
          </p:nvPr>
        </p:nvSpPr>
        <p:spPr bwMode="auto">
          <a:xfrm>
            <a:off x="8397875" y="4022725"/>
            <a:ext cx="436563" cy="27305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spcCol="0" rtlCol="0" anchor="t" anchorCtr="0">
            <a:noAutofit/>
          </a:bodyPr>
          <a:lstStyle/>
          <a:p>
            <a:pPr lvl="0" algn="ctr">
              <a:spcBef>
                <a:spcPct val="0"/>
              </a:spcBef>
              <a:spcAft>
                <a:spcPct val="0"/>
              </a:spcAft>
              <a:defRPr/>
            </a:pPr>
            <a:fld id="{3E825094-D9FE-43C7-BE4F-524906C8461B}" type="datetime'C''''''ap''e''x ''''+'' I''''''''''''nv''''es''''t''''''''.'''">
              <a:rPr lang="en-US" altLang="en-US" sz="900" smtClean="0">
                <a:solidFill>
                  <a:srgbClr val="474647"/>
                </a:solidFill>
              </a:rPr>
              <a:pPr/>
              <a:t>Capex + Invest.</a:t>
            </a:fld>
            <a:endParaRPr lang="en-US" sz="900" strike="noStrike" normalizeH="0" noProof="0">
              <a:ln>
                <a:noFill/>
              </a:ln>
              <a:solidFill>
                <a:srgbClr val="474647"/>
              </a:solidFill>
              <a:effectLst/>
              <a:uLnTx/>
              <a:uFillTx/>
            </a:endParaRPr>
          </a:p>
        </p:txBody>
      </p:sp>
      <p:sp>
        <p:nvSpPr>
          <p:cNvPr id="272" name="Rectangle 271">
            <a:extLst>
              <a:ext uri="{FF2B5EF4-FFF2-40B4-BE49-F238E27FC236}">
                <a16:creationId xmlns:a16="http://schemas.microsoft.com/office/drawing/2014/main" id="{8DF004F0-4644-234E-16C4-D18F2DEC27EA}"/>
              </a:ext>
            </a:extLst>
          </p:cNvPr>
          <p:cNvSpPr/>
          <p:nvPr>
            <p:custDataLst>
              <p:tags r:id="rId26"/>
            </p:custDataLst>
          </p:nvPr>
        </p:nvSpPr>
        <p:spPr bwMode="auto">
          <a:xfrm>
            <a:off x="8907463" y="4022725"/>
            <a:ext cx="576263" cy="136525"/>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defRPr/>
            </a:pPr>
            <a:fld id="{33149E70-5F49-402E-9F94-69213444D047}" type="datetime'''D''''''''''''i''''v''''i''''de''nd''''''''''s'''''''' '''">
              <a:rPr lang="en-US" altLang="en-US" sz="900" smtClean="0">
                <a:solidFill>
                  <a:srgbClr val="474647"/>
                </a:solidFill>
              </a:rPr>
              <a:pPr/>
              <a:t>Dividends </a:t>
            </a:fld>
            <a:endParaRPr lang="en-US" sz="900" strike="noStrike" normalizeH="0" noProof="0">
              <a:ln>
                <a:noFill/>
              </a:ln>
              <a:solidFill>
                <a:srgbClr val="474647"/>
              </a:solidFill>
              <a:effectLst/>
              <a:uLnTx/>
              <a:uFillTx/>
            </a:endParaRPr>
          </a:p>
        </p:txBody>
      </p:sp>
      <p:sp>
        <p:nvSpPr>
          <p:cNvPr id="275" name="Rectangle 274">
            <a:extLst>
              <a:ext uri="{FF2B5EF4-FFF2-40B4-BE49-F238E27FC236}">
                <a16:creationId xmlns:a16="http://schemas.microsoft.com/office/drawing/2014/main" id="{FF54203A-D497-F5D2-223C-1E0A7BE6CD32}"/>
              </a:ext>
            </a:extLst>
          </p:cNvPr>
          <p:cNvSpPr/>
          <p:nvPr>
            <p:custDataLst>
              <p:tags r:id="rId27"/>
            </p:custDataLst>
          </p:nvPr>
        </p:nvSpPr>
        <p:spPr bwMode="auto">
          <a:xfrm>
            <a:off x="10709275" y="4022725"/>
            <a:ext cx="449263" cy="136525"/>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defRPr/>
            </a:pPr>
            <a:fld id="{A95CAB60-D419-4E0D-95AA-EC2EE333B667}" type="datetime'''''Q''''''''''''''''''''2'' ''''2''''''''''0''2''''3'">
              <a:rPr lang="en-US" altLang="en-US" sz="900" smtClean="0">
                <a:solidFill>
                  <a:srgbClr val="474647"/>
                </a:solidFill>
              </a:rPr>
              <a:pPr/>
              <a:t>Q2 2023</a:t>
            </a:fld>
            <a:endParaRPr lang="en-US" sz="900" strike="noStrike" normalizeH="0" noProof="0">
              <a:ln>
                <a:noFill/>
              </a:ln>
              <a:solidFill>
                <a:srgbClr val="474647"/>
              </a:solidFill>
              <a:effectLst/>
              <a:uLnTx/>
              <a:uFillTx/>
            </a:endParaRPr>
          </a:p>
        </p:txBody>
      </p:sp>
      <p:sp>
        <p:nvSpPr>
          <p:cNvPr id="41" name="Rectangle 40">
            <a:extLst>
              <a:ext uri="{FF2B5EF4-FFF2-40B4-BE49-F238E27FC236}">
                <a16:creationId xmlns:a16="http://schemas.microsoft.com/office/drawing/2014/main" id="{9B9EA7A3-AA5B-4FC4-6AFC-D2FBC782D331}"/>
              </a:ext>
            </a:extLst>
          </p:cNvPr>
          <p:cNvSpPr/>
          <p:nvPr>
            <p:custDataLst>
              <p:tags r:id="rId28"/>
            </p:custDataLst>
          </p:nvPr>
        </p:nvSpPr>
        <p:spPr bwMode="gray">
          <a:xfrm>
            <a:off x="7345363" y="2363788"/>
            <a:ext cx="222250" cy="123825"/>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5875" tIns="0" rIns="15875" bIns="0" rtlCol="0" anchor="b"/>
          <a:lstStyle/>
          <a:p>
            <a:pPr algn="ctr">
              <a:lnSpc>
                <a:spcPct val="90000"/>
              </a:lnSpc>
              <a:spcBef>
                <a:spcPct val="0"/>
              </a:spcBef>
              <a:spcAft>
                <a:spcPct val="0"/>
              </a:spcAft>
            </a:pPr>
            <a:fld id="{38F7BE87-D2A8-4AF3-99AB-E381601EC618}" type="datetime'7''''''''''''''''''9''''''''''''''''''''''''''5'">
              <a:rPr lang="en-US" altLang="en-US" sz="900" smtClean="0">
                <a:solidFill>
                  <a:schemeClr val="tx1"/>
                </a:solidFill>
              </a:rPr>
              <a:pPr/>
              <a:t>795</a:t>
            </a:fld>
            <a:endParaRPr lang="en-US" sz="900">
              <a:solidFill>
                <a:schemeClr val="tx1"/>
              </a:solidFill>
            </a:endParaRPr>
          </a:p>
        </p:txBody>
      </p:sp>
      <p:sp>
        <p:nvSpPr>
          <p:cNvPr id="277" name="Rectangle 276">
            <a:extLst>
              <a:ext uri="{FF2B5EF4-FFF2-40B4-BE49-F238E27FC236}">
                <a16:creationId xmlns:a16="http://schemas.microsoft.com/office/drawing/2014/main" id="{23B5EC13-7660-D1AA-E2AE-CE5833031546}"/>
              </a:ext>
            </a:extLst>
          </p:cNvPr>
          <p:cNvSpPr/>
          <p:nvPr>
            <p:custDataLst>
              <p:tags r:id="rId29"/>
            </p:custDataLst>
          </p:nvPr>
        </p:nvSpPr>
        <p:spPr bwMode="gray">
          <a:xfrm>
            <a:off x="10821988" y="1858963"/>
            <a:ext cx="222250" cy="123825"/>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5875" tIns="0" rIns="15875" bIns="0" numCol="1" spcCol="0" rtlCol="0" anchor="b" anchorCtr="0">
            <a:noAutofit/>
          </a:bodyPr>
          <a:lstStyle/>
          <a:p>
            <a:pPr algn="ctr">
              <a:lnSpc>
                <a:spcPct val="90000"/>
              </a:lnSpc>
              <a:spcBef>
                <a:spcPct val="0"/>
              </a:spcBef>
              <a:spcAft>
                <a:spcPct val="0"/>
              </a:spcAft>
            </a:pPr>
            <a:fld id="{43ECAF97-7081-47C7-9DAE-75AE18C21D7B}" type="datetime'''''''''''''''8''''''''7''''''''''''''4'''''''''''''''''">
              <a:rPr lang="en-US" altLang="en-US" sz="900" smtClean="0">
                <a:solidFill>
                  <a:schemeClr val="tx1"/>
                </a:solidFill>
              </a:rPr>
              <a:pPr/>
              <a:t>874</a:t>
            </a:fld>
            <a:endParaRPr lang="en-US" sz="900" dirty="0">
              <a:solidFill>
                <a:schemeClr val="tx1"/>
              </a:solidFill>
            </a:endParaRPr>
          </a:p>
        </p:txBody>
      </p:sp>
      <p:sp>
        <p:nvSpPr>
          <p:cNvPr id="111" name="Rectangle 110">
            <a:extLst>
              <a:ext uri="{FF2B5EF4-FFF2-40B4-BE49-F238E27FC236}">
                <a16:creationId xmlns:a16="http://schemas.microsoft.com/office/drawing/2014/main" id="{2DDDADC3-3DAA-9DD1-6CFF-40986842D389}"/>
              </a:ext>
            </a:extLst>
          </p:cNvPr>
          <p:cNvSpPr/>
          <p:nvPr>
            <p:custDataLst>
              <p:tags r:id="rId30"/>
            </p:custDataLst>
          </p:nvPr>
        </p:nvSpPr>
        <p:spPr bwMode="auto">
          <a:xfrm>
            <a:off x="9502775" y="4022725"/>
            <a:ext cx="542925" cy="409575"/>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square" lIns="0" tIns="0" rIns="0" bIns="0" numCol="1" spcCol="0" rtlCol="0" anchor="t" anchorCtr="0">
            <a:noAutofit/>
          </a:bodyPr>
          <a:lstStyle/>
          <a:p>
            <a:pPr lvl="0" algn="ctr">
              <a:spcBef>
                <a:spcPct val="0"/>
              </a:spcBef>
              <a:spcAft>
                <a:spcPct val="0"/>
              </a:spcAft>
              <a:defRPr/>
            </a:pPr>
            <a:fld id="{9467B172-1A75-4E68-8C66-5251FA558144}" type="datetime'Int''''e''r''est'' and ''le''''ase'' p''''a''''ym''e''nts'">
              <a:rPr lang="en-US" altLang="en-US" sz="900" smtClean="0">
                <a:solidFill>
                  <a:srgbClr val="474647"/>
                </a:solidFill>
              </a:rPr>
              <a:pPr/>
              <a:t>Interest and lease payments</a:t>
            </a:fld>
            <a:endParaRPr lang="en-US" sz="900" strike="noStrike" normalizeH="0" noProof="0">
              <a:ln>
                <a:noFill/>
              </a:ln>
              <a:solidFill>
                <a:srgbClr val="474647"/>
              </a:solidFill>
              <a:effectLst/>
              <a:uLnTx/>
              <a:uFillTx/>
            </a:endParaRPr>
          </a:p>
        </p:txBody>
      </p:sp>
      <p:sp>
        <p:nvSpPr>
          <p:cNvPr id="265" name="Rectangle 264">
            <a:extLst>
              <a:ext uri="{FF2B5EF4-FFF2-40B4-BE49-F238E27FC236}">
                <a16:creationId xmlns:a16="http://schemas.microsoft.com/office/drawing/2014/main" id="{3F594BF8-3190-506F-7E90-F6F392020280}"/>
              </a:ext>
            </a:extLst>
          </p:cNvPr>
          <p:cNvSpPr/>
          <p:nvPr>
            <p:custDataLst>
              <p:tags r:id="rId31"/>
            </p:custDataLst>
          </p:nvPr>
        </p:nvSpPr>
        <p:spPr bwMode="auto">
          <a:xfrm>
            <a:off x="10163175" y="4022725"/>
            <a:ext cx="381000" cy="136525"/>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lvl="0" algn="ctr">
              <a:spcBef>
                <a:spcPct val="0"/>
              </a:spcBef>
              <a:spcAft>
                <a:spcPct val="0"/>
              </a:spcAft>
              <a:defRPr/>
            </a:pPr>
            <a:fld id="{E79017B2-C596-43FA-A6BF-27336D5A616A}" type="datetime'''''''''O''t''''''''''''he''''r''''''''''''''''''s'''''''''''">
              <a:rPr lang="en-US" altLang="en-US" sz="900" smtClean="0">
                <a:solidFill>
                  <a:srgbClr val="474647"/>
                </a:solidFill>
              </a:rPr>
              <a:pPr/>
              <a:t>Others</a:t>
            </a:fld>
            <a:endParaRPr lang="en-US" sz="900" strike="noStrike" normalizeH="0" noProof="0">
              <a:ln>
                <a:noFill/>
              </a:ln>
              <a:solidFill>
                <a:srgbClr val="474647"/>
              </a:solidFill>
              <a:effectLst/>
              <a:uLnTx/>
              <a:uFillTx/>
            </a:endParaRPr>
          </a:p>
        </p:txBody>
      </p:sp>
      <p:sp>
        <p:nvSpPr>
          <p:cNvPr id="281" name="Rectangle 280">
            <a:extLst>
              <a:ext uri="{FF2B5EF4-FFF2-40B4-BE49-F238E27FC236}">
                <a16:creationId xmlns:a16="http://schemas.microsoft.com/office/drawing/2014/main" id="{680D6F4E-BFAD-481C-3833-987F973964BA}"/>
              </a:ext>
            </a:extLst>
          </p:cNvPr>
          <p:cNvSpPr/>
          <p:nvPr>
            <p:custDataLst>
              <p:tags r:id="rId32"/>
            </p:custDataLst>
          </p:nvPr>
        </p:nvSpPr>
        <p:spPr bwMode="gray">
          <a:xfrm>
            <a:off x="10274300" y="1909763"/>
            <a:ext cx="158750" cy="123825"/>
          </a:xfrm>
          <a:prstGeom prst="rect">
            <a:avLst/>
          </a:prstGeom>
          <a:solidFill>
            <a:schemeClr val="accent1"/>
          </a:solidFill>
          <a:ln w="42500" cap="flat" cmpd="sng" algn="ctr">
            <a:no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vert="horz" wrap="none" lIns="15875" tIns="0" rIns="15875" bIns="0" rtlCol="0" anchor="ctr"/>
          <a:lstStyle/>
          <a:p>
            <a:pPr algn="ctr">
              <a:lnSpc>
                <a:spcPct val="90000"/>
              </a:lnSpc>
              <a:spcBef>
                <a:spcPct val="0"/>
              </a:spcBef>
              <a:spcAft>
                <a:spcPct val="0"/>
              </a:spcAft>
            </a:pPr>
            <a:fld id="{F66324FA-0E81-4EE0-8D79-1ABD6042D1B9}" type="datetime'''''''''''''''''1''''''''''''''''1'''''''''">
              <a:rPr lang="en-US" altLang="en-US" sz="900" smtClean="0">
                <a:solidFill>
                  <a:srgbClr val="FFFFFF"/>
                </a:solidFill>
                <a:effectLst/>
              </a:rPr>
              <a:pPr algn="ctr">
                <a:lnSpc>
                  <a:spcPct val="90000"/>
                </a:lnSpc>
                <a:spcBef>
                  <a:spcPct val="0"/>
                </a:spcBef>
                <a:spcAft>
                  <a:spcPct val="0"/>
                </a:spcAft>
              </a:pPr>
              <a:t>11</a:t>
            </a:fld>
            <a:endParaRPr lang="en-US" sz="900">
              <a:solidFill>
                <a:srgbClr val="FFFFFF"/>
              </a:solidFill>
            </a:endParaRPr>
          </a:p>
        </p:txBody>
      </p:sp>
      <p:sp>
        <p:nvSpPr>
          <p:cNvPr id="12" name="Oval 11">
            <a:extLst>
              <a:ext uri="{FF2B5EF4-FFF2-40B4-BE49-F238E27FC236}">
                <a16:creationId xmlns:a16="http://schemas.microsoft.com/office/drawing/2014/main" id="{C979F8C7-B407-1BAE-6831-E2C8AF2C577D}"/>
              </a:ext>
            </a:extLst>
          </p:cNvPr>
          <p:cNvSpPr/>
          <p:nvPr>
            <p:custDataLst>
              <p:tags r:id="rId33"/>
            </p:custDataLst>
          </p:nvPr>
        </p:nvSpPr>
        <p:spPr bwMode="auto">
          <a:xfrm>
            <a:off x="9058275" y="1571625"/>
            <a:ext cx="273050" cy="193675"/>
          </a:xfrm>
          <a:prstGeom prst="ellipse">
            <a:avLst/>
          </a:prstGeom>
          <a:solidFill>
            <a:schemeClr val="bg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pPr>
            <a:fld id="{F48BAD67-90D0-40E9-ABF8-3F6199A36E39}" type="datetime'''''''''+''''''''''''''''7''''''''''9'''''''''''''''">
              <a:rPr lang="en-US" altLang="en-US" sz="900" b="1" smtClean="0">
                <a:solidFill>
                  <a:schemeClr val="tx1"/>
                </a:solidFill>
                <a:effectLst/>
              </a:rPr>
              <a:pPr/>
              <a:t>+79</a:t>
            </a:fld>
            <a:endParaRPr lang="en-US" sz="900" b="1" dirty="0">
              <a:solidFill>
                <a:schemeClr val="tx1"/>
              </a:solidFill>
            </a:endParaRPr>
          </a:p>
        </p:txBody>
      </p:sp>
      <p:graphicFrame>
        <p:nvGraphicFramePr>
          <p:cNvPr id="91" name="object 2">
            <a:extLst>
              <a:ext uri="{FF2B5EF4-FFF2-40B4-BE49-F238E27FC236}">
                <a16:creationId xmlns:a16="http://schemas.microsoft.com/office/drawing/2014/main" id="{8FD02A79-911E-CE30-5718-3F6D5AA8F486}"/>
              </a:ext>
            </a:extLst>
          </p:cNvPr>
          <p:cNvGraphicFramePr>
            <a:graphicFrameLocks noGrp="1"/>
          </p:cNvGraphicFramePr>
          <p:nvPr>
            <p:extLst>
              <p:ext uri="{D42A27DB-BD31-4B8C-83A1-F6EECF244321}">
                <p14:modId xmlns:p14="http://schemas.microsoft.com/office/powerpoint/2010/main" val="3123306514"/>
              </p:ext>
            </p:extLst>
          </p:nvPr>
        </p:nvGraphicFramePr>
        <p:xfrm>
          <a:off x="4686628" y="2782730"/>
          <a:ext cx="800100" cy="209550"/>
        </p:xfrm>
        <a:graphic>
          <a:graphicData uri="http://schemas.openxmlformats.org/drawingml/2006/table">
            <a:tbl>
              <a:tblPr firstRow="1" bandRow="1">
                <a:tableStyleId>{2D5ABB26-0587-4C30-8999-92F81FD0307C}</a:tableStyleId>
              </a:tblPr>
              <a:tblGrid>
                <a:gridCol w="800100">
                  <a:extLst>
                    <a:ext uri="{9D8B030D-6E8A-4147-A177-3AD203B41FA5}">
                      <a16:colId xmlns:a16="http://schemas.microsoft.com/office/drawing/2014/main" val="20000"/>
                    </a:ext>
                  </a:extLst>
                </a:gridCol>
              </a:tblGrid>
              <a:tr h="209550">
                <a:tc>
                  <a:txBody>
                    <a:bodyPr/>
                    <a:lstStyle/>
                    <a:p>
                      <a:pPr marL="255270" algn="l">
                        <a:lnSpc>
                          <a:spcPct val="100000"/>
                        </a:lnSpc>
                        <a:spcBef>
                          <a:spcPts val="325"/>
                        </a:spcBef>
                      </a:pPr>
                      <a:r>
                        <a:rPr lang="en-US" sz="1100" b="1" dirty="0">
                          <a:solidFill>
                            <a:schemeClr val="tx1"/>
                          </a:solidFill>
                          <a:latin typeface="Noto Sans"/>
                          <a:cs typeface="Noto Sans"/>
                        </a:rPr>
                        <a:t>KD</a:t>
                      </a:r>
                      <a:endParaRPr sz="1100" dirty="0">
                        <a:solidFill>
                          <a:schemeClr val="tx1"/>
                        </a:solidFill>
                        <a:latin typeface="Noto Sans"/>
                        <a:cs typeface="Noto Sans"/>
                      </a:endParaRPr>
                    </a:p>
                  </a:txBody>
                  <a:tcPr marL="0" marR="0" marT="41275" marB="0">
                    <a:lnL w="28575" cap="flat" cmpd="sng" algn="ctr">
                      <a:solidFill>
                        <a:srgbClr val="FFFFFF"/>
                      </a:solidFill>
                      <a:prstDash val="solid"/>
                      <a:round/>
                      <a:headEnd type="none" w="med" len="med"/>
                      <a:tailEnd type="none" w="med" len="med"/>
                    </a:lnL>
                    <a:lnR w="28575">
                      <a:solidFill>
                        <a:srgbClr val="FFFFFF"/>
                      </a:solidFill>
                      <a:prstDash val="solid"/>
                    </a:lnR>
                    <a:noFill/>
                  </a:tcPr>
                </a:tc>
                <a:extLst>
                  <a:ext uri="{0D108BD9-81ED-4DB2-BD59-A6C34878D82A}">
                    <a16:rowId xmlns:a16="http://schemas.microsoft.com/office/drawing/2014/main" val="10000"/>
                  </a:ext>
                </a:extLst>
              </a:tr>
            </a:tbl>
          </a:graphicData>
        </a:graphic>
      </p:graphicFrame>
      <p:graphicFrame>
        <p:nvGraphicFramePr>
          <p:cNvPr id="104" name="object 2">
            <a:extLst>
              <a:ext uri="{FF2B5EF4-FFF2-40B4-BE49-F238E27FC236}">
                <a16:creationId xmlns:a16="http://schemas.microsoft.com/office/drawing/2014/main" id="{126D1748-1C5F-DDAB-16CE-C87500BFCBD8}"/>
              </a:ext>
            </a:extLst>
          </p:cNvPr>
          <p:cNvGraphicFramePr>
            <a:graphicFrameLocks noGrp="1"/>
          </p:cNvGraphicFramePr>
          <p:nvPr>
            <p:extLst>
              <p:ext uri="{D42A27DB-BD31-4B8C-83A1-F6EECF244321}">
                <p14:modId xmlns:p14="http://schemas.microsoft.com/office/powerpoint/2010/main" val="3163731803"/>
              </p:ext>
            </p:extLst>
          </p:nvPr>
        </p:nvGraphicFramePr>
        <p:xfrm>
          <a:off x="2666284" y="2786774"/>
          <a:ext cx="800100" cy="209550"/>
        </p:xfrm>
        <a:graphic>
          <a:graphicData uri="http://schemas.openxmlformats.org/drawingml/2006/table">
            <a:tbl>
              <a:tblPr firstRow="1" bandRow="1">
                <a:tableStyleId>{2D5ABB26-0587-4C30-8999-92F81FD0307C}</a:tableStyleId>
              </a:tblPr>
              <a:tblGrid>
                <a:gridCol w="800100">
                  <a:extLst>
                    <a:ext uri="{9D8B030D-6E8A-4147-A177-3AD203B41FA5}">
                      <a16:colId xmlns:a16="http://schemas.microsoft.com/office/drawing/2014/main" val="20000"/>
                    </a:ext>
                  </a:extLst>
                </a:gridCol>
              </a:tblGrid>
              <a:tr h="209550">
                <a:tc>
                  <a:txBody>
                    <a:bodyPr/>
                    <a:lstStyle/>
                    <a:p>
                      <a:pPr marL="255270" algn="l">
                        <a:lnSpc>
                          <a:spcPct val="100000"/>
                        </a:lnSpc>
                        <a:spcBef>
                          <a:spcPts val="325"/>
                        </a:spcBef>
                      </a:pPr>
                      <a:r>
                        <a:rPr lang="en-US" sz="1100" b="1" dirty="0">
                          <a:solidFill>
                            <a:schemeClr val="tx1"/>
                          </a:solidFill>
                          <a:latin typeface="Noto Sans"/>
                          <a:cs typeface="Noto Sans"/>
                        </a:rPr>
                        <a:t>EURO</a:t>
                      </a:r>
                      <a:endParaRPr sz="1100" dirty="0">
                        <a:solidFill>
                          <a:schemeClr val="tx1"/>
                        </a:solidFill>
                        <a:latin typeface="Noto Sans"/>
                        <a:cs typeface="Noto Sans"/>
                      </a:endParaRPr>
                    </a:p>
                  </a:txBody>
                  <a:tcPr marL="0" marR="0" marT="41275" marB="0">
                    <a:lnL w="28575" cap="flat" cmpd="sng" algn="ctr">
                      <a:solidFill>
                        <a:srgbClr val="FFFFFF"/>
                      </a:solidFill>
                      <a:prstDash val="solid"/>
                      <a:round/>
                      <a:headEnd type="none" w="med" len="med"/>
                      <a:tailEnd type="none" w="med" len="med"/>
                    </a:lnL>
                    <a:lnR w="28575">
                      <a:solidFill>
                        <a:srgbClr val="FFFFFF"/>
                      </a:solidFill>
                      <a:prstDash val="solid"/>
                    </a:lnR>
                    <a:noFill/>
                  </a:tcPr>
                </a:tc>
                <a:extLst>
                  <a:ext uri="{0D108BD9-81ED-4DB2-BD59-A6C34878D82A}">
                    <a16:rowId xmlns:a16="http://schemas.microsoft.com/office/drawing/2014/main" val="10000"/>
                  </a:ext>
                </a:extLst>
              </a:tr>
            </a:tbl>
          </a:graphicData>
        </a:graphic>
      </p:graphicFrame>
      <p:sp>
        <p:nvSpPr>
          <p:cNvPr id="120" name="TextBox 119">
            <a:extLst>
              <a:ext uri="{FF2B5EF4-FFF2-40B4-BE49-F238E27FC236}">
                <a16:creationId xmlns:a16="http://schemas.microsoft.com/office/drawing/2014/main" id="{89047E01-3611-E3E5-6F1A-1EB58DFCEFC4}"/>
              </a:ext>
            </a:extLst>
          </p:cNvPr>
          <p:cNvSpPr txBox="1"/>
          <p:nvPr/>
        </p:nvSpPr>
        <p:spPr>
          <a:xfrm>
            <a:off x="3486357" y="4024754"/>
            <a:ext cx="708025" cy="261938"/>
          </a:xfrm>
          <a:prstGeom prst="rect">
            <a:avLst/>
          </a:prstGeom>
          <a:noFill/>
          <a:ln>
            <a:noFill/>
          </a:ln>
        </p:spPr>
        <p:txBody>
          <a:bodyPr wrap="square">
            <a:spAutoFit/>
          </a:bodyPr>
          <a:lstStyle/>
          <a:p>
            <a:r>
              <a:rPr lang="en-US" sz="1100" b="1" dirty="0"/>
              <a:t>2027</a:t>
            </a:r>
          </a:p>
        </p:txBody>
      </p:sp>
      <p:sp>
        <p:nvSpPr>
          <p:cNvPr id="121" name="TextBox 120">
            <a:extLst>
              <a:ext uri="{FF2B5EF4-FFF2-40B4-BE49-F238E27FC236}">
                <a16:creationId xmlns:a16="http://schemas.microsoft.com/office/drawing/2014/main" id="{9845B27C-61C9-27D5-74E2-7B4650C6786D}"/>
              </a:ext>
            </a:extLst>
          </p:cNvPr>
          <p:cNvSpPr txBox="1"/>
          <p:nvPr/>
        </p:nvSpPr>
        <p:spPr>
          <a:xfrm>
            <a:off x="1548225" y="4024754"/>
            <a:ext cx="708025" cy="261938"/>
          </a:xfrm>
          <a:prstGeom prst="rect">
            <a:avLst/>
          </a:prstGeom>
          <a:noFill/>
          <a:ln>
            <a:noFill/>
          </a:ln>
        </p:spPr>
        <p:txBody>
          <a:bodyPr wrap="square">
            <a:spAutoFit/>
          </a:bodyPr>
          <a:lstStyle/>
          <a:p>
            <a:r>
              <a:rPr lang="en-US" sz="1100" b="1" dirty="0">
                <a:solidFill>
                  <a:srgbClr val="474647"/>
                </a:solidFill>
              </a:rPr>
              <a:t>2026</a:t>
            </a:r>
            <a:endParaRPr lang="en-US" sz="1100" b="1" dirty="0"/>
          </a:p>
        </p:txBody>
      </p:sp>
    </p:spTree>
    <p:extLst>
      <p:ext uri="{BB962C8B-B14F-4D97-AF65-F5344CB8AC3E}">
        <p14:creationId xmlns:p14="http://schemas.microsoft.com/office/powerpoint/2010/main" val="36047802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13595482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2" imgW="592" imgH="661" progId="TCLayout.ActiveDocument.1">
                  <p:embed/>
                </p:oleObj>
              </mc:Choice>
              <mc:Fallback>
                <p:oleObj name="think-cell Slide" r:id="rId22" imgW="592" imgH="661" progId="TCLayout.ActiveDocument.1">
                  <p:embed/>
                  <p:pic>
                    <p:nvPicPr>
                      <p:cNvPr id="13" name="Object 12"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7AEB6B5-7416-4DBE-B396-1F0DDE59BD82}"/>
              </a:ext>
            </a:extLst>
          </p:cNvPr>
          <p:cNvSpPr/>
          <p:nvPr/>
        </p:nvSpPr>
        <p:spPr>
          <a:xfrm>
            <a:off x="7404410" y="2152185"/>
            <a:ext cx="4520890" cy="4248615"/>
          </a:xfrm>
          <a:prstGeom prst="rect">
            <a:avLst/>
          </a:prstGeom>
          <a:noFill/>
          <a:ln w="3175">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900" b="0" i="0" u="none" strike="noStrike" kern="1200" cap="none" spc="0" normalizeH="0" baseline="0" noProof="0" dirty="0">
              <a:ln>
                <a:noFill/>
              </a:ln>
              <a:solidFill>
                <a:srgbClr val="FFFFFF"/>
              </a:solidFill>
              <a:effectLst/>
              <a:uLnTx/>
              <a:uFillTx/>
              <a:latin typeface="Noto Sans"/>
              <a:ea typeface="+mn-ea"/>
              <a:cs typeface="+mn-cs"/>
              <a:sym typeface="+mn-lt"/>
            </a:endParaRPr>
          </a:p>
        </p:txBody>
      </p:sp>
      <p:graphicFrame>
        <p:nvGraphicFramePr>
          <p:cNvPr id="46" name="Table 45"/>
          <p:cNvGraphicFramePr>
            <a:graphicFrameLocks noGrp="1"/>
          </p:cNvGraphicFramePr>
          <p:nvPr>
            <p:extLst>
              <p:ext uri="{D42A27DB-BD31-4B8C-83A1-F6EECF244321}">
                <p14:modId xmlns:p14="http://schemas.microsoft.com/office/powerpoint/2010/main" val="2422835831"/>
              </p:ext>
            </p:extLst>
          </p:nvPr>
        </p:nvGraphicFramePr>
        <p:xfrm>
          <a:off x="355810" y="1255533"/>
          <a:ext cx="6712545" cy="5124870"/>
        </p:xfrm>
        <a:graphic>
          <a:graphicData uri="http://schemas.openxmlformats.org/drawingml/2006/table">
            <a:tbl>
              <a:tblPr firstRow="1" bandRow="1">
                <a:tableStyleId>{5C22544A-7EE6-4342-B048-85BDC9FD1C3A}</a:tableStyleId>
              </a:tblPr>
              <a:tblGrid>
                <a:gridCol w="3000968">
                  <a:extLst>
                    <a:ext uri="{9D8B030D-6E8A-4147-A177-3AD203B41FA5}">
                      <a16:colId xmlns:a16="http://schemas.microsoft.com/office/drawing/2014/main" val="20000"/>
                    </a:ext>
                  </a:extLst>
                </a:gridCol>
                <a:gridCol w="1003300">
                  <a:extLst>
                    <a:ext uri="{9D8B030D-6E8A-4147-A177-3AD203B41FA5}">
                      <a16:colId xmlns:a16="http://schemas.microsoft.com/office/drawing/2014/main" val="20005"/>
                    </a:ext>
                  </a:extLst>
                </a:gridCol>
                <a:gridCol w="902759">
                  <a:extLst>
                    <a:ext uri="{9D8B030D-6E8A-4147-A177-3AD203B41FA5}">
                      <a16:colId xmlns:a16="http://schemas.microsoft.com/office/drawing/2014/main" val="20002"/>
                    </a:ext>
                  </a:extLst>
                </a:gridCol>
                <a:gridCol w="936996">
                  <a:extLst>
                    <a:ext uri="{9D8B030D-6E8A-4147-A177-3AD203B41FA5}">
                      <a16:colId xmlns:a16="http://schemas.microsoft.com/office/drawing/2014/main" val="20003"/>
                    </a:ext>
                  </a:extLst>
                </a:gridCol>
                <a:gridCol w="868522">
                  <a:extLst>
                    <a:ext uri="{9D8B030D-6E8A-4147-A177-3AD203B41FA5}">
                      <a16:colId xmlns:a16="http://schemas.microsoft.com/office/drawing/2014/main" val="20004"/>
                    </a:ext>
                  </a:extLst>
                </a:gridCol>
              </a:tblGrid>
              <a:tr h="450207">
                <a:tc>
                  <a:txBody>
                    <a:bodyPr/>
                    <a:lstStyle/>
                    <a:p>
                      <a:r>
                        <a:rPr lang="en-US" sz="1200" dirty="0">
                          <a:solidFill>
                            <a:schemeClr val="tx1"/>
                          </a:solidFill>
                          <a:latin typeface="+mn-lt"/>
                          <a:cs typeface="Arial" panose="020B0604020202020204" pitchFamily="34" charset="0"/>
                        </a:rPr>
                        <a:t>Cash Flow Statement</a:t>
                      </a:r>
                    </a:p>
                  </a:txBody>
                  <a:tcPr marR="0" marT="0" marB="0" anchor="ctr">
                    <a:lnL w="12700" cmpd="sng">
                      <a:noFill/>
                    </a:lnL>
                    <a:lnR w="12700" cmpd="sng">
                      <a:noFill/>
                    </a:lnR>
                    <a:lnT w="12700" cmpd="sng">
                      <a:noFill/>
                    </a:lnT>
                    <a:lnB w="12700" cap="flat" cmpd="sng" algn="ctr">
                      <a:solidFill>
                        <a:srgbClr val="AF272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1" i="0" u="none" strike="noStrike" dirty="0">
                          <a:solidFill>
                            <a:schemeClr val="bg1"/>
                          </a:solidFill>
                          <a:effectLst/>
                          <a:latin typeface="+mn-lt"/>
                          <a:cs typeface="Arial" panose="020B0604020202020204" pitchFamily="34" charset="0"/>
                        </a:rPr>
                        <a:t>9M 2023</a:t>
                      </a:r>
                    </a:p>
                  </a:txBody>
                  <a:tcPr marL="0" marR="0" marT="0" marB="0" anchor="ctr">
                    <a:lnL w="12700" cmpd="sng">
                      <a:noFill/>
                    </a:lnL>
                    <a:lnR w="12700" cmpd="sng">
                      <a:noFill/>
                    </a:lnR>
                    <a:lnT w="12700" cmpd="sng">
                      <a:noFill/>
                    </a:lnT>
                    <a:lnB w="12700" cap="flat" cmpd="sng" algn="ctr">
                      <a:solidFill>
                        <a:srgbClr val="AF272F"/>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ctr" rtl="0" fontAlgn="t"/>
                      <a:r>
                        <a:rPr lang="en-US" sz="1200" b="1" i="0" u="none" strike="noStrike" dirty="0">
                          <a:solidFill>
                            <a:schemeClr val="tx1"/>
                          </a:solidFill>
                          <a:effectLst/>
                          <a:latin typeface="+mn-lt"/>
                          <a:cs typeface="Arial" panose="020B0604020202020204" pitchFamily="34" charset="0"/>
                        </a:rPr>
                        <a:t>9M 2022</a:t>
                      </a:r>
                    </a:p>
                  </a:txBody>
                  <a:tcPr marL="0" marR="0" marT="0" marB="0" anchor="ctr">
                    <a:lnL w="12700" cmpd="sng">
                      <a:noFill/>
                    </a:lnL>
                    <a:lnR w="12700" cmpd="sng">
                      <a:noFill/>
                    </a:lnR>
                    <a:lnT w="12700" cmpd="sng">
                      <a:noFill/>
                    </a:lnT>
                    <a:lnB w="12700" cap="flat" cmpd="sng" algn="ctr">
                      <a:solidFill>
                        <a:srgbClr val="AF272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t" hangingPunct="1"/>
                      <a:r>
                        <a:rPr lang="en-US" sz="1200" b="1" i="0" u="none" strike="noStrike" dirty="0">
                          <a:solidFill>
                            <a:schemeClr val="tx1"/>
                          </a:solidFill>
                          <a:effectLst/>
                          <a:latin typeface="+mn-lt"/>
                          <a:ea typeface="+mn-ea"/>
                          <a:cs typeface="Arial" panose="020B0604020202020204" pitchFamily="34" charset="0"/>
                        </a:rPr>
                        <a:t>Variance</a:t>
                      </a:r>
                    </a:p>
                  </a:txBody>
                  <a:tcPr marL="0" marR="0" marT="0" marB="0" anchor="ctr">
                    <a:lnL w="12700" cmpd="sng">
                      <a:noFill/>
                    </a:lnL>
                    <a:lnR w="12700" cmpd="sng">
                      <a:noFill/>
                    </a:lnR>
                    <a:lnT w="12700" cmpd="sng">
                      <a:noFill/>
                    </a:lnT>
                    <a:lnB w="12700" cap="flat" cmpd="sng" algn="ctr">
                      <a:solidFill>
                        <a:srgbClr val="AF272F"/>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rtl="0" eaLnBrk="1" fontAlgn="t" hangingPunct="1"/>
                      <a:r>
                        <a:rPr lang="en-US" sz="1200" b="1" i="0" u="none" strike="noStrike" dirty="0">
                          <a:solidFill>
                            <a:schemeClr val="tx1"/>
                          </a:solidFill>
                          <a:effectLst/>
                          <a:latin typeface="+mn-lt"/>
                          <a:ea typeface="+mn-ea"/>
                          <a:cs typeface="Arial" panose="020B0604020202020204" pitchFamily="34" charset="0"/>
                        </a:rPr>
                        <a:t>%</a:t>
                      </a:r>
                    </a:p>
                  </a:txBody>
                  <a:tcPr marL="0" marR="0" marT="0" marB="0" anchor="ctr">
                    <a:lnL w="12700" cmpd="sng">
                      <a:noFill/>
                    </a:lnL>
                    <a:lnR w="12700" cmpd="sng">
                      <a:noFill/>
                    </a:lnR>
                    <a:lnT w="12700" cmpd="sng">
                      <a:noFill/>
                    </a:lnT>
                    <a:lnB w="12700" cap="flat" cmpd="sng" algn="ctr">
                      <a:solidFill>
                        <a:srgbClr val="AF272F"/>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318693">
                <a:tc>
                  <a:txBody>
                    <a:bodyPr/>
                    <a:lstStyle/>
                    <a:p>
                      <a:pPr algn="l" rtl="0" fontAlgn="ctr"/>
                      <a:r>
                        <a:rPr lang="en-US" sz="1200" b="0" i="0" u="none" strike="noStrike" dirty="0">
                          <a:solidFill>
                            <a:srgbClr val="474647"/>
                          </a:solidFill>
                          <a:effectLst/>
                          <a:latin typeface="Noto Sans" panose="020B0502040504020204" pitchFamily="34" charset="0"/>
                        </a:rPr>
                        <a:t>Cash from Operating activities before changes in working capital </a:t>
                      </a:r>
                    </a:p>
                  </a:txBody>
                  <a:tcPr marL="85725" marR="0" marT="0" marB="0" anchor="ctr">
                    <a:lnL w="12700" cmpd="sng">
                      <a:noFill/>
                    </a:lnL>
                    <a:lnR w="12700" cmpd="sng">
                      <a:noFill/>
                    </a:lnR>
                    <a:lnT w="12700" cap="flat" cmpd="sng" algn="ctr">
                      <a:solidFill>
                        <a:srgbClr val="AF272F"/>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a:solidFill>
                            <a:srgbClr val="474647"/>
                          </a:solidFill>
                          <a:effectLst/>
                          <a:latin typeface="Noto Sans" panose="020B0502040504020204" pitchFamily="34" charset="0"/>
                        </a:rPr>
                        <a:t>178.0</a:t>
                      </a:r>
                    </a:p>
                  </a:txBody>
                  <a:tcPr marL="0" marR="0" marT="0" marB="0" anchor="ctr">
                    <a:lnL w="12700" cmpd="sng">
                      <a:noFill/>
                    </a:lnL>
                    <a:lnR w="12700" cmpd="sng">
                      <a:noFill/>
                    </a:lnR>
                    <a:lnT w="12700" cap="flat" cmpd="sng" algn="ctr">
                      <a:solidFill>
                        <a:srgbClr val="AF272F"/>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ctr"/>
                      <a:r>
                        <a:rPr lang="en-US" sz="1200" b="0" i="0" u="none" strike="noStrike">
                          <a:solidFill>
                            <a:srgbClr val="474647"/>
                          </a:solidFill>
                          <a:effectLst/>
                          <a:latin typeface="Noto Sans" panose="020B0502040504020204" pitchFamily="34" charset="0"/>
                        </a:rPr>
                        <a:t>115.3</a:t>
                      </a:r>
                    </a:p>
                  </a:txBody>
                  <a:tcPr marL="0" marR="0" marT="0" marB="0" anchor="ctr">
                    <a:lnL w="12700" cmpd="sng">
                      <a:noFill/>
                    </a:lnL>
                    <a:lnR w="12700" cmpd="sng">
                      <a:noFill/>
                    </a:lnR>
                    <a:lnT w="12700" cap="flat" cmpd="sng" algn="ctr">
                      <a:solidFill>
                        <a:srgbClr val="AF272F"/>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0" i="1" u="none" strike="noStrike">
                          <a:solidFill>
                            <a:srgbClr val="474647"/>
                          </a:solidFill>
                          <a:effectLst/>
                          <a:latin typeface="Noto Sans" panose="020B0502040504020204" pitchFamily="34" charset="0"/>
                        </a:rPr>
                        <a:t>62.6</a:t>
                      </a:r>
                    </a:p>
                  </a:txBody>
                  <a:tcPr marL="0" marR="0" marT="0" marB="0" anchor="ctr">
                    <a:lnL w="12700" cmpd="sng">
                      <a:noFill/>
                    </a:lnL>
                    <a:lnR w="12700" cmpd="sng">
                      <a:noFill/>
                    </a:lnR>
                    <a:lnT w="12700" cap="flat" cmpd="sng" algn="ctr">
                      <a:solidFill>
                        <a:srgbClr val="AF272F"/>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0" i="1" u="none" strike="noStrike">
                          <a:solidFill>
                            <a:srgbClr val="474647"/>
                          </a:solidFill>
                          <a:effectLst/>
                          <a:latin typeface="Noto Sans" panose="020B0502040504020204" pitchFamily="34" charset="0"/>
                        </a:rPr>
                        <a:t>54.3%</a:t>
                      </a:r>
                    </a:p>
                  </a:txBody>
                  <a:tcPr marL="0" marR="0" marT="0" marB="0" anchor="ctr">
                    <a:lnL w="12700" cmpd="sng">
                      <a:noFill/>
                    </a:lnL>
                    <a:lnR w="12700" cmpd="sng">
                      <a:noFill/>
                    </a:lnR>
                    <a:lnT w="12700" cap="flat" cmpd="sng" algn="ctr">
                      <a:solidFill>
                        <a:srgbClr val="AF272F"/>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299520">
                <a:tc>
                  <a:txBody>
                    <a:bodyPr/>
                    <a:lstStyle/>
                    <a:p>
                      <a:pPr algn="l" rtl="0" fontAlgn="ctr"/>
                      <a:r>
                        <a:rPr lang="en-US" sz="1200" b="0" i="0" u="none" strike="noStrike" dirty="0">
                          <a:solidFill>
                            <a:srgbClr val="474647"/>
                          </a:solidFill>
                          <a:effectLst/>
                          <a:latin typeface="Noto Sans" panose="020B0502040504020204" pitchFamily="34" charset="0"/>
                        </a:rPr>
                        <a:t>Changes in working capital</a:t>
                      </a:r>
                    </a:p>
                  </a:txBody>
                  <a:tcPr marL="85725"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rgbClr val="FF0000"/>
                          </a:solidFill>
                          <a:effectLst/>
                          <a:latin typeface="Noto Sans" panose="020B0502040504020204" pitchFamily="34" charset="0"/>
                        </a:rPr>
                        <a:t>-16.5</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ctr"/>
                      <a:r>
                        <a:rPr lang="en-US" sz="1200" b="0" i="0" u="none" strike="noStrike">
                          <a:solidFill>
                            <a:srgbClr val="474647"/>
                          </a:solidFill>
                          <a:effectLst/>
                          <a:latin typeface="Noto Sans" panose="020B0502040504020204" pitchFamily="34" charset="0"/>
                        </a:rPr>
                        <a:t>-60.5</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0" i="1" u="none" strike="noStrike">
                          <a:solidFill>
                            <a:srgbClr val="474647"/>
                          </a:solidFill>
                          <a:effectLst/>
                          <a:latin typeface="Noto Sans" panose="020B0502040504020204" pitchFamily="34" charset="0"/>
                        </a:rPr>
                        <a:t>44.1</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0" i="1" u="none" strike="noStrike">
                          <a:solidFill>
                            <a:srgbClr val="474647"/>
                          </a:solidFill>
                          <a:effectLst/>
                          <a:latin typeface="Noto Sans" panose="020B0502040504020204" pitchFamily="34" charset="0"/>
                        </a:rPr>
                        <a:t>-72.8%</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r h="280220">
                <a:tc>
                  <a:txBody>
                    <a:bodyPr/>
                    <a:lstStyle/>
                    <a:p>
                      <a:pPr algn="l" rtl="0" fontAlgn="ctr"/>
                      <a:r>
                        <a:rPr lang="en-US" sz="1200" b="0" i="0" u="none" strike="noStrike" dirty="0">
                          <a:solidFill>
                            <a:srgbClr val="474647"/>
                          </a:solidFill>
                          <a:effectLst/>
                          <a:latin typeface="Noto Sans" panose="020B0502040504020204" pitchFamily="34" charset="0"/>
                        </a:rPr>
                        <a:t>Other Items</a:t>
                      </a:r>
                    </a:p>
                  </a:txBody>
                  <a:tcPr marL="85725"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a:solidFill>
                            <a:srgbClr val="FF0000"/>
                          </a:solidFill>
                          <a:effectLst/>
                          <a:latin typeface="Noto Sans" panose="020B0502040504020204" pitchFamily="34" charset="0"/>
                        </a:rPr>
                        <a:t>-17.8</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ctr"/>
                      <a:r>
                        <a:rPr lang="en-US" sz="1200" b="0" i="0" u="none" strike="noStrike" dirty="0">
                          <a:solidFill>
                            <a:srgbClr val="FF0000"/>
                          </a:solidFill>
                          <a:effectLst/>
                          <a:latin typeface="Noto Sans" panose="020B0502040504020204" pitchFamily="34" charset="0"/>
                        </a:rPr>
                        <a:t>-9.0</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0" i="1" u="none" strike="noStrike">
                          <a:solidFill>
                            <a:srgbClr val="474647"/>
                          </a:solidFill>
                          <a:effectLst/>
                          <a:latin typeface="Noto Sans" panose="020B0502040504020204" pitchFamily="34" charset="0"/>
                        </a:rPr>
                        <a:t>-8.8</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0" i="1" u="none" strike="noStrike">
                          <a:solidFill>
                            <a:srgbClr val="474647"/>
                          </a:solidFill>
                          <a:effectLst/>
                          <a:latin typeface="Noto Sans" panose="020B0502040504020204" pitchFamily="34" charset="0"/>
                        </a:rPr>
                        <a:t>98.8%</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09716">
                <a:tc>
                  <a:txBody>
                    <a:bodyPr/>
                    <a:lstStyle/>
                    <a:p>
                      <a:pPr algn="l" rtl="0" fontAlgn="ctr"/>
                      <a:r>
                        <a:rPr lang="en-US" sz="1200" b="1" i="0" u="none" strike="noStrike" dirty="0">
                          <a:solidFill>
                            <a:schemeClr val="tx1"/>
                          </a:solidFill>
                          <a:effectLst/>
                          <a:latin typeface="Noto Sans" panose="020B0502040504020204" pitchFamily="34" charset="0"/>
                        </a:rPr>
                        <a:t>Net Cash flow from operating activities</a:t>
                      </a:r>
                    </a:p>
                  </a:txBody>
                  <a:tcPr marL="85725"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1" i="0" u="none" strike="noStrike" dirty="0">
                          <a:solidFill>
                            <a:srgbClr val="474647"/>
                          </a:solidFill>
                          <a:effectLst/>
                          <a:latin typeface="Noto Sans" panose="020B0502040504020204" pitchFamily="34" charset="0"/>
                        </a:rPr>
                        <a:t>143.7</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ctr"/>
                      <a:r>
                        <a:rPr lang="en-US" sz="1200" b="1" i="0" u="none" strike="noStrike" dirty="0">
                          <a:solidFill>
                            <a:srgbClr val="474647"/>
                          </a:solidFill>
                          <a:effectLst/>
                          <a:latin typeface="Noto Sans" panose="020B0502040504020204" pitchFamily="34" charset="0"/>
                        </a:rPr>
                        <a:t>45.9</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1" i="1" u="none" strike="noStrike" dirty="0">
                          <a:solidFill>
                            <a:srgbClr val="474647"/>
                          </a:solidFill>
                          <a:effectLst/>
                          <a:latin typeface="Noto Sans" panose="020B0502040504020204" pitchFamily="34" charset="0"/>
                        </a:rPr>
                        <a:t>97.8</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1" i="1" u="none" strike="noStrike" dirty="0">
                          <a:solidFill>
                            <a:srgbClr val="474647"/>
                          </a:solidFill>
                          <a:effectLst/>
                          <a:latin typeface="Noto Sans" panose="020B0502040504020204" pitchFamily="34" charset="0"/>
                        </a:rPr>
                        <a:t>213.4%</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r h="272845">
                <a:tc>
                  <a:txBody>
                    <a:bodyPr/>
                    <a:lstStyle/>
                    <a:p>
                      <a:pPr algn="l" rtl="0" fontAlgn="b"/>
                      <a:r>
                        <a:rPr lang="en-US" sz="1200" b="0" i="0" u="none" strike="noStrike" dirty="0">
                          <a:solidFill>
                            <a:srgbClr val="474647"/>
                          </a:solidFill>
                          <a:effectLst/>
                          <a:latin typeface="Noto Sans" panose="020B0502040504020204" pitchFamily="34" charset="0"/>
                        </a:rPr>
                        <a:t>Net Organic Capex</a:t>
                      </a:r>
                    </a:p>
                  </a:txBody>
                  <a:tcPr marL="85725"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a:solidFill>
                            <a:srgbClr val="FF0000"/>
                          </a:solidFill>
                          <a:effectLst/>
                          <a:latin typeface="Noto Sans" panose="020B0502040504020204" pitchFamily="34" charset="0"/>
                        </a:rPr>
                        <a:t>-39.1</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ctr"/>
                      <a:r>
                        <a:rPr lang="en-US" sz="1200" b="0" i="0" u="none" strike="noStrike" dirty="0">
                          <a:solidFill>
                            <a:srgbClr val="FF0000"/>
                          </a:solidFill>
                          <a:effectLst/>
                          <a:latin typeface="Noto Sans" panose="020B0502040504020204" pitchFamily="34" charset="0"/>
                        </a:rPr>
                        <a:t>-27.1</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0" i="1" u="none" strike="noStrike">
                          <a:solidFill>
                            <a:srgbClr val="474647"/>
                          </a:solidFill>
                          <a:effectLst/>
                          <a:latin typeface="Noto Sans" panose="020B0502040504020204" pitchFamily="34" charset="0"/>
                        </a:rPr>
                        <a:t>-12.0</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0" i="1" u="none" strike="noStrike">
                          <a:solidFill>
                            <a:srgbClr val="474647"/>
                          </a:solidFill>
                          <a:effectLst/>
                          <a:latin typeface="Noto Sans" panose="020B0502040504020204" pitchFamily="34" charset="0"/>
                        </a:rPr>
                        <a:t>44.4%</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6"/>
                  </a:ext>
                </a:extLst>
              </a:tr>
              <a:tr h="317090">
                <a:tc>
                  <a:txBody>
                    <a:bodyPr/>
                    <a:lstStyle/>
                    <a:p>
                      <a:pPr algn="l" rtl="0" fontAlgn="b"/>
                      <a:r>
                        <a:rPr lang="en-US" sz="1200" b="0" i="0" u="none" strike="noStrike" dirty="0">
                          <a:solidFill>
                            <a:srgbClr val="474647"/>
                          </a:solidFill>
                          <a:effectLst/>
                          <a:latin typeface="Noto Sans" panose="020B0502040504020204" pitchFamily="34" charset="0"/>
                        </a:rPr>
                        <a:t>Net Investments</a:t>
                      </a:r>
                      <a:r>
                        <a:rPr lang="en-US" sz="1200" b="0" i="0" u="none" strike="noStrike" baseline="30000" dirty="0">
                          <a:solidFill>
                            <a:srgbClr val="474647"/>
                          </a:solidFill>
                          <a:effectLst/>
                          <a:latin typeface="Noto Sans" panose="020B0502040504020204" pitchFamily="34" charset="0"/>
                        </a:rPr>
                        <a:t>1</a:t>
                      </a:r>
                    </a:p>
                  </a:txBody>
                  <a:tcPr marL="85725"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rgbClr val="FF0000"/>
                          </a:solidFill>
                          <a:effectLst/>
                          <a:latin typeface="Noto Sans" panose="020B0502040504020204" pitchFamily="34" charset="0"/>
                        </a:rPr>
                        <a:t>-25.3</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ctr"/>
                      <a:r>
                        <a:rPr lang="en-US" sz="1200" b="0" i="0" u="none" strike="noStrike" dirty="0">
                          <a:solidFill>
                            <a:srgbClr val="FF0000"/>
                          </a:solidFill>
                          <a:effectLst/>
                          <a:latin typeface="Noto Sans" panose="020B0502040504020204" pitchFamily="34" charset="0"/>
                        </a:rPr>
                        <a:t>-249.7</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0" i="1" u="none" strike="noStrike" dirty="0">
                          <a:solidFill>
                            <a:srgbClr val="474647"/>
                          </a:solidFill>
                          <a:effectLst/>
                          <a:latin typeface="Noto Sans" panose="020B0502040504020204" pitchFamily="34" charset="0"/>
                        </a:rPr>
                        <a:t>224.4</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0" i="1" u="none" strike="noStrike">
                          <a:solidFill>
                            <a:srgbClr val="474647"/>
                          </a:solidFill>
                          <a:effectLst/>
                          <a:latin typeface="Noto Sans" panose="020B0502040504020204" pitchFamily="34" charset="0"/>
                        </a:rPr>
                        <a:t>-89.9%</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7"/>
                  </a:ext>
                </a:extLst>
              </a:tr>
              <a:tr h="317090">
                <a:tc>
                  <a:txBody>
                    <a:bodyPr/>
                    <a:lstStyle/>
                    <a:p>
                      <a:pPr algn="l" rtl="0" fontAlgn="ctr"/>
                      <a:r>
                        <a:rPr lang="en-US" sz="1200" b="0" i="0" u="none" strike="noStrike" dirty="0">
                          <a:solidFill>
                            <a:srgbClr val="474647"/>
                          </a:solidFill>
                          <a:effectLst/>
                          <a:latin typeface="Noto Sans" panose="020B0502040504020204" pitchFamily="34" charset="0"/>
                          <a:ea typeface="+mn-ea"/>
                          <a:cs typeface="+mn-cs"/>
                        </a:rPr>
                        <a:t>Net Movement in deposits</a:t>
                      </a:r>
                    </a:p>
                  </a:txBody>
                  <a:tcPr marL="85725"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0" i="0" u="none" strike="noStrike" dirty="0">
                          <a:solidFill>
                            <a:schemeClr val="tx1"/>
                          </a:solidFill>
                          <a:effectLst/>
                          <a:latin typeface="Noto Sans" panose="020B0502040504020204" pitchFamily="34" charset="0"/>
                        </a:rPr>
                        <a:t>1.5</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ctr"/>
                      <a:r>
                        <a:rPr lang="en-US" sz="1200" b="0" i="0" u="none" strike="noStrike" dirty="0">
                          <a:solidFill>
                            <a:schemeClr val="tx1"/>
                          </a:solidFill>
                          <a:effectLst/>
                          <a:latin typeface="Noto Sans" panose="020B0502040504020204" pitchFamily="34" charset="0"/>
                        </a:rPr>
                        <a:t>18.1</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0" i="1" u="none" strike="noStrike" dirty="0">
                          <a:solidFill>
                            <a:srgbClr val="474647"/>
                          </a:solidFill>
                          <a:effectLst/>
                          <a:latin typeface="Noto Sans" panose="020B0502040504020204" pitchFamily="34" charset="0"/>
                        </a:rPr>
                        <a:t>-16.5</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0" i="1" u="none" strike="noStrike">
                          <a:solidFill>
                            <a:srgbClr val="474647"/>
                          </a:solidFill>
                          <a:effectLst/>
                          <a:latin typeface="Noto Sans" panose="020B0502040504020204" pitchFamily="34" charset="0"/>
                        </a:rPr>
                        <a:t>-91.5%</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94222190"/>
                  </a:ext>
                </a:extLst>
              </a:tr>
              <a:tr h="317090">
                <a:tc>
                  <a:txBody>
                    <a:bodyPr/>
                    <a:lstStyle/>
                    <a:p>
                      <a:pPr algn="l" rtl="0" fontAlgn="ctr"/>
                      <a:r>
                        <a:rPr lang="en-US" sz="1200" b="1" i="0" u="none" strike="noStrike" dirty="0">
                          <a:solidFill>
                            <a:srgbClr val="474647"/>
                          </a:solidFill>
                          <a:effectLst/>
                          <a:latin typeface="Noto Sans" panose="020B0502040504020204" pitchFamily="34" charset="0"/>
                        </a:rPr>
                        <a:t>Net Cash flow from investing activities</a:t>
                      </a:r>
                    </a:p>
                  </a:txBody>
                  <a:tcPr marL="85725"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1" i="0" u="none" strike="noStrike" dirty="0">
                          <a:solidFill>
                            <a:srgbClr val="FF0000"/>
                          </a:solidFill>
                          <a:effectLst/>
                          <a:latin typeface="Noto Sans" panose="020B0502040504020204" pitchFamily="34" charset="0"/>
                        </a:rPr>
                        <a:t>-62.9</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ctr"/>
                      <a:r>
                        <a:rPr lang="en-US" sz="1200" b="1" i="0" u="none" strike="noStrike" dirty="0">
                          <a:solidFill>
                            <a:srgbClr val="FF0000"/>
                          </a:solidFill>
                          <a:effectLst/>
                          <a:latin typeface="Noto Sans" panose="020B0502040504020204" pitchFamily="34" charset="0"/>
                        </a:rPr>
                        <a:t>-258.7</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1" i="1" u="none" strike="noStrike" dirty="0">
                          <a:solidFill>
                            <a:srgbClr val="474647"/>
                          </a:solidFill>
                          <a:effectLst/>
                          <a:latin typeface="Noto Sans" panose="020B0502040504020204" pitchFamily="34" charset="0"/>
                        </a:rPr>
                        <a:t>195.8</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1" i="1" u="none" strike="noStrike" dirty="0">
                          <a:solidFill>
                            <a:srgbClr val="474647"/>
                          </a:solidFill>
                          <a:effectLst/>
                          <a:latin typeface="Noto Sans" panose="020B0502040504020204" pitchFamily="34" charset="0"/>
                        </a:rPr>
                        <a:t>-75.7%</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67278547"/>
                  </a:ext>
                </a:extLst>
              </a:tr>
              <a:tr h="0">
                <a:tc>
                  <a:txBody>
                    <a:bodyPr/>
                    <a:lstStyle/>
                    <a:p>
                      <a:pPr marL="0" algn="l" rtl="0" eaLnBrk="1" fontAlgn="b" hangingPunct="1"/>
                      <a:endParaRPr lang="en-US" sz="1200" b="0" i="0" u="none" strike="noStrike" dirty="0">
                        <a:solidFill>
                          <a:srgbClr val="474647"/>
                        </a:solidFill>
                        <a:effectLst/>
                        <a:latin typeface="Noto Sans" panose="020B0502040504020204" pitchFamily="34" charset="0"/>
                        <a:ea typeface="+mn-ea"/>
                        <a:cs typeface="+mn-cs"/>
                      </a:endParaRPr>
                    </a:p>
                  </a:txBody>
                  <a:tcPr marL="85725"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ctr"/>
                      <a:r>
                        <a:rPr lang="en-US" sz="1800" b="0" i="0" u="none" strike="noStrike">
                          <a:solidFill>
                            <a:srgbClr val="000000"/>
                          </a:solidFill>
                          <a:effectLst/>
                          <a:latin typeface="Arial" panose="020B0604020202020204" pitchFamily="34" charset="0"/>
                        </a:rPr>
                        <a:t> </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fontAlgn="ctr"/>
                      <a:r>
                        <a:rPr lang="en-US" sz="1800" b="0" i="0" u="none" strike="noStrike" dirty="0">
                          <a:solidFill>
                            <a:srgbClr val="000000"/>
                          </a:solidFill>
                          <a:effectLst/>
                          <a:latin typeface="Arial" panose="020B0604020202020204" pitchFamily="34" charset="0"/>
                        </a:rPr>
                        <a:t> </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endParaRPr lang="en-US" sz="1200" b="0" i="1" u="none" strike="noStrike">
                        <a:solidFill>
                          <a:srgbClr val="474647"/>
                        </a:solidFill>
                        <a:effectLst/>
                        <a:latin typeface="Noto Sans" panose="020B0502040504020204" pitchFamily="34" charset="0"/>
                      </a:endParaRP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r h="29496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dirty="0">
                          <a:solidFill>
                            <a:schemeClr val="tx1"/>
                          </a:solidFill>
                          <a:latin typeface="+mn-lt"/>
                          <a:cs typeface="Arial" panose="020B0604020202020204" pitchFamily="34" charset="0"/>
                        </a:rPr>
                        <a:t>Free Cash Flow</a:t>
                      </a:r>
                      <a:endParaRPr lang="en-US" sz="1200" b="1" kern="1200" dirty="0">
                        <a:solidFill>
                          <a:schemeClr val="tx1"/>
                        </a:solidFill>
                        <a:latin typeface="+mn-lt"/>
                        <a:ea typeface="+mn-ea"/>
                        <a:cs typeface="Arial" panose="020B0604020202020204" pitchFamily="34" charset="0"/>
                      </a:endParaRPr>
                    </a:p>
                  </a:txBody>
                  <a:tcPr marR="0" marT="0" marB="0" anchor="ctr">
                    <a:lnL w="12700" cap="flat" cmpd="sng" algn="ctr">
                      <a:solidFill>
                        <a:srgbClr val="C00000"/>
                      </a:solidFill>
                      <a:prstDash val="solid"/>
                      <a:round/>
                      <a:headEnd type="none" w="med" len="med"/>
                      <a:tailEnd type="none" w="med" len="med"/>
                    </a:lnL>
                    <a:lnR w="12700" cmpd="sng">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ctr"/>
                      <a:r>
                        <a:rPr lang="en-US" sz="1200" b="1" i="0" u="none" strike="noStrike" dirty="0">
                          <a:solidFill>
                            <a:schemeClr val="tx1"/>
                          </a:solidFill>
                          <a:effectLst/>
                          <a:latin typeface="Noto Sans" panose="020B0502040504020204" pitchFamily="34" charset="0"/>
                        </a:rPr>
                        <a:t>80.8</a:t>
                      </a:r>
                    </a:p>
                  </a:txBody>
                  <a:tcPr marL="0" marR="0" marT="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ctr"/>
                      <a:r>
                        <a:rPr lang="en-US" sz="1200" b="1" i="0" u="none" strike="noStrike" dirty="0">
                          <a:solidFill>
                            <a:srgbClr val="FF0000"/>
                          </a:solidFill>
                          <a:effectLst/>
                          <a:latin typeface="Noto Sans" panose="020B0502040504020204" pitchFamily="34" charset="0"/>
                        </a:rPr>
                        <a:t>-212.9</a:t>
                      </a:r>
                    </a:p>
                  </a:txBody>
                  <a:tcPr marL="0" marR="0" marT="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1" i="1" u="none" strike="noStrike" dirty="0">
                          <a:solidFill>
                            <a:schemeClr val="tx1"/>
                          </a:solidFill>
                          <a:effectLst/>
                          <a:latin typeface="Noto Sans" panose="020B0502040504020204" pitchFamily="34" charset="0"/>
                        </a:rPr>
                        <a:t>-216.8</a:t>
                      </a:r>
                    </a:p>
                  </a:txBody>
                  <a:tcPr marL="0" marR="0" marT="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200" b="1" i="1" u="none" strike="noStrike" dirty="0">
                          <a:solidFill>
                            <a:schemeClr val="tx1"/>
                          </a:solidFill>
                          <a:effectLst/>
                          <a:latin typeface="Noto Sans" panose="020B0502040504020204" pitchFamily="34" charset="0"/>
                        </a:rPr>
                        <a:t>101.8%</a:t>
                      </a:r>
                    </a:p>
                  </a:txBody>
                  <a:tcPr marL="0" marR="0" marT="0" marB="0" anchor="ctr">
                    <a:lnL w="12700" cmpd="sng">
                      <a:noFill/>
                    </a:lnL>
                    <a:lnR w="12700" cap="flat" cmpd="sng" algn="ctr">
                      <a:solidFill>
                        <a:srgbClr val="C00000"/>
                      </a:solidFill>
                      <a:prstDash val="solid"/>
                      <a:round/>
                      <a:headEnd type="none" w="med" len="med"/>
                      <a:tailEnd type="none" w="med" len="med"/>
                    </a:lnR>
                    <a:lnT w="12700" cap="flat" cmpd="sng" algn="ctr">
                      <a:solidFill>
                        <a:srgbClr val="C00000"/>
                      </a:solidFill>
                      <a:prstDash val="solid"/>
                      <a:round/>
                      <a:headEnd type="none" w="med" len="med"/>
                      <a:tailEnd type="none" w="med" len="med"/>
                    </a:lnT>
                    <a:lnB w="12700" cap="flat" cmpd="sng" algn="ctr">
                      <a:solidFill>
                        <a:srgbClr val="C00000"/>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8"/>
                  </a:ext>
                </a:extLst>
              </a:tr>
              <a:tr h="471948">
                <a:tc>
                  <a:txBody>
                    <a:bodyPr/>
                    <a:lstStyle/>
                    <a:p>
                      <a:endParaRPr lang="en-US" sz="1200" b="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200" b="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200" b="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200" b="1" i="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a:endParaRPr lang="en-US" sz="1200" b="1" i="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solidFill>
                        <a:srgbClr val="C00000"/>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9"/>
                  </a:ext>
                </a:extLst>
              </a:tr>
              <a:tr h="276308">
                <a:tc>
                  <a:txBody>
                    <a:bodyPr/>
                    <a:lstStyle/>
                    <a:p>
                      <a:endParaRPr lang="en-US" sz="1200" b="1" u="sng"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i="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i="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0"/>
                  </a:ext>
                </a:extLst>
              </a:tr>
              <a:tr h="4538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mn-lt"/>
                          <a:cs typeface="Arial" panose="020B0604020202020204" pitchFamily="34" charset="0"/>
                        </a:rPr>
                        <a:t>Conversion ratio</a:t>
                      </a:r>
                      <a:r>
                        <a:rPr lang="en-US" sz="1200" b="0" baseline="0" dirty="0">
                          <a:solidFill>
                            <a:schemeClr val="tx1"/>
                          </a:solidFill>
                          <a:latin typeface="+mn-lt"/>
                          <a:cs typeface="Arial" panose="020B0604020202020204" pitchFamily="34" charset="0"/>
                        </a:rPr>
                        <a:t> (OCF/EBITDA)</a:t>
                      </a:r>
                      <a:endParaRPr lang="en-US" sz="1200" b="0" baseline="30000" dirty="0">
                        <a:solidFill>
                          <a:schemeClr val="tx1"/>
                        </a:solidFill>
                        <a:latin typeface="+mn-lt"/>
                        <a:cs typeface="Arial" panose="020B0604020202020204" pitchFamily="34" charset="0"/>
                      </a:endParaRPr>
                    </a:p>
                  </a:txBody>
                  <a:tcPr marR="0" marT="0"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t"/>
                      <a:r>
                        <a:rPr lang="en-US" sz="1200" b="0" i="0" u="none" strike="noStrike">
                          <a:solidFill>
                            <a:srgbClr val="232323"/>
                          </a:solidFill>
                          <a:effectLst/>
                          <a:latin typeface="Noto Sans" panose="020B0502040504020204" pitchFamily="34" charset="0"/>
                        </a:rPr>
                        <a:t>80.0%</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t"/>
                      <a:r>
                        <a:rPr lang="en-US" sz="1200" b="0" i="0" u="none" strike="noStrike">
                          <a:solidFill>
                            <a:srgbClr val="232323"/>
                          </a:solidFill>
                          <a:effectLst/>
                          <a:latin typeface="Noto Sans" panose="020B0502040504020204" pitchFamily="34" charset="0"/>
                        </a:rPr>
                        <a:t>39.3%</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i="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i="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1"/>
                  </a:ext>
                </a:extLst>
              </a:tr>
              <a:tr h="319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mn-lt"/>
                          <a:cs typeface="Arial" panose="020B0604020202020204" pitchFamily="34" charset="0"/>
                        </a:rPr>
                        <a:t>Organic CAPEX</a:t>
                      </a:r>
                      <a:r>
                        <a:rPr lang="en-US" sz="1200" b="0" baseline="0" dirty="0">
                          <a:solidFill>
                            <a:schemeClr val="tx1"/>
                          </a:solidFill>
                          <a:latin typeface="+mn-lt"/>
                          <a:cs typeface="Arial" panose="020B0604020202020204" pitchFamily="34" charset="0"/>
                        </a:rPr>
                        <a:t> as % of Revenue</a:t>
                      </a:r>
                      <a:endParaRPr lang="en-US" sz="1200" b="0" baseline="30000" dirty="0">
                        <a:solidFill>
                          <a:schemeClr val="tx1"/>
                        </a:solidFill>
                        <a:latin typeface="+mn-lt"/>
                        <a:cs typeface="Arial" panose="020B0604020202020204" pitchFamily="34" charset="0"/>
                      </a:endParaRPr>
                    </a:p>
                  </a:txBody>
                  <a:tcPr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t"/>
                      <a:r>
                        <a:rPr lang="en-US" sz="1200" b="0" i="0" u="none" strike="noStrike">
                          <a:solidFill>
                            <a:srgbClr val="232323"/>
                          </a:solidFill>
                          <a:effectLst/>
                          <a:latin typeface="Noto Sans" panose="020B0502040504020204" pitchFamily="34" charset="0"/>
                        </a:rPr>
                        <a:t>3.9%</a:t>
                      </a:r>
                    </a:p>
                  </a:txBody>
                  <a:tcPr marL="0" marR="0" marT="0" marB="0" anchor="ctr">
                    <a:lnL w="12700" cmpd="sng">
                      <a:noFill/>
                    </a:lnL>
                    <a:lnR w="12700" cmpd="sng">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t"/>
                      <a:r>
                        <a:rPr lang="en-US" sz="1200" b="0" i="0" u="none" strike="noStrike" dirty="0">
                          <a:solidFill>
                            <a:srgbClr val="232323"/>
                          </a:solidFill>
                          <a:effectLst/>
                          <a:latin typeface="Noto Sans" panose="020B0502040504020204" pitchFamily="34" charset="0"/>
                        </a:rPr>
                        <a:t>5.1%</a:t>
                      </a: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1200" b="0" i="0" u="none" strike="noStrike" kern="1200" dirty="0">
                        <a:solidFill>
                          <a:schemeClr val="tx1"/>
                        </a:solidFill>
                        <a:effectLst/>
                        <a:latin typeface="+mn-lt"/>
                        <a:ea typeface="+mn-ea"/>
                        <a:cs typeface="Arial" panose="020B0604020202020204" pitchFamily="34" charset="0"/>
                      </a:endParaRP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i="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12"/>
                  </a:ext>
                </a:extLst>
              </a:tr>
            </a:tbl>
          </a:graphicData>
        </a:graphic>
      </p:graphicFrame>
      <p:sp>
        <p:nvSpPr>
          <p:cNvPr id="14" name="Rectangle 13"/>
          <p:cNvSpPr/>
          <p:nvPr>
            <p:custDataLst>
              <p:tags r:id="rId3"/>
            </p:custDataLst>
          </p:nvPr>
        </p:nvSpPr>
        <p:spPr bwMode="auto">
          <a:xfrm>
            <a:off x="8009036" y="6134281"/>
            <a:ext cx="292100" cy="135269"/>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solidFill>
                <a:srgbClr val="474647"/>
              </a:solidFill>
              <a:effectLst/>
              <a:uLnTx/>
              <a:uFillTx/>
              <a:ea typeface="+mn-ea"/>
              <a:cs typeface="Arial" panose="020B0604020202020204" pitchFamily="34" charset="0"/>
              <a:sym typeface="Arial" panose="020B0604020202020204" pitchFamily="34" charset="0"/>
            </a:endParaRPr>
          </a:p>
        </p:txBody>
      </p:sp>
      <p:sp>
        <p:nvSpPr>
          <p:cNvPr id="15" name="Rectangle 14"/>
          <p:cNvSpPr/>
          <p:nvPr>
            <p:custDataLst>
              <p:tags r:id="rId4"/>
            </p:custDataLst>
          </p:nvPr>
        </p:nvSpPr>
        <p:spPr bwMode="auto">
          <a:xfrm>
            <a:off x="9148861" y="6134281"/>
            <a:ext cx="292100" cy="135269"/>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000" b="1" i="0" u="none" strike="noStrike" kern="1200" cap="none" spc="0" normalizeH="0" baseline="0" noProof="0" dirty="0">
              <a:ln>
                <a:noFill/>
              </a:ln>
              <a:solidFill>
                <a:srgbClr val="474647"/>
              </a:solidFill>
              <a:effectLst/>
              <a:uLnTx/>
              <a:uFillTx/>
              <a:ea typeface="+mn-ea"/>
              <a:cs typeface="Arial" panose="020B0604020202020204" pitchFamily="34" charset="0"/>
              <a:sym typeface="Arial" panose="020B0604020202020204" pitchFamily="34" charset="0"/>
            </a:endParaRPr>
          </a:p>
        </p:txBody>
      </p:sp>
      <p:sp>
        <p:nvSpPr>
          <p:cNvPr id="58" name="Text Placeholder 3"/>
          <p:cNvSpPr txBox="1">
            <a:spLocks/>
          </p:cNvSpPr>
          <p:nvPr/>
        </p:nvSpPr>
        <p:spPr>
          <a:xfrm>
            <a:off x="-1175820" y="2619935"/>
            <a:ext cx="9200284" cy="756084"/>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ea typeface="MS PGothic" pitchFamily="34" charset="-128"/>
                <a:cs typeface="Karla"/>
              </a:defRPr>
            </a:lvl1pPr>
            <a:lvl2pPr marL="773219" indent="-297392" algn="l" rtl="0" eaLnBrk="1" fontAlgn="base" hangingPunct="1">
              <a:spcBef>
                <a:spcPct val="20000"/>
              </a:spcBef>
              <a:spcAft>
                <a:spcPct val="0"/>
              </a:spcAft>
              <a:buChar char="–"/>
              <a:defRPr sz="1200">
                <a:solidFill>
                  <a:srgbClr val="888888"/>
                </a:solidFill>
                <a:latin typeface="Arial"/>
                <a:ea typeface="MS PGothic" pitchFamily="34" charset="-128"/>
                <a:cs typeface="Arial"/>
              </a:defRPr>
            </a:lvl2pPr>
            <a:lvl3pPr marL="1189569"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3pPr>
            <a:lvl4pPr marL="1665396"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4pPr>
            <a:lvl5pPr marL="2141224"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5pPr>
            <a:lvl6pPr marL="2617260" indent="-237931" algn="l" rtl="0" eaLnBrk="1" latinLnBrk="0" hangingPunct="1">
              <a:spcBef>
                <a:spcPct val="20000"/>
              </a:spcBef>
              <a:buChar char="•"/>
              <a:defRPr sz="2133">
                <a:solidFill>
                  <a:schemeClr val="tx1"/>
                </a:solidFill>
                <a:latin typeface="+mn-lt"/>
                <a:ea typeface="+mn-ea"/>
                <a:cs typeface="+mn-cs"/>
              </a:defRPr>
            </a:lvl6pPr>
            <a:lvl7pPr marL="3093125" indent="-237931" algn="l" rtl="0" eaLnBrk="1" latinLnBrk="0" hangingPunct="1">
              <a:spcBef>
                <a:spcPct val="20000"/>
              </a:spcBef>
              <a:buChar char="•"/>
              <a:defRPr sz="2133">
                <a:solidFill>
                  <a:schemeClr val="tx1"/>
                </a:solidFill>
                <a:latin typeface="+mn-lt"/>
                <a:ea typeface="+mn-ea"/>
                <a:cs typeface="+mn-cs"/>
              </a:defRPr>
            </a:lvl7pPr>
            <a:lvl8pPr marL="3568992" indent="-237931" algn="l" rtl="0" eaLnBrk="1" latinLnBrk="0" hangingPunct="1">
              <a:spcBef>
                <a:spcPct val="20000"/>
              </a:spcBef>
              <a:buChar char="•"/>
              <a:defRPr sz="2133">
                <a:solidFill>
                  <a:schemeClr val="tx1"/>
                </a:solidFill>
                <a:latin typeface="+mn-lt"/>
                <a:ea typeface="+mn-ea"/>
                <a:cs typeface="+mn-cs"/>
              </a:defRPr>
            </a:lvl8pPr>
            <a:lvl9pPr marL="4044857" indent="-237931" algn="l" rtl="0" eaLnBrk="1" latinLnBrk="0" hangingPunct="1">
              <a:spcBef>
                <a:spcPct val="20000"/>
              </a:spcBef>
              <a:buChar char="•"/>
              <a:defRPr sz="2133">
                <a:solidFill>
                  <a:schemeClr val="tx1"/>
                </a:solidFill>
                <a:latin typeface="+mn-lt"/>
                <a:ea typeface="+mn-ea"/>
                <a:cs typeface="+mn-cs"/>
              </a:defRPr>
            </a:lvl9pPr>
          </a:lstStyle>
          <a:p>
            <a:pPr marL="0" marR="0" lvl="0" indent="0" algn="l" defTabSz="457109" rtl="0" eaLnBrk="1" fontAlgn="base" latinLnBrk="0" hangingPunct="1">
              <a:lnSpc>
                <a:spcPct val="85000"/>
              </a:lnSpc>
              <a:spcBef>
                <a:spcPct val="20000"/>
              </a:spcBef>
              <a:spcAft>
                <a:spcPct val="0"/>
              </a:spcAft>
              <a:buClrTx/>
              <a:buSzTx/>
              <a:buFontTx/>
              <a:buNone/>
              <a:tabLst/>
              <a:defRPr/>
            </a:pPr>
            <a:endParaRPr kumimoji="0" lang="en-US" sz="2000" b="1" i="0" u="none" strike="noStrike" kern="0" cap="none" spc="-74" normalizeH="0" baseline="0" noProof="0" dirty="0">
              <a:ln>
                <a:noFill/>
              </a:ln>
              <a:solidFill>
                <a:srgbClr val="D86018"/>
              </a:solidFill>
              <a:effectLst/>
              <a:uLnTx/>
              <a:uFillTx/>
              <a:latin typeface="Arial" panose="020B0604020202020204" pitchFamily="34" charset="0"/>
              <a:ea typeface="MS PGothic" pitchFamily="34" charset="-128"/>
              <a:cs typeface="Arial" panose="020B0604020202020204" pitchFamily="34" charset="0"/>
            </a:endParaRPr>
          </a:p>
        </p:txBody>
      </p:sp>
      <p:sp>
        <p:nvSpPr>
          <p:cNvPr id="24" name="Text Placeholder 2">
            <a:extLst>
              <a:ext uri="{FF2B5EF4-FFF2-40B4-BE49-F238E27FC236}">
                <a16:creationId xmlns:a16="http://schemas.microsoft.com/office/drawing/2014/main" id="{A6D70E4F-5BBC-4C1E-AEB7-05BC1118E7E4}"/>
              </a:ext>
            </a:extLst>
          </p:cNvPr>
          <p:cNvSpPr txBox="1">
            <a:spLocks/>
          </p:cNvSpPr>
          <p:nvPr/>
        </p:nvSpPr>
        <p:spPr>
          <a:xfrm>
            <a:off x="312358" y="699961"/>
            <a:ext cx="11484157" cy="240541"/>
          </a:xfrm>
          <a:prstGeom prst="rect">
            <a:avLst/>
          </a:prstGeom>
        </p:spPr>
        <p:txBody>
          <a:bodyPr lIns="17131" tIns="8565" rIns="17131" bIns="8565" anchor="ctr"/>
          <a:lstStyle>
            <a:lvl1pPr marL="356871" indent="-356871" algn="l" rtl="0" eaLnBrk="1" fontAlgn="base" hangingPunct="1">
              <a:spcBef>
                <a:spcPct val="20000"/>
              </a:spcBef>
              <a:spcAft>
                <a:spcPct val="0"/>
              </a:spcAft>
              <a:buChar char="•"/>
              <a:defRPr sz="1200">
                <a:solidFill>
                  <a:srgbClr val="888888"/>
                </a:solidFill>
                <a:latin typeface="Arial"/>
                <a:ea typeface="MS PGothic" pitchFamily="34" charset="-128"/>
                <a:cs typeface="Arial"/>
              </a:defRPr>
            </a:lvl1pPr>
            <a:lvl2pPr marL="773219" indent="-297392" algn="l" rtl="0" eaLnBrk="1" fontAlgn="base" hangingPunct="1">
              <a:spcBef>
                <a:spcPct val="20000"/>
              </a:spcBef>
              <a:spcAft>
                <a:spcPct val="0"/>
              </a:spcAft>
              <a:buChar char="–"/>
              <a:defRPr sz="1200">
                <a:solidFill>
                  <a:srgbClr val="888888"/>
                </a:solidFill>
                <a:latin typeface="Arial"/>
                <a:ea typeface="MS PGothic" pitchFamily="34" charset="-128"/>
                <a:cs typeface="Arial"/>
              </a:defRPr>
            </a:lvl2pPr>
            <a:lvl3pPr marL="1189569"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3pPr>
            <a:lvl4pPr marL="1665396"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4pPr>
            <a:lvl5pPr marL="2141224"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5pPr>
            <a:lvl6pPr marL="2617260" indent="-237931" algn="l" rtl="0" eaLnBrk="1" latinLnBrk="0" hangingPunct="1">
              <a:spcBef>
                <a:spcPct val="20000"/>
              </a:spcBef>
              <a:buChar char="•"/>
              <a:defRPr sz="2133">
                <a:solidFill>
                  <a:schemeClr val="tx1"/>
                </a:solidFill>
                <a:latin typeface="+mn-lt"/>
                <a:ea typeface="+mn-ea"/>
                <a:cs typeface="+mn-cs"/>
              </a:defRPr>
            </a:lvl6pPr>
            <a:lvl7pPr marL="3093125" indent="-237931" algn="l" rtl="0" eaLnBrk="1" latinLnBrk="0" hangingPunct="1">
              <a:spcBef>
                <a:spcPct val="20000"/>
              </a:spcBef>
              <a:buChar char="•"/>
              <a:defRPr sz="2133">
                <a:solidFill>
                  <a:schemeClr val="tx1"/>
                </a:solidFill>
                <a:latin typeface="+mn-lt"/>
                <a:ea typeface="+mn-ea"/>
                <a:cs typeface="+mn-cs"/>
              </a:defRPr>
            </a:lvl7pPr>
            <a:lvl8pPr marL="3568992" indent="-237931" algn="l" rtl="0" eaLnBrk="1" latinLnBrk="0" hangingPunct="1">
              <a:spcBef>
                <a:spcPct val="20000"/>
              </a:spcBef>
              <a:buChar char="•"/>
              <a:defRPr sz="2133">
                <a:solidFill>
                  <a:schemeClr val="tx1"/>
                </a:solidFill>
                <a:latin typeface="+mn-lt"/>
                <a:ea typeface="+mn-ea"/>
                <a:cs typeface="+mn-cs"/>
              </a:defRPr>
            </a:lvl8pPr>
            <a:lvl9pPr marL="4044857" indent="-237931" algn="l" rtl="0" eaLnBrk="1" latinLnBrk="0" hangingPunct="1">
              <a:spcBef>
                <a:spcPct val="20000"/>
              </a:spcBef>
              <a:buChar char="•"/>
              <a:defRPr sz="2133">
                <a:solidFill>
                  <a:schemeClr val="tx1"/>
                </a:solidFill>
                <a:latin typeface="+mn-lt"/>
                <a:ea typeface="+mn-ea"/>
                <a:cs typeface="+mn-cs"/>
              </a:defRPr>
            </a:lvl9pPr>
          </a:lstStyle>
          <a:p>
            <a:pPr marL="0" indent="0">
              <a:buFontTx/>
              <a:buNone/>
            </a:pPr>
            <a:r>
              <a:rPr lang="en-US" sz="1600" kern="0" dirty="0">
                <a:latin typeface="+mn-lt"/>
                <a:ea typeface="Noto Sans" panose="020B0502040504020204" pitchFamily="34" charset="0"/>
                <a:cs typeface="Arial" panose="020B0604020202020204" pitchFamily="34" charset="0"/>
              </a:rPr>
              <a:t>Agility has a healthy cash flow generation and will continue to reinvest in its businesses</a:t>
            </a:r>
          </a:p>
        </p:txBody>
      </p:sp>
      <p:sp>
        <p:nvSpPr>
          <p:cNvPr id="25" name="Text Placeholder 8">
            <a:extLst>
              <a:ext uri="{FF2B5EF4-FFF2-40B4-BE49-F238E27FC236}">
                <a16:creationId xmlns:a16="http://schemas.microsoft.com/office/drawing/2014/main" id="{2382BF28-B9BD-4B9A-8F25-0DEA0CAF18C3}"/>
              </a:ext>
            </a:extLst>
          </p:cNvPr>
          <p:cNvSpPr txBox="1">
            <a:spLocks/>
          </p:cNvSpPr>
          <p:nvPr/>
        </p:nvSpPr>
        <p:spPr>
          <a:xfrm>
            <a:off x="312358" y="270508"/>
            <a:ext cx="10208103" cy="426585"/>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ea typeface="MS PGothic" pitchFamily="34" charset="-128"/>
                <a:cs typeface="Karla"/>
              </a:defRPr>
            </a:lvl1pPr>
            <a:lvl2pPr marL="773219" indent="-297392" algn="l" rtl="0" eaLnBrk="1" fontAlgn="base" hangingPunct="1">
              <a:spcBef>
                <a:spcPct val="20000"/>
              </a:spcBef>
              <a:spcAft>
                <a:spcPct val="0"/>
              </a:spcAft>
              <a:buChar char="–"/>
              <a:defRPr sz="1200">
                <a:solidFill>
                  <a:srgbClr val="888888"/>
                </a:solidFill>
                <a:latin typeface="Arial"/>
                <a:ea typeface="MS PGothic" pitchFamily="34" charset="-128"/>
                <a:cs typeface="Arial"/>
              </a:defRPr>
            </a:lvl2pPr>
            <a:lvl3pPr marL="1189569"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3pPr>
            <a:lvl4pPr marL="1665396"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4pPr>
            <a:lvl5pPr marL="2141224"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5pPr>
            <a:lvl6pPr marL="2617260" indent="-237931" algn="l" rtl="0" eaLnBrk="1" latinLnBrk="0" hangingPunct="1">
              <a:spcBef>
                <a:spcPct val="20000"/>
              </a:spcBef>
              <a:buChar char="•"/>
              <a:defRPr sz="2133">
                <a:solidFill>
                  <a:schemeClr val="tx1"/>
                </a:solidFill>
                <a:latin typeface="+mn-lt"/>
                <a:ea typeface="+mn-ea"/>
                <a:cs typeface="+mn-cs"/>
              </a:defRPr>
            </a:lvl6pPr>
            <a:lvl7pPr marL="3093125" indent="-237931" algn="l" rtl="0" eaLnBrk="1" latinLnBrk="0" hangingPunct="1">
              <a:spcBef>
                <a:spcPct val="20000"/>
              </a:spcBef>
              <a:buChar char="•"/>
              <a:defRPr sz="2133">
                <a:solidFill>
                  <a:schemeClr val="tx1"/>
                </a:solidFill>
                <a:latin typeface="+mn-lt"/>
                <a:ea typeface="+mn-ea"/>
                <a:cs typeface="+mn-cs"/>
              </a:defRPr>
            </a:lvl7pPr>
            <a:lvl8pPr marL="3568992" indent="-237931" algn="l" rtl="0" eaLnBrk="1" latinLnBrk="0" hangingPunct="1">
              <a:spcBef>
                <a:spcPct val="20000"/>
              </a:spcBef>
              <a:buChar char="•"/>
              <a:defRPr sz="2133">
                <a:solidFill>
                  <a:schemeClr val="tx1"/>
                </a:solidFill>
                <a:latin typeface="+mn-lt"/>
                <a:ea typeface="+mn-ea"/>
                <a:cs typeface="+mn-cs"/>
              </a:defRPr>
            </a:lvl8pPr>
            <a:lvl9pPr marL="4044857" indent="-237931" algn="l" rtl="0" eaLnBrk="1" latinLnBrk="0" hangingPunct="1">
              <a:spcBef>
                <a:spcPct val="20000"/>
              </a:spcBef>
              <a:buChar char="•"/>
              <a:defRPr sz="2133">
                <a:solidFill>
                  <a:schemeClr val="tx1"/>
                </a:solidFill>
                <a:latin typeface="+mn-lt"/>
                <a:ea typeface="+mn-ea"/>
                <a:cs typeface="+mn-cs"/>
              </a:defRPr>
            </a:lvl9pPr>
          </a:lstStyle>
          <a:p>
            <a:r>
              <a:rPr lang="en-US" kern="0" dirty="0"/>
              <a:t>Cash Flow Statement (KD </a:t>
            </a:r>
            <a:r>
              <a:rPr lang="en-US" kern="0" dirty="0" err="1"/>
              <a:t>Mln</a:t>
            </a:r>
            <a:r>
              <a:rPr lang="en-US" kern="0" dirty="0"/>
              <a:t>)</a:t>
            </a:r>
          </a:p>
        </p:txBody>
      </p:sp>
      <p:sp>
        <p:nvSpPr>
          <p:cNvPr id="26" name="TextBox 25">
            <a:extLst>
              <a:ext uri="{FF2B5EF4-FFF2-40B4-BE49-F238E27FC236}">
                <a16:creationId xmlns:a16="http://schemas.microsoft.com/office/drawing/2014/main" id="{F3B11931-2ECC-43F9-A1F3-E2E67E9A7DAD}"/>
              </a:ext>
            </a:extLst>
          </p:cNvPr>
          <p:cNvSpPr txBox="1"/>
          <p:nvPr/>
        </p:nvSpPr>
        <p:spPr>
          <a:xfrm>
            <a:off x="312358" y="5298861"/>
            <a:ext cx="1688634" cy="287994"/>
          </a:xfrm>
          <a:prstGeom prst="rect">
            <a:avLst/>
          </a:prstGeom>
          <a:solidFill>
            <a:schemeClr val="bg1"/>
          </a:solidFill>
          <a:ln>
            <a:noFill/>
          </a:ln>
        </p:spPr>
        <p:txBody>
          <a:bodyPr wrap="square" lIns="91440" tIns="0" rIns="0" bIns="0" rtlCol="0" anchor="ctr" anchorCtr="0">
            <a:noAutofit/>
          </a:bodyPr>
          <a:lstStyle/>
          <a:p>
            <a:pPr marL="0" marR="0" lvl="0" indent="0" algn="l" defTabSz="457109" rtl="0" eaLnBrk="1" fontAlgn="base" latinLnBrk="0" hangingPunct="1">
              <a:lnSpc>
                <a:spcPts val="1750"/>
              </a:lnSpc>
              <a:spcBef>
                <a:spcPct val="0"/>
              </a:spcBef>
              <a:spcAft>
                <a:spcPct val="0"/>
              </a:spcAft>
              <a:buClrTx/>
              <a:buSzTx/>
              <a:buFontTx/>
              <a:buNone/>
              <a:tabLst/>
              <a:defRPr/>
            </a:pPr>
            <a:r>
              <a:rPr lang="en-SG" sz="1200" b="1" u="sng" dirty="0">
                <a:cs typeface="Arial" panose="020B0604020202020204" pitchFamily="34" charset="0"/>
              </a:rPr>
              <a:t>Financial Metrics</a:t>
            </a:r>
            <a:endParaRPr lang="en-US" sz="1200" b="1" u="sng" dirty="0">
              <a:cs typeface="Arial" panose="020B0604020202020204" pitchFamily="34" charset="0"/>
            </a:endParaRPr>
          </a:p>
        </p:txBody>
      </p:sp>
      <p:sp>
        <p:nvSpPr>
          <p:cNvPr id="28" name="TextBox 27">
            <a:extLst>
              <a:ext uri="{FF2B5EF4-FFF2-40B4-BE49-F238E27FC236}">
                <a16:creationId xmlns:a16="http://schemas.microsoft.com/office/drawing/2014/main" id="{F4CD43AF-5D86-4F82-B350-B32AD600116F}"/>
              </a:ext>
            </a:extLst>
          </p:cNvPr>
          <p:cNvSpPr txBox="1"/>
          <p:nvPr/>
        </p:nvSpPr>
        <p:spPr>
          <a:xfrm>
            <a:off x="7404410" y="1253487"/>
            <a:ext cx="4520890" cy="756084"/>
          </a:xfrm>
          <a:prstGeom prst="rect">
            <a:avLst/>
          </a:prstGeom>
          <a:solidFill>
            <a:schemeClr val="bg1">
              <a:lumMod val="95000"/>
            </a:schemeClr>
          </a:solidFill>
          <a:ln>
            <a:noFill/>
          </a:ln>
        </p:spPr>
        <p:txBody>
          <a:bodyPr wrap="square" lIns="365760" tIns="0" rIns="0" bIns="0" rtlCol="0" anchor="ctr" anchorCtr="0">
            <a:noAutofit/>
          </a:bodyPr>
          <a:lstStyle/>
          <a:p>
            <a:pPr marL="0" marR="0" lvl="0" indent="0" defTabSz="914400" rtl="0" eaLnBrk="1" fontAlgn="auto" latinLnBrk="0" hangingPunct="1">
              <a:spcBef>
                <a:spcPts val="0"/>
              </a:spcBef>
              <a:spcAft>
                <a:spcPts val="0"/>
              </a:spcAft>
              <a:buClrTx/>
              <a:buSzTx/>
              <a:buFontTx/>
              <a:buNone/>
              <a:tabLst/>
              <a:defRPr/>
            </a:pPr>
            <a:r>
              <a:rPr kumimoji="0" lang="en-US" b="1" i="0" u="none" strike="noStrike" kern="1200" cap="none" spc="0" normalizeH="0" baseline="0" noProof="0" dirty="0">
                <a:ln>
                  <a:noFill/>
                </a:ln>
                <a:solidFill>
                  <a:schemeClr val="accent2"/>
                </a:solidFill>
                <a:effectLst/>
                <a:uLnTx/>
                <a:uFillTx/>
                <a:latin typeface="+mj-lt"/>
                <a:ea typeface="+mn-ea"/>
                <a:cs typeface="Arial" panose="020B0604020202020204" pitchFamily="34" charset="0"/>
              </a:rPr>
              <a:t>Capex and Investment</a:t>
            </a:r>
          </a:p>
        </p:txBody>
      </p:sp>
      <p:sp>
        <p:nvSpPr>
          <p:cNvPr id="29" name="Rectangle 28">
            <a:extLst>
              <a:ext uri="{FF2B5EF4-FFF2-40B4-BE49-F238E27FC236}">
                <a16:creationId xmlns:a16="http://schemas.microsoft.com/office/drawing/2014/main" id="{61FF411F-8A21-433B-BD60-D15868D3A0BA}"/>
              </a:ext>
            </a:extLst>
          </p:cNvPr>
          <p:cNvSpPr/>
          <p:nvPr/>
        </p:nvSpPr>
        <p:spPr>
          <a:xfrm>
            <a:off x="7404410" y="1253487"/>
            <a:ext cx="63229" cy="758952"/>
          </a:xfrm>
          <a:prstGeom prst="rect">
            <a:avLst/>
          </a:prstGeom>
          <a:solidFill>
            <a:srgbClr val="7C9FC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aphicFrame>
        <p:nvGraphicFramePr>
          <p:cNvPr id="18" name="Chart 17">
            <a:extLst>
              <a:ext uri="{FF2B5EF4-FFF2-40B4-BE49-F238E27FC236}">
                <a16:creationId xmlns:a16="http://schemas.microsoft.com/office/drawing/2014/main" id="{B18E57ED-FE1F-4DFC-C165-408496F4BA2D}"/>
              </a:ext>
            </a:extLst>
          </p:cNvPr>
          <p:cNvGraphicFramePr/>
          <p:nvPr>
            <p:custDataLst>
              <p:tags r:id="rId5"/>
            </p:custDataLst>
            <p:extLst>
              <p:ext uri="{D42A27DB-BD31-4B8C-83A1-F6EECF244321}">
                <p14:modId xmlns:p14="http://schemas.microsoft.com/office/powerpoint/2010/main" val="4173643467"/>
              </p:ext>
            </p:extLst>
          </p:nvPr>
        </p:nvGraphicFramePr>
        <p:xfrm>
          <a:off x="7546975" y="2393950"/>
          <a:ext cx="4332288" cy="3702050"/>
        </p:xfrm>
        <a:graphic>
          <a:graphicData uri="http://schemas.openxmlformats.org/drawingml/2006/chart">
            <c:chart xmlns:c="http://schemas.openxmlformats.org/drawingml/2006/chart" xmlns:r="http://schemas.openxmlformats.org/officeDocument/2006/relationships" r:id="rId24"/>
          </a:graphicData>
        </a:graphic>
      </p:graphicFrame>
      <p:sp>
        <p:nvSpPr>
          <p:cNvPr id="33" name="Rectangle 32"/>
          <p:cNvSpPr/>
          <p:nvPr>
            <p:custDataLst>
              <p:tags r:id="rId6"/>
            </p:custDataLst>
          </p:nvPr>
        </p:nvSpPr>
        <p:spPr bwMode="auto">
          <a:xfrm>
            <a:off x="7899400" y="5913438"/>
            <a:ext cx="292100"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lvl="0" algn="ctr">
              <a:spcBef>
                <a:spcPct val="0"/>
              </a:spcBef>
              <a:spcAft>
                <a:spcPct val="0"/>
              </a:spcAft>
              <a:defRPr/>
            </a:pPr>
            <a:fld id="{958787A8-6FFA-4FD3-A210-DC81DF339B4D}" type="datetime'''''2''0''''''''''''''1''''''9'''''''''''''''''''''''''">
              <a:rPr lang="en-US" altLang="en-US" sz="1000" b="1" smtClean="0">
                <a:solidFill>
                  <a:srgbClr val="474647"/>
                </a:solidFill>
              </a:rPr>
              <a:pPr lvl="0" algn="ctr">
                <a:spcBef>
                  <a:spcPct val="0"/>
                </a:spcBef>
                <a:spcAft>
                  <a:spcPct val="0"/>
                </a:spcAft>
                <a:defRPr/>
              </a:pPr>
              <a:t>2019</a:t>
            </a:fld>
            <a:endParaRPr kumimoji="0" lang="en-US" sz="1000" b="1" i="0" strike="noStrike" kern="1200" cap="none" spc="0" normalizeH="0" baseline="0" noProof="0">
              <a:ln>
                <a:noFill/>
              </a:ln>
              <a:solidFill>
                <a:srgbClr val="474647"/>
              </a:solidFill>
              <a:effectLst/>
              <a:uLnTx/>
              <a:uFillTx/>
              <a:cs typeface="Arial" panose="020B0604020202020204" pitchFamily="34" charset="0"/>
              <a:sym typeface="Arial" panose="020B0604020202020204" pitchFamily="34" charset="0"/>
            </a:endParaRPr>
          </a:p>
        </p:txBody>
      </p:sp>
      <p:sp>
        <p:nvSpPr>
          <p:cNvPr id="35" name="Rectangle 34"/>
          <p:cNvSpPr/>
          <p:nvPr>
            <p:custDataLst>
              <p:tags r:id="rId7"/>
            </p:custDataLst>
          </p:nvPr>
        </p:nvSpPr>
        <p:spPr bwMode="auto">
          <a:xfrm>
            <a:off x="8732838" y="5913438"/>
            <a:ext cx="292100"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lvl="0" algn="ctr">
              <a:spcBef>
                <a:spcPct val="0"/>
              </a:spcBef>
              <a:spcAft>
                <a:spcPct val="0"/>
              </a:spcAft>
              <a:defRPr/>
            </a:pPr>
            <a:fld id="{AC92AD1F-1E7E-4258-95A4-1A8B33BE8581}" type="datetime'''''''''''''''''''''''''''''''''''2''0''''2''''''''''''''0'''">
              <a:rPr lang="en-US" altLang="en-US" sz="1000" b="1" smtClean="0">
                <a:solidFill>
                  <a:srgbClr val="474647"/>
                </a:solidFill>
              </a:rPr>
              <a:pPr lvl="0" algn="ctr">
                <a:spcBef>
                  <a:spcPct val="0"/>
                </a:spcBef>
                <a:spcAft>
                  <a:spcPct val="0"/>
                </a:spcAft>
                <a:defRPr/>
              </a:pPr>
              <a:t>2020</a:t>
            </a:fld>
            <a:endParaRPr kumimoji="0" lang="en-US" sz="1000" b="1" i="0" strike="noStrike" kern="1200" cap="none" spc="0" normalizeH="0" baseline="0" noProof="0" dirty="0">
              <a:ln>
                <a:noFill/>
              </a:ln>
              <a:solidFill>
                <a:srgbClr val="474647"/>
              </a:solidFill>
              <a:effectLst/>
              <a:uLnTx/>
              <a:uFillTx/>
              <a:cs typeface="Arial" panose="020B0604020202020204" pitchFamily="34" charset="0"/>
              <a:sym typeface="Arial" panose="020B0604020202020204" pitchFamily="34" charset="0"/>
            </a:endParaRPr>
          </a:p>
        </p:txBody>
      </p:sp>
      <p:sp>
        <p:nvSpPr>
          <p:cNvPr id="36" name="Rectangle 35"/>
          <p:cNvSpPr/>
          <p:nvPr>
            <p:custDataLst>
              <p:tags r:id="rId8"/>
            </p:custDataLst>
          </p:nvPr>
        </p:nvSpPr>
        <p:spPr bwMode="auto">
          <a:xfrm>
            <a:off x="9566275" y="5913438"/>
            <a:ext cx="292100"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lvl="0" algn="ctr">
              <a:spcBef>
                <a:spcPct val="0"/>
              </a:spcBef>
              <a:spcAft>
                <a:spcPct val="0"/>
              </a:spcAft>
              <a:defRPr/>
            </a:pPr>
            <a:fld id="{E2ABA00B-0997-4A1B-962D-BD7ACEFFBDE9}" type="datetime'''''''''''''''2''''''''''''''''''''''''0''''2''''''1'''''">
              <a:rPr lang="en-US" altLang="en-US" sz="1000" b="1" smtClean="0">
                <a:solidFill>
                  <a:srgbClr val="474647"/>
                </a:solidFill>
              </a:rPr>
              <a:pPr/>
              <a:t>2021</a:t>
            </a:fld>
            <a:endParaRPr kumimoji="0" lang="en-US" sz="1000" b="1" i="0" strike="noStrike" kern="1200" cap="none" spc="0" normalizeH="0" baseline="0" noProof="0">
              <a:ln>
                <a:noFill/>
              </a:ln>
              <a:solidFill>
                <a:srgbClr val="474647"/>
              </a:solidFill>
              <a:effectLst/>
              <a:uLnTx/>
              <a:uFillTx/>
              <a:cs typeface="Arial" panose="020B0604020202020204" pitchFamily="34" charset="0"/>
              <a:sym typeface="Arial" panose="020B0604020202020204" pitchFamily="34" charset="0"/>
            </a:endParaRPr>
          </a:p>
        </p:txBody>
      </p:sp>
      <p:sp>
        <p:nvSpPr>
          <p:cNvPr id="23" name="Rectangle 22"/>
          <p:cNvSpPr/>
          <p:nvPr>
            <p:custDataLst>
              <p:tags r:id="rId9"/>
            </p:custDataLst>
          </p:nvPr>
        </p:nvSpPr>
        <p:spPr bwMode="auto">
          <a:xfrm>
            <a:off x="10399713" y="5913438"/>
            <a:ext cx="292100"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lvl="0" algn="ctr">
              <a:spcBef>
                <a:spcPct val="0"/>
              </a:spcBef>
              <a:spcAft>
                <a:spcPct val="0"/>
              </a:spcAft>
              <a:defRPr/>
            </a:pPr>
            <a:fld id="{650B4A5A-2B15-4C82-AFAA-3FE15EA662AD}" type="datetime'''2''''''''''''''''''0''''''''''''''''2''''''''''''''2'">
              <a:rPr lang="en-US" altLang="en-US" sz="1000" b="1" smtClean="0">
                <a:solidFill>
                  <a:srgbClr val="474647"/>
                </a:solidFill>
              </a:rPr>
              <a:pPr/>
              <a:t>2022</a:t>
            </a:fld>
            <a:endParaRPr kumimoji="0" lang="en-US" sz="1000" b="1" i="0" strike="noStrike" kern="1200" cap="none" spc="0" normalizeH="0" baseline="0" noProof="0" dirty="0">
              <a:ln>
                <a:noFill/>
              </a:ln>
              <a:solidFill>
                <a:srgbClr val="474647"/>
              </a:solidFill>
              <a:effectLst/>
              <a:uLnTx/>
              <a:uFillTx/>
              <a:cs typeface="Arial" panose="020B0604020202020204" pitchFamily="34" charset="0"/>
              <a:sym typeface="Arial" panose="020B0604020202020204" pitchFamily="34" charset="0"/>
            </a:endParaRPr>
          </a:p>
        </p:txBody>
      </p:sp>
      <p:sp>
        <p:nvSpPr>
          <p:cNvPr id="10" name="Rectangle 9">
            <a:extLst>
              <a:ext uri="{FF2B5EF4-FFF2-40B4-BE49-F238E27FC236}">
                <a16:creationId xmlns:a16="http://schemas.microsoft.com/office/drawing/2014/main" id="{AE88B8F5-AF52-E860-7BC4-080009113202}"/>
              </a:ext>
            </a:extLst>
          </p:cNvPr>
          <p:cNvSpPr/>
          <p:nvPr>
            <p:custDataLst>
              <p:tags r:id="rId10"/>
            </p:custDataLst>
          </p:nvPr>
        </p:nvSpPr>
        <p:spPr bwMode="auto">
          <a:xfrm>
            <a:off x="11122024" y="5913438"/>
            <a:ext cx="514350"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lvl="0" algn="ctr">
              <a:spcBef>
                <a:spcPct val="0"/>
              </a:spcBef>
              <a:spcAft>
                <a:spcPct val="0"/>
              </a:spcAft>
              <a:defRPr/>
            </a:pPr>
            <a:fld id="{6C1A18D9-B19C-4EAC-8F6A-5D6D6B5974B8}" type="datetime'''''''''''9''''''''M'''''''''' ''''2''''''''''02''''''''''3'">
              <a:rPr lang="en-US" altLang="en-US" sz="1000" b="1" smtClean="0">
                <a:solidFill>
                  <a:srgbClr val="474647"/>
                </a:solidFill>
              </a:rPr>
              <a:pPr/>
              <a:t>9M 2023</a:t>
            </a:fld>
            <a:endParaRPr kumimoji="0" lang="en-US" sz="1000" b="1" i="0" strike="noStrike" kern="1200" cap="none" spc="0" normalizeH="0" baseline="0" noProof="0" dirty="0">
              <a:ln>
                <a:noFill/>
              </a:ln>
              <a:solidFill>
                <a:srgbClr val="474647"/>
              </a:solidFill>
              <a:effectLst/>
              <a:uLnTx/>
              <a:uFillTx/>
              <a:cs typeface="Arial" panose="020B0604020202020204" pitchFamily="34" charset="0"/>
              <a:sym typeface="Arial" panose="020B0604020202020204" pitchFamily="34" charset="0"/>
            </a:endParaRPr>
          </a:p>
        </p:txBody>
      </p:sp>
      <p:sp>
        <p:nvSpPr>
          <p:cNvPr id="34" name="Rectangle 33"/>
          <p:cNvSpPr/>
          <p:nvPr>
            <p:custDataLst>
              <p:tags r:id="rId11"/>
            </p:custDataLst>
          </p:nvPr>
        </p:nvSpPr>
        <p:spPr bwMode="gray">
          <a:xfrm>
            <a:off x="7923213" y="2457450"/>
            <a:ext cx="244475" cy="136525"/>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BE51F035-E272-4A41-AE01-1338F8C35AEE}" type="datetime'''''''''''1''''''''''''''''''''0''''''''''''1'''''''">
              <a:rPr lang="en-US" altLang="en-US" sz="1000" smtClean="0">
                <a:solidFill>
                  <a:srgbClr val="474647"/>
                </a:solidFill>
              </a:rPr>
              <a:pPr lvl="0" algn="ctr">
                <a:lnSpc>
                  <a:spcPct val="90000"/>
                </a:lnSpc>
                <a:spcBef>
                  <a:spcPct val="0"/>
                </a:spcBef>
                <a:spcAft>
                  <a:spcPct val="0"/>
                </a:spcAft>
                <a:defRPr/>
              </a:pPr>
              <a:t>101</a:t>
            </a:fld>
            <a:endParaRPr kumimoji="0" lang="en-US" sz="1000" b="0" i="0" strike="noStrike" kern="1200" cap="none" spc="0" normalizeH="0" baseline="0" noProof="0">
              <a:ln>
                <a:noFill/>
              </a:ln>
              <a:solidFill>
                <a:srgbClr val="474647"/>
              </a:solidFill>
              <a:effectLst/>
              <a:uLnTx/>
              <a:uFillTx/>
              <a:cs typeface="Arial" panose="020B0604020202020204" pitchFamily="34" charset="0"/>
              <a:sym typeface="Arial" panose="020B0604020202020204" pitchFamily="34" charset="0"/>
            </a:endParaRPr>
          </a:p>
        </p:txBody>
      </p:sp>
      <p:sp>
        <p:nvSpPr>
          <p:cNvPr id="37" name="Rectangle 36"/>
          <p:cNvSpPr/>
          <p:nvPr>
            <p:custDataLst>
              <p:tags r:id="rId12"/>
            </p:custDataLst>
          </p:nvPr>
        </p:nvSpPr>
        <p:spPr bwMode="gray">
          <a:xfrm>
            <a:off x="8756650" y="2457450"/>
            <a:ext cx="244475" cy="136525"/>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F1615E1C-A4C5-4FDA-A075-EFD33E0ACD31}" type="datetime'''''''''1''''''3''''''''''''''''''''''0'''''''''''''''''''''">
              <a:rPr lang="en-US" altLang="en-US" sz="1000" smtClean="0">
                <a:solidFill>
                  <a:srgbClr val="474647"/>
                </a:solidFill>
              </a:rPr>
              <a:pPr/>
              <a:t>130</a:t>
            </a:fld>
            <a:endParaRPr kumimoji="0" lang="en-US" sz="1000" b="0" i="0" strike="noStrike" kern="1200" cap="none" spc="0" normalizeH="0" baseline="0" noProof="0">
              <a:ln>
                <a:noFill/>
              </a:ln>
              <a:solidFill>
                <a:srgbClr val="474647"/>
              </a:solidFill>
              <a:effectLst/>
              <a:uLnTx/>
              <a:uFillTx/>
              <a:cs typeface="Arial" panose="020B0604020202020204" pitchFamily="34" charset="0"/>
              <a:sym typeface="Arial" panose="020B0604020202020204" pitchFamily="34" charset="0"/>
            </a:endParaRPr>
          </a:p>
        </p:txBody>
      </p:sp>
      <p:sp>
        <p:nvSpPr>
          <p:cNvPr id="39" name="Rectangle 38"/>
          <p:cNvSpPr/>
          <p:nvPr>
            <p:custDataLst>
              <p:tags r:id="rId13"/>
            </p:custDataLst>
          </p:nvPr>
        </p:nvSpPr>
        <p:spPr bwMode="gray">
          <a:xfrm>
            <a:off x="9590088" y="2457450"/>
            <a:ext cx="244475" cy="136525"/>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7C0C336D-8198-44EE-9C79-E879A3B97433}" type="datetime'''1''''''''''''''''''''''''''''''''''''''''''''3''9'''">
              <a:rPr lang="en-US" altLang="en-US" sz="1000" smtClean="0">
                <a:solidFill>
                  <a:srgbClr val="474647"/>
                </a:solidFill>
              </a:rPr>
              <a:pPr/>
              <a:t>139</a:t>
            </a:fld>
            <a:endParaRPr kumimoji="0" lang="en-US" sz="1000" b="0" i="0" strike="noStrike" kern="1200" cap="none" spc="0" normalizeH="0" baseline="0" noProof="0">
              <a:ln>
                <a:noFill/>
              </a:ln>
              <a:solidFill>
                <a:srgbClr val="474647"/>
              </a:solidFill>
              <a:effectLst/>
              <a:uLnTx/>
              <a:uFillTx/>
              <a:cs typeface="Arial" panose="020B0604020202020204" pitchFamily="34" charset="0"/>
              <a:sym typeface="Arial" panose="020B0604020202020204" pitchFamily="34" charset="0"/>
            </a:endParaRPr>
          </a:p>
        </p:txBody>
      </p:sp>
      <p:sp>
        <p:nvSpPr>
          <p:cNvPr id="30" name="Rectangle 29"/>
          <p:cNvSpPr/>
          <p:nvPr>
            <p:custDataLst>
              <p:tags r:id="rId14"/>
            </p:custDataLst>
          </p:nvPr>
        </p:nvSpPr>
        <p:spPr bwMode="gray">
          <a:xfrm>
            <a:off x="10423525" y="2457450"/>
            <a:ext cx="244475" cy="136525"/>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D9C50C24-E310-4AF7-8512-F01AE4232A07}" type="datetime'''''''''''''''''''''''''''''''3''''''''''2''7'''''''''''">
              <a:rPr lang="en-US" altLang="en-US" sz="1000" smtClean="0">
                <a:solidFill>
                  <a:srgbClr val="474647"/>
                </a:solidFill>
              </a:rPr>
              <a:pPr/>
              <a:t>327</a:t>
            </a:fld>
            <a:endParaRPr lang="en-US" sz="1000" strike="noStrike" normalizeH="0" noProof="0">
              <a:ln>
                <a:noFill/>
              </a:ln>
              <a:solidFill>
                <a:srgbClr val="474647"/>
              </a:solidFill>
              <a:effectLst/>
              <a:uLnTx/>
              <a:uFillTx/>
              <a:sym typeface="Arial" panose="020B0604020202020204" pitchFamily="34" charset="0"/>
            </a:endParaRPr>
          </a:p>
        </p:txBody>
      </p:sp>
      <p:sp>
        <p:nvSpPr>
          <p:cNvPr id="19" name="Rectangle 18">
            <a:extLst>
              <a:ext uri="{FF2B5EF4-FFF2-40B4-BE49-F238E27FC236}">
                <a16:creationId xmlns:a16="http://schemas.microsoft.com/office/drawing/2014/main" id="{05B62293-ECD6-0E95-E681-1BDB60893D8D}"/>
              </a:ext>
            </a:extLst>
          </p:cNvPr>
          <p:cNvSpPr/>
          <p:nvPr>
            <p:custDataLst>
              <p:tags r:id="rId15"/>
            </p:custDataLst>
          </p:nvPr>
        </p:nvSpPr>
        <p:spPr bwMode="gray">
          <a:xfrm>
            <a:off x="11291888" y="2457450"/>
            <a:ext cx="174625" cy="136525"/>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b"/>
          <a:lstStyle/>
          <a:p>
            <a:pPr lvl="0" algn="ctr">
              <a:lnSpc>
                <a:spcPct val="90000"/>
              </a:lnSpc>
              <a:spcBef>
                <a:spcPct val="0"/>
              </a:spcBef>
              <a:spcAft>
                <a:spcPct val="0"/>
              </a:spcAft>
              <a:defRPr/>
            </a:pPr>
            <a:fld id="{E041A559-B608-4A7A-8145-AE9BC0704153}" type="datetime'''6''''''''''''''''''''''''''''''''''''''4'''''">
              <a:rPr lang="en-US" altLang="en-US" sz="1000" smtClean="0">
                <a:solidFill>
                  <a:srgbClr val="474647"/>
                </a:solidFill>
              </a:rPr>
              <a:pPr/>
              <a:t>64</a:t>
            </a:fld>
            <a:endParaRPr lang="en-US" sz="1000" strike="noStrike" normalizeH="0" noProof="0">
              <a:ln>
                <a:noFill/>
              </a:ln>
              <a:solidFill>
                <a:srgbClr val="474647"/>
              </a:solidFill>
              <a:effectLst/>
              <a:uLnTx/>
              <a:uFillTx/>
              <a:sym typeface="Arial" panose="020B0604020202020204" pitchFamily="34" charset="0"/>
            </a:endParaRPr>
          </a:p>
        </p:txBody>
      </p:sp>
      <p:sp>
        <p:nvSpPr>
          <p:cNvPr id="11" name="Rectangle 10"/>
          <p:cNvSpPr/>
          <p:nvPr>
            <p:custDataLst>
              <p:tags r:id="rId16"/>
            </p:custDataLst>
          </p:nvPr>
        </p:nvSpPr>
        <p:spPr bwMode="auto">
          <a:xfrm>
            <a:off x="7473950" y="6069013"/>
            <a:ext cx="142875" cy="106363"/>
          </a:xfrm>
          <a:prstGeom prst="rect">
            <a:avLst/>
          </a:prstGeom>
          <a:solidFill>
            <a:schemeClr val="accent3"/>
          </a:solidFill>
          <a:ln w="42500" cap="flat" cmpd="sng" algn="ctr">
            <a:noFill/>
            <a:prstDash val="solid"/>
            <a:round/>
            <a:headEnd type="none" w="med" len="med"/>
            <a:tailEnd type="none" w="med" len="med"/>
          </a:ln>
          <a:effectLst/>
          <a:extLs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Rectangle 11"/>
          <p:cNvSpPr/>
          <p:nvPr>
            <p:custDataLst>
              <p:tags r:id="rId17"/>
            </p:custDataLst>
          </p:nvPr>
        </p:nvSpPr>
        <p:spPr bwMode="auto">
          <a:xfrm>
            <a:off x="7473950" y="6242050"/>
            <a:ext cx="142875" cy="106363"/>
          </a:xfrm>
          <a:prstGeom prst="rect">
            <a:avLst/>
          </a:prstGeom>
          <a:solidFill>
            <a:schemeClr val="accent4"/>
          </a:solidFill>
          <a:ln w="42500" cap="flat" cmpd="sng" algn="ctr">
            <a:noFill/>
            <a:prstDash val="solid"/>
            <a:round/>
            <a:headEnd type="none" w="med" len="med"/>
            <a:tailEnd type="none" w="med" len="med"/>
          </a:ln>
          <a:effectLst/>
          <a:extLs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p:cNvSpPr/>
          <p:nvPr>
            <p:custDataLst>
              <p:tags r:id="rId18"/>
            </p:custDataLst>
          </p:nvPr>
        </p:nvSpPr>
        <p:spPr bwMode="auto">
          <a:xfrm>
            <a:off x="7667626" y="6064250"/>
            <a:ext cx="550863" cy="122238"/>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4AD435AC-1DE6-4CE5-842C-D393C820007D}" type="datetime'I''''''''nv''e''''''''''''''s''t''''m''en''''''''ts'">
              <a:rPr lang="en-US" altLang="en-US" sz="800" smtClean="0">
                <a:solidFill>
                  <a:schemeClr val="tx1"/>
                </a:solidFill>
                <a:latin typeface="Arial" panose="020B0604020202020204" pitchFamily="34" charset="0"/>
              </a:rPr>
              <a:pPr/>
              <a:t>Investments</a:t>
            </a:fld>
            <a:endParaRPr lang="en-US" sz="80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40" name="Rectangle 39"/>
          <p:cNvSpPr/>
          <p:nvPr>
            <p:custDataLst>
              <p:tags r:id="rId19"/>
            </p:custDataLst>
          </p:nvPr>
        </p:nvSpPr>
        <p:spPr bwMode="auto">
          <a:xfrm>
            <a:off x="7667625" y="6237288"/>
            <a:ext cx="465138" cy="122238"/>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spcBef>
                <a:spcPct val="0"/>
              </a:spcBef>
              <a:spcAft>
                <a:spcPct val="0"/>
              </a:spcAft>
            </a:pPr>
            <a:fld id="{FC3ACAD6-3A19-4B11-9588-FA10F05C3CF1}" type="datetime'''''''C''''on''''t''r''''o''''''l''''''''''l''e''''''''''''d'">
              <a:rPr lang="en-US" altLang="en-US" sz="800" smtClean="0">
                <a:solidFill>
                  <a:schemeClr val="tx1"/>
                </a:solidFill>
                <a:latin typeface="Arial" panose="020B0604020202020204" pitchFamily="34" charset="0"/>
              </a:rPr>
              <a:pPr/>
              <a:t>Controlled</a:t>
            </a:fld>
            <a:endParaRPr lang="en-US" sz="800" dirty="0">
              <a:solidFill>
                <a:schemeClr val="tx1"/>
              </a:solidFill>
              <a:latin typeface="Arial" panose="020B0604020202020204" pitchFamily="34" charset="0"/>
              <a:sym typeface="Arial" panose="020B0604020202020204" pitchFamily="34" charset="0"/>
            </a:endParaRPr>
          </a:p>
        </p:txBody>
      </p:sp>
      <p:sp>
        <p:nvSpPr>
          <p:cNvPr id="49" name="TextBox 48"/>
          <p:cNvSpPr txBox="1"/>
          <p:nvPr/>
        </p:nvSpPr>
        <p:spPr>
          <a:xfrm>
            <a:off x="7334397" y="6583173"/>
            <a:ext cx="3978127" cy="169459"/>
          </a:xfrm>
          <a:prstGeom prst="rect">
            <a:avLst/>
          </a:prstGeom>
          <a:noFill/>
          <a:ln>
            <a:noFill/>
          </a:ln>
        </p:spPr>
        <p:txBody>
          <a:bodyPr wrap="square" tIns="91440" bIns="91440" rtlCol="0" anchor="ctr" anchorCtr="0">
            <a:noAutofit/>
          </a:bodyPr>
          <a:lstStyle/>
          <a:p>
            <a:pPr defTabSz="457109" fontAlgn="base">
              <a:spcBef>
                <a:spcPct val="0"/>
              </a:spcBef>
              <a:spcAft>
                <a:spcPct val="0"/>
              </a:spcAft>
            </a:pPr>
            <a:r>
              <a:rPr lang="en-US" sz="800" dirty="0">
                <a:solidFill>
                  <a:srgbClr val="474647"/>
                </a:solidFill>
                <a:ea typeface="ＭＳ Ｐゴシック" charset="0"/>
                <a:cs typeface="Etelka Text Pro"/>
              </a:rPr>
              <a:t>2022 capex  includes HG Storage and John Menzies acquisition</a:t>
            </a:r>
          </a:p>
        </p:txBody>
      </p:sp>
      <p:sp>
        <p:nvSpPr>
          <p:cNvPr id="2" name="Rectangle 1">
            <a:extLst>
              <a:ext uri="{FF2B5EF4-FFF2-40B4-BE49-F238E27FC236}">
                <a16:creationId xmlns:a16="http://schemas.microsoft.com/office/drawing/2014/main" id="{69B24698-F81C-A8E7-1A95-90D5887928A0}"/>
              </a:ext>
            </a:extLst>
          </p:cNvPr>
          <p:cNvSpPr/>
          <p:nvPr/>
        </p:nvSpPr>
        <p:spPr>
          <a:xfrm>
            <a:off x="266700" y="6558234"/>
            <a:ext cx="3016898" cy="215444"/>
          </a:xfrm>
          <a:prstGeom prst="rect">
            <a:avLst/>
          </a:prstGeom>
        </p:spPr>
        <p:txBody>
          <a:bodyPr wrap="square">
            <a:spAutoFit/>
          </a:bodyPr>
          <a:lstStyle/>
          <a:p>
            <a:pPr marR="0" lvl="0" algn="l" defTabSz="914217" rtl="0" eaLnBrk="1" fontAlgn="auto" latinLnBrk="0" hangingPunct="1">
              <a:lnSpc>
                <a:spcPct val="100000"/>
              </a:lnSpc>
              <a:spcBef>
                <a:spcPts val="0"/>
              </a:spcBef>
              <a:spcAft>
                <a:spcPts val="0"/>
              </a:spcAft>
              <a:buClrTx/>
              <a:buSzTx/>
              <a:tabLst/>
              <a:defRPr/>
            </a:pPr>
            <a:r>
              <a:rPr lang="en-US" sz="800" baseline="30000" dirty="0">
                <a:solidFill>
                  <a:srgbClr val="4B4B4B"/>
                </a:solidFill>
                <a:latin typeface="Noto Sans"/>
                <a:ea typeface="ＭＳ Ｐゴシック" charset="0"/>
                <a:cs typeface="Arial" panose="020B0604020202020204" pitchFamily="34" charset="0"/>
              </a:rPr>
              <a:t>1</a:t>
            </a:r>
            <a:r>
              <a:rPr kumimoji="0" lang="en-US" sz="800" b="0" i="0" u="none" strike="noStrike" kern="1200" cap="none" spc="0" normalizeH="0" baseline="0" noProof="0" dirty="0">
                <a:ln>
                  <a:noFill/>
                </a:ln>
                <a:solidFill>
                  <a:srgbClr val="4B4B4B"/>
                </a:solidFill>
                <a:effectLst/>
                <a:uLnTx/>
                <a:uFillTx/>
                <a:latin typeface="Noto Sans"/>
                <a:ea typeface="ＭＳ Ｐゴシック" charset="0"/>
                <a:cs typeface="Arial" panose="020B0604020202020204" pitchFamily="34" charset="0"/>
              </a:rPr>
              <a:t> Investments &amp; </a:t>
            </a:r>
            <a:r>
              <a:rPr lang="en-US" sz="800" dirty="0">
                <a:solidFill>
                  <a:srgbClr val="4B4B4B"/>
                </a:solidFill>
                <a:latin typeface="Noto Sans"/>
                <a:ea typeface="ＭＳ Ｐゴシック" charset="0"/>
                <a:cs typeface="Arial" panose="020B0604020202020204" pitchFamily="34" charset="0"/>
              </a:rPr>
              <a:t>Acquisitions</a:t>
            </a:r>
            <a:endParaRPr kumimoji="0" lang="en-US" sz="800" b="0" i="0" u="none" strike="noStrike" kern="1200" cap="none" spc="0" normalizeH="0" baseline="0" noProof="0" dirty="0">
              <a:ln>
                <a:noFill/>
              </a:ln>
              <a:solidFill>
                <a:srgbClr val="474647"/>
              </a:solidFill>
              <a:effectLst/>
              <a:uLnTx/>
              <a:uFillTx/>
              <a:latin typeface="Noto Sans"/>
              <a:ea typeface="ＭＳ Ｐゴシック" charset="0"/>
              <a:cs typeface="Arial" panose="020B0604020202020204" pitchFamily="34" charset="0"/>
            </a:endParaRPr>
          </a:p>
        </p:txBody>
      </p:sp>
    </p:spTree>
    <p:extLst>
      <p:ext uri="{BB962C8B-B14F-4D97-AF65-F5344CB8AC3E}">
        <p14:creationId xmlns:p14="http://schemas.microsoft.com/office/powerpoint/2010/main" val="152660396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D8FEE6A-ACD4-4BF3-AE16-DD2864AD74E0}"/>
              </a:ext>
            </a:extLst>
          </p:cNvPr>
          <p:cNvGraphicFramePr>
            <a:graphicFrameLocks noChangeAspect="1"/>
          </p:cNvGraphicFramePr>
          <p:nvPr>
            <p:custDataLst>
              <p:tags r:id="rId1"/>
            </p:custDataLst>
            <p:extLst>
              <p:ext uri="{D42A27DB-BD31-4B8C-83A1-F6EECF244321}">
                <p14:modId xmlns:p14="http://schemas.microsoft.com/office/powerpoint/2010/main" val="1603758474"/>
              </p:ext>
            </p:extLst>
          </p:nvPr>
        </p:nvGraphicFramePr>
        <p:xfrm>
          <a:off x="794" y="1240"/>
          <a:ext cx="794" cy="794"/>
        </p:xfrm>
        <a:graphic>
          <a:graphicData uri="http://schemas.openxmlformats.org/presentationml/2006/ole">
            <mc:AlternateContent xmlns:mc="http://schemas.openxmlformats.org/markup-compatibility/2006">
              <mc:Choice xmlns:v="urn:schemas-microsoft-com:vml" Requires="v">
                <p:oleObj name="think-cell Slide" r:id="rId4" imgW="381" imgH="381" progId="TCLayout.ActiveDocument.1">
                  <p:embed/>
                </p:oleObj>
              </mc:Choice>
              <mc:Fallback>
                <p:oleObj name="think-cell Slide" r:id="rId4" imgW="381" imgH="381" progId="TCLayout.ActiveDocument.1">
                  <p:embed/>
                  <p:pic>
                    <p:nvPicPr>
                      <p:cNvPr id="4" name="Object 3" hidden="1">
                        <a:extLst>
                          <a:ext uri="{FF2B5EF4-FFF2-40B4-BE49-F238E27FC236}">
                            <a16:creationId xmlns:a16="http://schemas.microsoft.com/office/drawing/2014/main" id="{6D8FEE6A-ACD4-4BF3-AE16-DD2864AD74E0}"/>
                          </a:ext>
                        </a:extLst>
                      </p:cNvPr>
                      <p:cNvPicPr/>
                      <p:nvPr/>
                    </p:nvPicPr>
                    <p:blipFill>
                      <a:blip r:embed="rId5"/>
                      <a:stretch>
                        <a:fillRect/>
                      </a:stretch>
                    </p:blipFill>
                    <p:spPr>
                      <a:xfrm>
                        <a:off x="794" y="1240"/>
                        <a:ext cx="794" cy="794"/>
                      </a:xfrm>
                      <a:prstGeom prst="rect">
                        <a:avLst/>
                      </a:prstGeom>
                    </p:spPr>
                  </p:pic>
                </p:oleObj>
              </mc:Fallback>
            </mc:AlternateContent>
          </a:graphicData>
        </a:graphic>
      </p:graphicFrame>
      <p:sp>
        <p:nvSpPr>
          <p:cNvPr id="35" name="Oval 34">
            <a:extLst>
              <a:ext uri="{FF2B5EF4-FFF2-40B4-BE49-F238E27FC236}">
                <a16:creationId xmlns:a16="http://schemas.microsoft.com/office/drawing/2014/main" id="{763B639E-3A52-C367-272F-11F6849BCB71}"/>
              </a:ext>
            </a:extLst>
          </p:cNvPr>
          <p:cNvSpPr/>
          <p:nvPr/>
        </p:nvSpPr>
        <p:spPr>
          <a:xfrm rot="5400000">
            <a:off x="4390369" y="3195994"/>
            <a:ext cx="304047" cy="304047"/>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sp>
        <p:nvSpPr>
          <p:cNvPr id="2" name="Text Placeholder 1">
            <a:extLst>
              <a:ext uri="{FF2B5EF4-FFF2-40B4-BE49-F238E27FC236}">
                <a16:creationId xmlns:a16="http://schemas.microsoft.com/office/drawing/2014/main" id="{BFE2C645-7654-4374-980B-508BD868778B}"/>
              </a:ext>
            </a:extLst>
          </p:cNvPr>
          <p:cNvSpPr>
            <a:spLocks noGrp="1"/>
          </p:cNvSpPr>
          <p:nvPr>
            <p:ph type="body" sz="quarter" idx="34"/>
          </p:nvPr>
        </p:nvSpPr>
        <p:spPr>
          <a:xfrm>
            <a:off x="377170" y="390196"/>
            <a:ext cx="9323822" cy="342859"/>
          </a:xfrm>
        </p:spPr>
        <p:txBody>
          <a:bodyPr vert="horz" lIns="17131" tIns="8565" rIns="17131" bIns="8565"/>
          <a:lstStyle/>
          <a:p>
            <a:r>
              <a:rPr lang="en-US" dirty="0">
                <a:solidFill>
                  <a:srgbClr val="D86018"/>
                </a:solidFill>
                <a:latin typeface="Karla"/>
              </a:rPr>
              <a:t>Agility’s Operating entities delivering healthy growth</a:t>
            </a:r>
          </a:p>
          <a:p>
            <a:r>
              <a:rPr lang="en-US" dirty="0">
                <a:solidFill>
                  <a:srgbClr val="D86018"/>
                </a:solidFill>
                <a:latin typeface="Karla"/>
              </a:rPr>
              <a:t>Q3 2023</a:t>
            </a:r>
          </a:p>
        </p:txBody>
      </p:sp>
      <p:sp>
        <p:nvSpPr>
          <p:cNvPr id="66" name="Rectangle 65">
            <a:extLst>
              <a:ext uri="{FF2B5EF4-FFF2-40B4-BE49-F238E27FC236}">
                <a16:creationId xmlns:a16="http://schemas.microsoft.com/office/drawing/2014/main" id="{59077742-C3EC-4C52-996A-E08ED0E9670E}"/>
              </a:ext>
            </a:extLst>
          </p:cNvPr>
          <p:cNvSpPr/>
          <p:nvPr/>
        </p:nvSpPr>
        <p:spPr>
          <a:xfrm>
            <a:off x="206326" y="1547332"/>
            <a:ext cx="3729222" cy="485723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ctr">
              <a:buFont typeface="Arial" panose="020B0604020202020204" pitchFamily="34" charset="0"/>
              <a:buChar char="•"/>
            </a:pPr>
            <a:endParaRPr lang="en-ID" sz="900"/>
          </a:p>
        </p:txBody>
      </p:sp>
      <p:sp>
        <p:nvSpPr>
          <p:cNvPr id="80" name="Rectangle 79">
            <a:extLst>
              <a:ext uri="{FF2B5EF4-FFF2-40B4-BE49-F238E27FC236}">
                <a16:creationId xmlns:a16="http://schemas.microsoft.com/office/drawing/2014/main" id="{8D0FD6EB-27FD-4DA1-8FA0-5FDB2880AB81}"/>
              </a:ext>
            </a:extLst>
          </p:cNvPr>
          <p:cNvSpPr/>
          <p:nvPr/>
        </p:nvSpPr>
        <p:spPr>
          <a:xfrm>
            <a:off x="337227" y="1854667"/>
            <a:ext cx="2153531" cy="246221"/>
          </a:xfrm>
          <a:prstGeom prst="rect">
            <a:avLst/>
          </a:prstGeom>
        </p:spPr>
        <p:txBody>
          <a:bodyPr wrap="square" lIns="0" tIns="0" rIns="0" bIns="0" anchor="t">
            <a:spAutoFit/>
          </a:bodyPr>
          <a:lstStyle/>
          <a:p>
            <a:r>
              <a:rPr lang="en-US" sz="1600" b="1" dirty="0">
                <a:solidFill>
                  <a:schemeClr val="tx2"/>
                </a:solidFill>
                <a:latin typeface="Noto Sans" panose="020B0502040504020204" pitchFamily="34" charset="0"/>
                <a:ea typeface="Noto Sans" panose="020B0502040504020204" pitchFamily="34" charset="0"/>
                <a:cs typeface="Noto Sans" panose="020B0502040504020204" pitchFamily="34" charset="0"/>
              </a:rPr>
              <a:t>Aviation Services</a:t>
            </a:r>
          </a:p>
        </p:txBody>
      </p:sp>
      <p:sp>
        <p:nvSpPr>
          <p:cNvPr id="81" name="Rectangle 80">
            <a:extLst>
              <a:ext uri="{FF2B5EF4-FFF2-40B4-BE49-F238E27FC236}">
                <a16:creationId xmlns:a16="http://schemas.microsoft.com/office/drawing/2014/main" id="{479B0FCA-3D63-4444-816F-D116BA9EE3B3}"/>
              </a:ext>
            </a:extLst>
          </p:cNvPr>
          <p:cNvSpPr/>
          <p:nvPr/>
        </p:nvSpPr>
        <p:spPr>
          <a:xfrm>
            <a:off x="640766" y="2206250"/>
            <a:ext cx="2153531" cy="215444"/>
          </a:xfrm>
          <a:prstGeom prst="rect">
            <a:avLst/>
          </a:prstGeom>
        </p:spPr>
        <p:txBody>
          <a:bodyPr wrap="square" lIns="0" tIns="0" rIns="0" bIns="0" anchor="t">
            <a:spAutoFit/>
          </a:bodyPr>
          <a:lstStyle/>
          <a:p>
            <a:r>
              <a:rPr lang="en-US" sz="1400" dirty="0">
                <a:latin typeface="Noto Sans" panose="020B0502040504020204" pitchFamily="34" charset="0"/>
                <a:ea typeface="Noto Sans" panose="020B0502040504020204" pitchFamily="34" charset="0"/>
                <a:cs typeface="Noto Sans" panose="020B0502040504020204" pitchFamily="34" charset="0"/>
              </a:rPr>
              <a:t> </a:t>
            </a:r>
          </a:p>
        </p:txBody>
      </p:sp>
      <p:cxnSp>
        <p:nvCxnSpPr>
          <p:cNvPr id="82" name="Straight Connector 81">
            <a:extLst>
              <a:ext uri="{FF2B5EF4-FFF2-40B4-BE49-F238E27FC236}">
                <a16:creationId xmlns:a16="http://schemas.microsoft.com/office/drawing/2014/main" id="{79F3F5E0-7A1F-43E6-B3D1-10E51CE62E8E}"/>
              </a:ext>
            </a:extLst>
          </p:cNvPr>
          <p:cNvCxnSpPr>
            <a:cxnSpLocks/>
          </p:cNvCxnSpPr>
          <p:nvPr/>
        </p:nvCxnSpPr>
        <p:spPr>
          <a:xfrm>
            <a:off x="592110" y="1564159"/>
            <a:ext cx="40087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1" name="Rectangle 10">
            <a:extLst>
              <a:ext uri="{FF2B5EF4-FFF2-40B4-BE49-F238E27FC236}">
                <a16:creationId xmlns:a16="http://schemas.microsoft.com/office/drawing/2014/main" id="{7628FE81-E633-2C21-57CB-E0A277144707}"/>
              </a:ext>
            </a:extLst>
          </p:cNvPr>
          <p:cNvSpPr/>
          <p:nvPr/>
        </p:nvSpPr>
        <p:spPr>
          <a:xfrm>
            <a:off x="337228" y="3492197"/>
            <a:ext cx="3310434" cy="1915909"/>
          </a:xfrm>
          <a:prstGeom prst="rect">
            <a:avLst/>
          </a:prstGeom>
        </p:spPr>
        <p:txBody>
          <a:bodyPr wrap="square" lIns="0" tIns="0" rIns="0" bIns="0" anchor="t">
            <a:spAutoFit/>
          </a:bodyPr>
          <a:lstStyle/>
          <a:p>
            <a:pPr algn="just"/>
            <a:endParaRPr lang="en-US" sz="1050" dirty="0">
              <a:latin typeface="Noto Sans" panose="020B0502040504020204" pitchFamily="34" charset="0"/>
              <a:ea typeface="Noto Sans" panose="020B0502040504020204" pitchFamily="34" charset="0"/>
              <a:cs typeface="Noto Sans" panose="020B0502040504020204" pitchFamily="34" charset="0"/>
            </a:endParaRPr>
          </a:p>
          <a:p>
            <a:pPr algn="just"/>
            <a:r>
              <a:rPr lang="en-SG" sz="1050" dirty="0">
                <a:latin typeface="Noto Sans" panose="020B0502040504020204" pitchFamily="34" charset="0"/>
                <a:ea typeface="Noto Sans" panose="020B0502040504020204" pitchFamily="34" charset="0"/>
                <a:cs typeface="Noto Sans" panose="020B0502040504020204" pitchFamily="34" charset="0"/>
              </a:rPr>
              <a:t>Menzies has benefitted from the post-pandemic recovery. Passenger flights to and from Europe, the Americas and the Middle East are back to pre-pandemic levels, whereas traffic in Southeast Asia and Australia is steadily recovering, whereas, volume in Africa remains below pre-Covid levels. </a:t>
            </a:r>
            <a:endParaRPr lang="en-US" sz="1050" dirty="0">
              <a:latin typeface="Noto Sans" panose="020B0502040504020204" pitchFamily="34" charset="0"/>
              <a:ea typeface="Noto Sans" panose="020B0502040504020204" pitchFamily="34" charset="0"/>
              <a:cs typeface="Noto Sans" panose="020B0502040504020204" pitchFamily="34" charset="0"/>
            </a:endParaRPr>
          </a:p>
          <a:p>
            <a:pPr algn="just"/>
            <a:r>
              <a:rPr lang="en-SG" sz="1050" dirty="0">
                <a:latin typeface="Noto Sans" panose="020B0502040504020204" pitchFamily="34" charset="0"/>
                <a:ea typeface="Noto Sans" panose="020B0502040504020204" pitchFamily="34" charset="0"/>
                <a:cs typeface="Noto Sans" panose="020B0502040504020204" pitchFamily="34" charset="0"/>
              </a:rPr>
              <a:t>Menzies has a number of new operations that it has launched or acquired during this quarter.</a:t>
            </a:r>
            <a:endParaRPr lang="en-US" sz="1050" dirty="0">
              <a:latin typeface="Noto Sans" panose="020B0502040504020204" pitchFamily="34" charset="0"/>
              <a:ea typeface="Noto Sans" panose="020B0502040504020204" pitchFamily="34" charset="0"/>
              <a:cs typeface="Noto Sans" panose="020B0502040504020204" pitchFamily="34" charset="0"/>
            </a:endParaRPr>
          </a:p>
          <a:p>
            <a:pPr algn="just"/>
            <a:endParaRPr lang="en-US" sz="1000" dirty="0">
              <a:latin typeface="Noto Sans" panose="020B0502040504020204" pitchFamily="34" charset="0"/>
              <a:ea typeface="Noto Sans" panose="020B0502040504020204" pitchFamily="34" charset="0"/>
              <a:cs typeface="Noto Sans" panose="020B0502040504020204" pitchFamily="34" charset="0"/>
            </a:endParaRPr>
          </a:p>
          <a:p>
            <a:pPr algn="just"/>
            <a:endParaRPr lang="en-US" sz="1000" dirty="0">
              <a:latin typeface="Noto Sans" panose="020B0502040504020204" pitchFamily="34" charset="0"/>
              <a:ea typeface="Noto Sans" panose="020B0502040504020204" pitchFamily="34" charset="0"/>
              <a:cs typeface="Noto Sans" panose="020B0502040504020204" pitchFamily="34" charset="0"/>
            </a:endParaRPr>
          </a:p>
          <a:p>
            <a:endParaRPr lang="en-US" sz="1000" dirty="0">
              <a:latin typeface="Noto Sans" panose="020B0502040504020204" pitchFamily="34" charset="0"/>
              <a:ea typeface="Noto Sans" panose="020B0502040504020204" pitchFamily="34" charset="0"/>
              <a:cs typeface="Noto Sans" panose="020B0502040504020204" pitchFamily="34" charset="0"/>
            </a:endParaRPr>
          </a:p>
        </p:txBody>
      </p:sp>
      <p:sp>
        <p:nvSpPr>
          <p:cNvPr id="12" name="Rectangle 11">
            <a:extLst>
              <a:ext uri="{FF2B5EF4-FFF2-40B4-BE49-F238E27FC236}">
                <a16:creationId xmlns:a16="http://schemas.microsoft.com/office/drawing/2014/main" id="{2EE719C4-AF76-1629-D603-2D963782AB21}"/>
              </a:ext>
            </a:extLst>
          </p:cNvPr>
          <p:cNvSpPr/>
          <p:nvPr/>
        </p:nvSpPr>
        <p:spPr>
          <a:xfrm>
            <a:off x="333689" y="3349209"/>
            <a:ext cx="2153531" cy="246221"/>
          </a:xfrm>
          <a:prstGeom prst="rect">
            <a:avLst/>
          </a:prstGeom>
        </p:spPr>
        <p:txBody>
          <a:bodyPr wrap="square" lIns="0" tIns="0" rIns="0" bIns="0" anchor="t">
            <a:spAutoFit/>
          </a:bodyPr>
          <a:lstStyle/>
          <a:p>
            <a:pPr marL="285750" indent="-285750">
              <a:buFont typeface="Noto Sans" panose="020B0502040504020204" pitchFamily="34" charset="0"/>
              <a:buChar char="►"/>
            </a:pPr>
            <a:r>
              <a:rPr lang="en-US" sz="1600" b="1" dirty="0">
                <a:solidFill>
                  <a:schemeClr val="tx2"/>
                </a:solidFill>
                <a:latin typeface="Noto Sans" panose="020B0502040504020204" pitchFamily="34" charset="0"/>
                <a:ea typeface="Noto Sans" panose="020B0502040504020204" pitchFamily="34" charset="0"/>
                <a:cs typeface="Noto Sans" panose="020B0502040504020204" pitchFamily="34" charset="0"/>
              </a:rPr>
              <a:t>Growth Drivers</a:t>
            </a:r>
          </a:p>
        </p:txBody>
      </p:sp>
      <p:pic>
        <p:nvPicPr>
          <p:cNvPr id="23" name="Graphic 22">
            <a:extLst>
              <a:ext uri="{FF2B5EF4-FFF2-40B4-BE49-F238E27FC236}">
                <a16:creationId xmlns:a16="http://schemas.microsoft.com/office/drawing/2014/main" id="{8BB66AD7-B820-4EFE-E129-B93913750279}"/>
              </a:ext>
            </a:extLst>
          </p:cNvPr>
          <p:cNvPicPr>
            <a:picLocks noChangeAspect="1"/>
          </p:cNvPicPr>
          <p:nvPr/>
        </p:nvPicPr>
        <p:blipFill>
          <a:blip r:embed="rId6" cstate="email">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flipV="1">
            <a:off x="3221475" y="1696279"/>
            <a:ext cx="606897" cy="511528"/>
          </a:xfrm>
          <a:prstGeom prst="rect">
            <a:avLst/>
          </a:prstGeom>
        </p:spPr>
      </p:pic>
      <p:sp>
        <p:nvSpPr>
          <p:cNvPr id="17" name="TextBox 16">
            <a:extLst>
              <a:ext uri="{FF2B5EF4-FFF2-40B4-BE49-F238E27FC236}">
                <a16:creationId xmlns:a16="http://schemas.microsoft.com/office/drawing/2014/main" id="{D4C816BA-0DC7-77E1-14AE-7B977B73E7F8}"/>
              </a:ext>
            </a:extLst>
          </p:cNvPr>
          <p:cNvSpPr txBox="1"/>
          <p:nvPr/>
        </p:nvSpPr>
        <p:spPr>
          <a:xfrm>
            <a:off x="361055" y="2317248"/>
            <a:ext cx="2483392" cy="798657"/>
          </a:xfrm>
          <a:prstGeom prst="rect">
            <a:avLst/>
          </a:prstGeom>
          <a:noFill/>
          <a:ln>
            <a:noFill/>
          </a:ln>
        </p:spPr>
        <p:txBody>
          <a:bodyPr wrap="square" lIns="0" tIns="0" rIns="0" bIns="0" rtlCol="0" anchor="t" anchorCtr="0">
            <a:noAutofit/>
          </a:bodyPr>
          <a:lstStyle/>
          <a:p>
            <a:pPr algn="l"/>
            <a:r>
              <a:rPr lang="en-ID" sz="2800" dirty="0">
                <a:solidFill>
                  <a:srgbClr val="00B050"/>
                </a:solidFill>
                <a:latin typeface="Arial Nova" panose="020B0504020202020204" pitchFamily="34" charset="0"/>
                <a:cs typeface="Etelka Text Pro"/>
              </a:rPr>
              <a:t>+66% </a:t>
            </a:r>
          </a:p>
          <a:p>
            <a:pPr algn="l"/>
            <a:r>
              <a:rPr lang="en-ID" sz="900" dirty="0">
                <a:latin typeface="Arial Nova" panose="020B0504020202020204" pitchFamily="34" charset="0"/>
                <a:ea typeface="Noto Sans" panose="020B0502040504020204" pitchFamily="34" charset="0"/>
                <a:cs typeface="Noto Sans" panose="020B0502040504020204" pitchFamily="34" charset="0"/>
              </a:rPr>
              <a:t>revenue growth Vs Q3 last year</a:t>
            </a:r>
            <a:endParaRPr lang="en-ID" sz="1200" dirty="0">
              <a:latin typeface="Arial Nova" panose="020B0504020202020204" pitchFamily="34" charset="0"/>
              <a:ea typeface="Noto Sans" panose="020B0502040504020204" pitchFamily="34" charset="0"/>
              <a:cs typeface="Noto Sans" panose="020B0502040504020204" pitchFamily="34" charset="0"/>
            </a:endParaRPr>
          </a:p>
        </p:txBody>
      </p:sp>
      <p:sp>
        <p:nvSpPr>
          <p:cNvPr id="19" name="Rectangle 18">
            <a:extLst>
              <a:ext uri="{FF2B5EF4-FFF2-40B4-BE49-F238E27FC236}">
                <a16:creationId xmlns:a16="http://schemas.microsoft.com/office/drawing/2014/main" id="{CFE53DCD-2EDC-EE57-F341-763E2CE9550F}"/>
              </a:ext>
            </a:extLst>
          </p:cNvPr>
          <p:cNvSpPr/>
          <p:nvPr/>
        </p:nvSpPr>
        <p:spPr>
          <a:xfrm>
            <a:off x="4226040" y="1547331"/>
            <a:ext cx="3729222" cy="4857239"/>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ctr">
              <a:buFont typeface="Arial" panose="020B0604020202020204" pitchFamily="34" charset="0"/>
              <a:buChar char="•"/>
            </a:pPr>
            <a:endParaRPr lang="en-ID" sz="900"/>
          </a:p>
        </p:txBody>
      </p:sp>
      <p:sp>
        <p:nvSpPr>
          <p:cNvPr id="20" name="Rectangle 19">
            <a:extLst>
              <a:ext uri="{FF2B5EF4-FFF2-40B4-BE49-F238E27FC236}">
                <a16:creationId xmlns:a16="http://schemas.microsoft.com/office/drawing/2014/main" id="{DE45D126-FDDD-84AE-05DF-43BC23958BB3}"/>
              </a:ext>
            </a:extLst>
          </p:cNvPr>
          <p:cNvSpPr/>
          <p:nvPr/>
        </p:nvSpPr>
        <p:spPr>
          <a:xfrm>
            <a:off x="8256452" y="1547332"/>
            <a:ext cx="3729222" cy="4857238"/>
          </a:xfrm>
          <a:prstGeom prst="rect">
            <a:avLst/>
          </a:prstGeom>
          <a:solidFill>
            <a:schemeClr val="bg1">
              <a:lumMod val="9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indent="-171450" algn="ctr">
              <a:buFont typeface="Arial" panose="020B0604020202020204" pitchFamily="34" charset="0"/>
              <a:buChar char="•"/>
            </a:pPr>
            <a:endParaRPr lang="en-ID" sz="900"/>
          </a:p>
        </p:txBody>
      </p:sp>
      <p:cxnSp>
        <p:nvCxnSpPr>
          <p:cNvPr id="22" name="Straight Connector 21">
            <a:extLst>
              <a:ext uri="{FF2B5EF4-FFF2-40B4-BE49-F238E27FC236}">
                <a16:creationId xmlns:a16="http://schemas.microsoft.com/office/drawing/2014/main" id="{19A8E5D6-281F-3C4F-E2B3-3EFF8824A5C0}"/>
              </a:ext>
            </a:extLst>
          </p:cNvPr>
          <p:cNvCxnSpPr>
            <a:cxnSpLocks/>
          </p:cNvCxnSpPr>
          <p:nvPr/>
        </p:nvCxnSpPr>
        <p:spPr>
          <a:xfrm>
            <a:off x="4638211" y="1562910"/>
            <a:ext cx="40087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D8BE3653-1237-F195-3D1A-8AE7B4AE165F}"/>
              </a:ext>
            </a:extLst>
          </p:cNvPr>
          <p:cNvCxnSpPr>
            <a:cxnSpLocks/>
          </p:cNvCxnSpPr>
          <p:nvPr/>
        </p:nvCxnSpPr>
        <p:spPr>
          <a:xfrm>
            <a:off x="8746388" y="1562910"/>
            <a:ext cx="40087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sp>
        <p:nvSpPr>
          <p:cNvPr id="157" name="Rectangle 156">
            <a:extLst>
              <a:ext uri="{FF2B5EF4-FFF2-40B4-BE49-F238E27FC236}">
                <a16:creationId xmlns:a16="http://schemas.microsoft.com/office/drawing/2014/main" id="{AC4FDF78-7397-4F39-8865-246EDC250A3B}"/>
              </a:ext>
            </a:extLst>
          </p:cNvPr>
          <p:cNvSpPr/>
          <p:nvPr/>
        </p:nvSpPr>
        <p:spPr>
          <a:xfrm>
            <a:off x="4434663" y="1854667"/>
            <a:ext cx="2191935" cy="246221"/>
          </a:xfrm>
          <a:prstGeom prst="rect">
            <a:avLst/>
          </a:prstGeom>
        </p:spPr>
        <p:txBody>
          <a:bodyPr wrap="square" lIns="0" tIns="0" rIns="0" bIns="0" anchor="t">
            <a:spAutoFit/>
          </a:bodyPr>
          <a:lstStyle/>
          <a:p>
            <a:r>
              <a:rPr lang="en-US" sz="1600" b="1" dirty="0">
                <a:solidFill>
                  <a:schemeClr val="tx2"/>
                </a:solidFill>
                <a:latin typeface="Noto Sans" panose="020B0502040504020204" pitchFamily="34" charset="0"/>
                <a:ea typeface="Noto Sans" panose="020B0502040504020204" pitchFamily="34" charset="0"/>
                <a:cs typeface="Noto Sans" panose="020B0502040504020204" pitchFamily="34" charset="0"/>
              </a:rPr>
              <a:t>Fuel Logistics</a:t>
            </a:r>
          </a:p>
        </p:txBody>
      </p:sp>
      <p:grpSp>
        <p:nvGrpSpPr>
          <p:cNvPr id="13" name="Group 12">
            <a:extLst>
              <a:ext uri="{FF2B5EF4-FFF2-40B4-BE49-F238E27FC236}">
                <a16:creationId xmlns:a16="http://schemas.microsoft.com/office/drawing/2014/main" id="{757EA6BD-B209-3099-948A-372628F6ADAB}"/>
              </a:ext>
            </a:extLst>
          </p:cNvPr>
          <p:cNvGrpSpPr/>
          <p:nvPr/>
        </p:nvGrpSpPr>
        <p:grpSpPr>
          <a:xfrm>
            <a:off x="7131336" y="1658961"/>
            <a:ext cx="522631" cy="547289"/>
            <a:chOff x="5505450" y="5364163"/>
            <a:chExt cx="238125" cy="287338"/>
          </a:xfrm>
          <a:solidFill>
            <a:schemeClr val="tx1"/>
          </a:solidFill>
        </p:grpSpPr>
        <p:sp>
          <p:nvSpPr>
            <p:cNvPr id="14" name="Freeform 2822">
              <a:extLst>
                <a:ext uri="{FF2B5EF4-FFF2-40B4-BE49-F238E27FC236}">
                  <a16:creationId xmlns:a16="http://schemas.microsoft.com/office/drawing/2014/main" id="{641A9DE7-4649-FEA2-0C8B-7503C9ADA717}"/>
                </a:ext>
              </a:extLst>
            </p:cNvPr>
            <p:cNvSpPr>
              <a:spLocks noEditPoints="1"/>
            </p:cNvSpPr>
            <p:nvPr/>
          </p:nvSpPr>
          <p:spPr bwMode="auto">
            <a:xfrm>
              <a:off x="5505450" y="5392738"/>
              <a:ext cx="238125" cy="258763"/>
            </a:xfrm>
            <a:custGeom>
              <a:avLst/>
              <a:gdLst>
                <a:gd name="T0" fmla="*/ 300 w 601"/>
                <a:gd name="T1" fmla="*/ 541 h 650"/>
                <a:gd name="T2" fmla="*/ 96 w 601"/>
                <a:gd name="T3" fmla="*/ 376 h 650"/>
                <a:gd name="T4" fmla="*/ 81 w 601"/>
                <a:gd name="T5" fmla="*/ 368 h 650"/>
                <a:gd name="T6" fmla="*/ 90 w 601"/>
                <a:gd name="T7" fmla="*/ 354 h 650"/>
                <a:gd name="T8" fmla="*/ 146 w 601"/>
                <a:gd name="T9" fmla="*/ 119 h 650"/>
                <a:gd name="T10" fmla="*/ 180 w 601"/>
                <a:gd name="T11" fmla="*/ 97 h 650"/>
                <a:gd name="T12" fmla="*/ 449 w 601"/>
                <a:gd name="T13" fmla="*/ 113 h 650"/>
                <a:gd name="T14" fmla="*/ 312 w 601"/>
                <a:gd name="T15" fmla="*/ 293 h 650"/>
                <a:gd name="T16" fmla="*/ 511 w 601"/>
                <a:gd name="T17" fmla="*/ 372 h 650"/>
                <a:gd name="T18" fmla="*/ 312 w 601"/>
                <a:gd name="T19" fmla="*/ 317 h 650"/>
                <a:gd name="T20" fmla="*/ 387 w 601"/>
                <a:gd name="T21" fmla="*/ 625 h 650"/>
                <a:gd name="T22" fmla="*/ 222 w 601"/>
                <a:gd name="T23" fmla="*/ 625 h 650"/>
                <a:gd name="T24" fmla="*/ 577 w 601"/>
                <a:gd name="T25" fmla="*/ 597 h 650"/>
                <a:gd name="T26" fmla="*/ 566 w 601"/>
                <a:gd name="T27" fmla="*/ 621 h 650"/>
                <a:gd name="T28" fmla="*/ 540 w 601"/>
                <a:gd name="T29" fmla="*/ 621 h 650"/>
                <a:gd name="T30" fmla="*/ 528 w 601"/>
                <a:gd name="T31" fmla="*/ 595 h 650"/>
                <a:gd name="T32" fmla="*/ 515 w 601"/>
                <a:gd name="T33" fmla="*/ 563 h 650"/>
                <a:gd name="T34" fmla="*/ 487 w 601"/>
                <a:gd name="T35" fmla="*/ 544 h 650"/>
                <a:gd name="T36" fmla="*/ 551 w 601"/>
                <a:gd name="T37" fmla="*/ 289 h 650"/>
                <a:gd name="T38" fmla="*/ 564 w 601"/>
                <a:gd name="T39" fmla="*/ 276 h 650"/>
                <a:gd name="T40" fmla="*/ 480 w 601"/>
                <a:gd name="T41" fmla="*/ 132 h 650"/>
                <a:gd name="T42" fmla="*/ 470 w 601"/>
                <a:gd name="T43" fmla="*/ 100 h 650"/>
                <a:gd name="T44" fmla="*/ 443 w 601"/>
                <a:gd name="T45" fmla="*/ 78 h 650"/>
                <a:gd name="T46" fmla="*/ 360 w 601"/>
                <a:gd name="T47" fmla="*/ 0 h 650"/>
                <a:gd name="T48" fmla="*/ 162 w 601"/>
                <a:gd name="T49" fmla="*/ 76 h 650"/>
                <a:gd name="T50" fmla="*/ 133 w 601"/>
                <a:gd name="T51" fmla="*/ 95 h 650"/>
                <a:gd name="T52" fmla="*/ 120 w 601"/>
                <a:gd name="T53" fmla="*/ 126 h 650"/>
                <a:gd name="T54" fmla="*/ 38 w 601"/>
                <a:gd name="T55" fmla="*/ 271 h 650"/>
                <a:gd name="T56" fmla="*/ 50 w 601"/>
                <a:gd name="T57" fmla="*/ 289 h 650"/>
                <a:gd name="T58" fmla="*/ 86 w 601"/>
                <a:gd name="T59" fmla="*/ 563 h 650"/>
                <a:gd name="T60" fmla="*/ 70 w 601"/>
                <a:gd name="T61" fmla="*/ 610 h 650"/>
                <a:gd name="T62" fmla="*/ 48 w 601"/>
                <a:gd name="T63" fmla="*/ 625 h 650"/>
                <a:gd name="T64" fmla="*/ 27 w 601"/>
                <a:gd name="T65" fmla="*/ 610 h 650"/>
                <a:gd name="T66" fmla="*/ 12 w 601"/>
                <a:gd name="T67" fmla="*/ 589 h 650"/>
                <a:gd name="T68" fmla="*/ 4 w 601"/>
                <a:gd name="T69" fmla="*/ 620 h 650"/>
                <a:gd name="T70" fmla="*/ 48 w 601"/>
                <a:gd name="T71" fmla="*/ 650 h 650"/>
                <a:gd name="T72" fmla="*/ 93 w 601"/>
                <a:gd name="T73" fmla="*/ 620 h 650"/>
                <a:gd name="T74" fmla="*/ 107 w 601"/>
                <a:gd name="T75" fmla="*/ 575 h 650"/>
                <a:gd name="T76" fmla="*/ 146 w 601"/>
                <a:gd name="T77" fmla="*/ 568 h 650"/>
                <a:gd name="T78" fmla="*/ 169 w 601"/>
                <a:gd name="T79" fmla="*/ 601 h 650"/>
                <a:gd name="T80" fmla="*/ 198 w 601"/>
                <a:gd name="T81" fmla="*/ 646 h 650"/>
                <a:gd name="T82" fmla="*/ 250 w 601"/>
                <a:gd name="T83" fmla="*/ 635 h 650"/>
                <a:gd name="T84" fmla="*/ 267 w 601"/>
                <a:gd name="T85" fmla="*/ 588 h 650"/>
                <a:gd name="T86" fmla="*/ 301 w 601"/>
                <a:gd name="T87" fmla="*/ 565 h 650"/>
                <a:gd name="T88" fmla="*/ 333 w 601"/>
                <a:gd name="T89" fmla="*/ 588 h 650"/>
                <a:gd name="T90" fmla="*/ 351 w 601"/>
                <a:gd name="T91" fmla="*/ 635 h 650"/>
                <a:gd name="T92" fmla="*/ 404 w 601"/>
                <a:gd name="T93" fmla="*/ 646 h 650"/>
                <a:gd name="T94" fmla="*/ 433 w 601"/>
                <a:gd name="T95" fmla="*/ 601 h 650"/>
                <a:gd name="T96" fmla="*/ 454 w 601"/>
                <a:gd name="T97" fmla="*/ 568 h 650"/>
                <a:gd name="T98" fmla="*/ 494 w 601"/>
                <a:gd name="T99" fmla="*/ 575 h 650"/>
                <a:gd name="T100" fmla="*/ 508 w 601"/>
                <a:gd name="T101" fmla="*/ 620 h 650"/>
                <a:gd name="T102" fmla="*/ 553 w 601"/>
                <a:gd name="T103" fmla="*/ 650 h 650"/>
                <a:gd name="T104" fmla="*/ 597 w 601"/>
                <a:gd name="T105" fmla="*/ 620 h 650"/>
                <a:gd name="T106" fmla="*/ 588 w 601"/>
                <a:gd name="T107" fmla="*/ 589 h 6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01" h="650">
                  <a:moveTo>
                    <a:pt x="312" y="317"/>
                  </a:moveTo>
                  <a:lnTo>
                    <a:pt x="312" y="529"/>
                  </a:lnTo>
                  <a:lnTo>
                    <a:pt x="311" y="534"/>
                  </a:lnTo>
                  <a:lnTo>
                    <a:pt x="308" y="538"/>
                  </a:lnTo>
                  <a:lnTo>
                    <a:pt x="304" y="540"/>
                  </a:lnTo>
                  <a:lnTo>
                    <a:pt x="300" y="541"/>
                  </a:lnTo>
                  <a:lnTo>
                    <a:pt x="295" y="540"/>
                  </a:lnTo>
                  <a:lnTo>
                    <a:pt x="292" y="538"/>
                  </a:lnTo>
                  <a:lnTo>
                    <a:pt x="289" y="534"/>
                  </a:lnTo>
                  <a:lnTo>
                    <a:pt x="288" y="529"/>
                  </a:lnTo>
                  <a:lnTo>
                    <a:pt x="288" y="317"/>
                  </a:lnTo>
                  <a:lnTo>
                    <a:pt x="96" y="376"/>
                  </a:lnTo>
                  <a:lnTo>
                    <a:pt x="94" y="377"/>
                  </a:lnTo>
                  <a:lnTo>
                    <a:pt x="92" y="377"/>
                  </a:lnTo>
                  <a:lnTo>
                    <a:pt x="90" y="377"/>
                  </a:lnTo>
                  <a:lnTo>
                    <a:pt x="86" y="376"/>
                  </a:lnTo>
                  <a:lnTo>
                    <a:pt x="83" y="373"/>
                  </a:lnTo>
                  <a:lnTo>
                    <a:pt x="81" y="368"/>
                  </a:lnTo>
                  <a:lnTo>
                    <a:pt x="80" y="363"/>
                  </a:lnTo>
                  <a:lnTo>
                    <a:pt x="82" y="359"/>
                  </a:lnTo>
                  <a:lnTo>
                    <a:pt x="83" y="357"/>
                  </a:lnTo>
                  <a:lnTo>
                    <a:pt x="84" y="356"/>
                  </a:lnTo>
                  <a:lnTo>
                    <a:pt x="86" y="355"/>
                  </a:lnTo>
                  <a:lnTo>
                    <a:pt x="90" y="354"/>
                  </a:lnTo>
                  <a:lnTo>
                    <a:pt x="288" y="293"/>
                  </a:lnTo>
                  <a:lnTo>
                    <a:pt x="288" y="208"/>
                  </a:lnTo>
                  <a:lnTo>
                    <a:pt x="143" y="242"/>
                  </a:lnTo>
                  <a:lnTo>
                    <a:pt x="143" y="132"/>
                  </a:lnTo>
                  <a:lnTo>
                    <a:pt x="144" y="125"/>
                  </a:lnTo>
                  <a:lnTo>
                    <a:pt x="146" y="119"/>
                  </a:lnTo>
                  <a:lnTo>
                    <a:pt x="149" y="113"/>
                  </a:lnTo>
                  <a:lnTo>
                    <a:pt x="155" y="108"/>
                  </a:lnTo>
                  <a:lnTo>
                    <a:pt x="160" y="103"/>
                  </a:lnTo>
                  <a:lnTo>
                    <a:pt x="166" y="100"/>
                  </a:lnTo>
                  <a:lnTo>
                    <a:pt x="173" y="98"/>
                  </a:lnTo>
                  <a:lnTo>
                    <a:pt x="180" y="97"/>
                  </a:lnTo>
                  <a:lnTo>
                    <a:pt x="420" y="97"/>
                  </a:lnTo>
                  <a:lnTo>
                    <a:pt x="427" y="98"/>
                  </a:lnTo>
                  <a:lnTo>
                    <a:pt x="434" y="100"/>
                  </a:lnTo>
                  <a:lnTo>
                    <a:pt x="440" y="103"/>
                  </a:lnTo>
                  <a:lnTo>
                    <a:pt x="445" y="108"/>
                  </a:lnTo>
                  <a:lnTo>
                    <a:pt x="449" y="113"/>
                  </a:lnTo>
                  <a:lnTo>
                    <a:pt x="453" y="119"/>
                  </a:lnTo>
                  <a:lnTo>
                    <a:pt x="455" y="125"/>
                  </a:lnTo>
                  <a:lnTo>
                    <a:pt x="456" y="132"/>
                  </a:lnTo>
                  <a:lnTo>
                    <a:pt x="456" y="242"/>
                  </a:lnTo>
                  <a:lnTo>
                    <a:pt x="312" y="208"/>
                  </a:lnTo>
                  <a:lnTo>
                    <a:pt x="312" y="293"/>
                  </a:lnTo>
                  <a:lnTo>
                    <a:pt x="505" y="354"/>
                  </a:lnTo>
                  <a:lnTo>
                    <a:pt x="509" y="356"/>
                  </a:lnTo>
                  <a:lnTo>
                    <a:pt x="512" y="360"/>
                  </a:lnTo>
                  <a:lnTo>
                    <a:pt x="513" y="364"/>
                  </a:lnTo>
                  <a:lnTo>
                    <a:pt x="513" y="368"/>
                  </a:lnTo>
                  <a:lnTo>
                    <a:pt x="511" y="372"/>
                  </a:lnTo>
                  <a:lnTo>
                    <a:pt x="508" y="374"/>
                  </a:lnTo>
                  <a:lnTo>
                    <a:pt x="505" y="376"/>
                  </a:lnTo>
                  <a:lnTo>
                    <a:pt x="501" y="376"/>
                  </a:lnTo>
                  <a:lnTo>
                    <a:pt x="500" y="376"/>
                  </a:lnTo>
                  <a:lnTo>
                    <a:pt x="498" y="376"/>
                  </a:lnTo>
                  <a:lnTo>
                    <a:pt x="312" y="317"/>
                  </a:lnTo>
                  <a:close/>
                  <a:moveTo>
                    <a:pt x="384" y="625"/>
                  </a:moveTo>
                  <a:lnTo>
                    <a:pt x="384" y="625"/>
                  </a:lnTo>
                  <a:lnTo>
                    <a:pt x="384" y="625"/>
                  </a:lnTo>
                  <a:lnTo>
                    <a:pt x="387" y="625"/>
                  </a:lnTo>
                  <a:lnTo>
                    <a:pt x="389" y="625"/>
                  </a:lnTo>
                  <a:lnTo>
                    <a:pt x="387" y="625"/>
                  </a:lnTo>
                  <a:lnTo>
                    <a:pt x="384" y="625"/>
                  </a:lnTo>
                  <a:close/>
                  <a:moveTo>
                    <a:pt x="217" y="625"/>
                  </a:moveTo>
                  <a:lnTo>
                    <a:pt x="217" y="625"/>
                  </a:lnTo>
                  <a:lnTo>
                    <a:pt x="217" y="625"/>
                  </a:lnTo>
                  <a:lnTo>
                    <a:pt x="219" y="625"/>
                  </a:lnTo>
                  <a:lnTo>
                    <a:pt x="222" y="625"/>
                  </a:lnTo>
                  <a:lnTo>
                    <a:pt x="219" y="625"/>
                  </a:lnTo>
                  <a:lnTo>
                    <a:pt x="217" y="625"/>
                  </a:lnTo>
                  <a:close/>
                  <a:moveTo>
                    <a:pt x="588" y="589"/>
                  </a:moveTo>
                  <a:lnTo>
                    <a:pt x="584" y="590"/>
                  </a:lnTo>
                  <a:lnTo>
                    <a:pt x="580" y="593"/>
                  </a:lnTo>
                  <a:lnTo>
                    <a:pt x="577" y="597"/>
                  </a:lnTo>
                  <a:lnTo>
                    <a:pt x="576" y="601"/>
                  </a:lnTo>
                  <a:lnTo>
                    <a:pt x="576" y="606"/>
                  </a:lnTo>
                  <a:lnTo>
                    <a:pt x="575" y="610"/>
                  </a:lnTo>
                  <a:lnTo>
                    <a:pt x="572" y="614"/>
                  </a:lnTo>
                  <a:lnTo>
                    <a:pt x="569" y="618"/>
                  </a:lnTo>
                  <a:lnTo>
                    <a:pt x="566" y="621"/>
                  </a:lnTo>
                  <a:lnTo>
                    <a:pt x="562" y="623"/>
                  </a:lnTo>
                  <a:lnTo>
                    <a:pt x="558" y="624"/>
                  </a:lnTo>
                  <a:lnTo>
                    <a:pt x="553" y="625"/>
                  </a:lnTo>
                  <a:lnTo>
                    <a:pt x="548" y="624"/>
                  </a:lnTo>
                  <a:lnTo>
                    <a:pt x="544" y="623"/>
                  </a:lnTo>
                  <a:lnTo>
                    <a:pt x="540" y="621"/>
                  </a:lnTo>
                  <a:lnTo>
                    <a:pt x="536" y="618"/>
                  </a:lnTo>
                  <a:lnTo>
                    <a:pt x="533" y="614"/>
                  </a:lnTo>
                  <a:lnTo>
                    <a:pt x="531" y="610"/>
                  </a:lnTo>
                  <a:lnTo>
                    <a:pt x="530" y="606"/>
                  </a:lnTo>
                  <a:lnTo>
                    <a:pt x="528" y="601"/>
                  </a:lnTo>
                  <a:lnTo>
                    <a:pt x="528" y="595"/>
                  </a:lnTo>
                  <a:lnTo>
                    <a:pt x="527" y="590"/>
                  </a:lnTo>
                  <a:lnTo>
                    <a:pt x="525" y="584"/>
                  </a:lnTo>
                  <a:lnTo>
                    <a:pt x="524" y="579"/>
                  </a:lnTo>
                  <a:lnTo>
                    <a:pt x="521" y="572"/>
                  </a:lnTo>
                  <a:lnTo>
                    <a:pt x="518" y="568"/>
                  </a:lnTo>
                  <a:lnTo>
                    <a:pt x="515" y="563"/>
                  </a:lnTo>
                  <a:lnTo>
                    <a:pt x="511" y="559"/>
                  </a:lnTo>
                  <a:lnTo>
                    <a:pt x="507" y="555"/>
                  </a:lnTo>
                  <a:lnTo>
                    <a:pt x="502" y="551"/>
                  </a:lnTo>
                  <a:lnTo>
                    <a:pt x="497" y="548"/>
                  </a:lnTo>
                  <a:lnTo>
                    <a:pt x="492" y="546"/>
                  </a:lnTo>
                  <a:lnTo>
                    <a:pt x="487" y="544"/>
                  </a:lnTo>
                  <a:lnTo>
                    <a:pt x="481" y="542"/>
                  </a:lnTo>
                  <a:lnTo>
                    <a:pt x="475" y="541"/>
                  </a:lnTo>
                  <a:lnTo>
                    <a:pt x="469" y="541"/>
                  </a:lnTo>
                  <a:lnTo>
                    <a:pt x="536" y="285"/>
                  </a:lnTo>
                  <a:lnTo>
                    <a:pt x="549" y="289"/>
                  </a:lnTo>
                  <a:lnTo>
                    <a:pt x="551" y="289"/>
                  </a:lnTo>
                  <a:lnTo>
                    <a:pt x="552" y="289"/>
                  </a:lnTo>
                  <a:lnTo>
                    <a:pt x="556" y="288"/>
                  </a:lnTo>
                  <a:lnTo>
                    <a:pt x="559" y="287"/>
                  </a:lnTo>
                  <a:lnTo>
                    <a:pt x="562" y="284"/>
                  </a:lnTo>
                  <a:lnTo>
                    <a:pt x="564" y="281"/>
                  </a:lnTo>
                  <a:lnTo>
                    <a:pt x="564" y="276"/>
                  </a:lnTo>
                  <a:lnTo>
                    <a:pt x="562" y="271"/>
                  </a:lnTo>
                  <a:lnTo>
                    <a:pt x="559" y="268"/>
                  </a:lnTo>
                  <a:lnTo>
                    <a:pt x="555" y="267"/>
                  </a:lnTo>
                  <a:lnTo>
                    <a:pt x="542" y="263"/>
                  </a:lnTo>
                  <a:lnTo>
                    <a:pt x="480" y="248"/>
                  </a:lnTo>
                  <a:lnTo>
                    <a:pt x="480" y="132"/>
                  </a:lnTo>
                  <a:lnTo>
                    <a:pt x="480" y="126"/>
                  </a:lnTo>
                  <a:lnTo>
                    <a:pt x="479" y="121"/>
                  </a:lnTo>
                  <a:lnTo>
                    <a:pt x="478" y="115"/>
                  </a:lnTo>
                  <a:lnTo>
                    <a:pt x="476" y="110"/>
                  </a:lnTo>
                  <a:lnTo>
                    <a:pt x="473" y="104"/>
                  </a:lnTo>
                  <a:lnTo>
                    <a:pt x="470" y="100"/>
                  </a:lnTo>
                  <a:lnTo>
                    <a:pt x="467" y="95"/>
                  </a:lnTo>
                  <a:lnTo>
                    <a:pt x="462" y="91"/>
                  </a:lnTo>
                  <a:lnTo>
                    <a:pt x="458" y="87"/>
                  </a:lnTo>
                  <a:lnTo>
                    <a:pt x="453" y="84"/>
                  </a:lnTo>
                  <a:lnTo>
                    <a:pt x="448" y="81"/>
                  </a:lnTo>
                  <a:lnTo>
                    <a:pt x="443" y="78"/>
                  </a:lnTo>
                  <a:lnTo>
                    <a:pt x="438" y="76"/>
                  </a:lnTo>
                  <a:lnTo>
                    <a:pt x="432" y="74"/>
                  </a:lnTo>
                  <a:lnTo>
                    <a:pt x="426" y="74"/>
                  </a:lnTo>
                  <a:lnTo>
                    <a:pt x="420" y="73"/>
                  </a:lnTo>
                  <a:lnTo>
                    <a:pt x="360" y="73"/>
                  </a:lnTo>
                  <a:lnTo>
                    <a:pt x="360" y="0"/>
                  </a:lnTo>
                  <a:lnTo>
                    <a:pt x="240" y="0"/>
                  </a:lnTo>
                  <a:lnTo>
                    <a:pt x="240" y="73"/>
                  </a:lnTo>
                  <a:lnTo>
                    <a:pt x="180" y="73"/>
                  </a:lnTo>
                  <a:lnTo>
                    <a:pt x="174" y="74"/>
                  </a:lnTo>
                  <a:lnTo>
                    <a:pt x="168" y="74"/>
                  </a:lnTo>
                  <a:lnTo>
                    <a:pt x="162" y="76"/>
                  </a:lnTo>
                  <a:lnTo>
                    <a:pt x="157" y="78"/>
                  </a:lnTo>
                  <a:lnTo>
                    <a:pt x="152" y="81"/>
                  </a:lnTo>
                  <a:lnTo>
                    <a:pt x="146" y="84"/>
                  </a:lnTo>
                  <a:lnTo>
                    <a:pt x="141" y="87"/>
                  </a:lnTo>
                  <a:lnTo>
                    <a:pt x="137" y="91"/>
                  </a:lnTo>
                  <a:lnTo>
                    <a:pt x="133" y="95"/>
                  </a:lnTo>
                  <a:lnTo>
                    <a:pt x="130" y="100"/>
                  </a:lnTo>
                  <a:lnTo>
                    <a:pt x="127" y="104"/>
                  </a:lnTo>
                  <a:lnTo>
                    <a:pt x="124" y="110"/>
                  </a:lnTo>
                  <a:lnTo>
                    <a:pt x="122" y="115"/>
                  </a:lnTo>
                  <a:lnTo>
                    <a:pt x="121" y="121"/>
                  </a:lnTo>
                  <a:lnTo>
                    <a:pt x="120" y="126"/>
                  </a:lnTo>
                  <a:lnTo>
                    <a:pt x="120" y="132"/>
                  </a:lnTo>
                  <a:lnTo>
                    <a:pt x="120" y="248"/>
                  </a:lnTo>
                  <a:lnTo>
                    <a:pt x="55" y="264"/>
                  </a:lnTo>
                  <a:lnTo>
                    <a:pt x="45" y="267"/>
                  </a:lnTo>
                  <a:lnTo>
                    <a:pt x="41" y="268"/>
                  </a:lnTo>
                  <a:lnTo>
                    <a:pt x="38" y="271"/>
                  </a:lnTo>
                  <a:lnTo>
                    <a:pt x="36" y="276"/>
                  </a:lnTo>
                  <a:lnTo>
                    <a:pt x="36" y="281"/>
                  </a:lnTo>
                  <a:lnTo>
                    <a:pt x="38" y="285"/>
                  </a:lnTo>
                  <a:lnTo>
                    <a:pt x="42" y="287"/>
                  </a:lnTo>
                  <a:lnTo>
                    <a:pt x="46" y="289"/>
                  </a:lnTo>
                  <a:lnTo>
                    <a:pt x="50" y="289"/>
                  </a:lnTo>
                  <a:lnTo>
                    <a:pt x="61" y="287"/>
                  </a:lnTo>
                  <a:lnTo>
                    <a:pt x="120" y="542"/>
                  </a:lnTo>
                  <a:lnTo>
                    <a:pt x="111" y="545"/>
                  </a:lnTo>
                  <a:lnTo>
                    <a:pt x="102" y="550"/>
                  </a:lnTo>
                  <a:lnTo>
                    <a:pt x="94" y="556"/>
                  </a:lnTo>
                  <a:lnTo>
                    <a:pt x="86" y="563"/>
                  </a:lnTo>
                  <a:lnTo>
                    <a:pt x="80" y="571"/>
                  </a:lnTo>
                  <a:lnTo>
                    <a:pt x="76" y="581"/>
                  </a:lnTo>
                  <a:lnTo>
                    <a:pt x="73" y="591"/>
                  </a:lnTo>
                  <a:lnTo>
                    <a:pt x="72" y="601"/>
                  </a:lnTo>
                  <a:lnTo>
                    <a:pt x="72" y="606"/>
                  </a:lnTo>
                  <a:lnTo>
                    <a:pt x="70" y="610"/>
                  </a:lnTo>
                  <a:lnTo>
                    <a:pt x="68" y="614"/>
                  </a:lnTo>
                  <a:lnTo>
                    <a:pt x="65" y="618"/>
                  </a:lnTo>
                  <a:lnTo>
                    <a:pt x="62" y="621"/>
                  </a:lnTo>
                  <a:lnTo>
                    <a:pt x="58" y="623"/>
                  </a:lnTo>
                  <a:lnTo>
                    <a:pt x="53" y="624"/>
                  </a:lnTo>
                  <a:lnTo>
                    <a:pt x="48" y="625"/>
                  </a:lnTo>
                  <a:lnTo>
                    <a:pt x="44" y="624"/>
                  </a:lnTo>
                  <a:lnTo>
                    <a:pt x="39" y="623"/>
                  </a:lnTo>
                  <a:lnTo>
                    <a:pt x="35" y="621"/>
                  </a:lnTo>
                  <a:lnTo>
                    <a:pt x="32" y="618"/>
                  </a:lnTo>
                  <a:lnTo>
                    <a:pt x="29" y="614"/>
                  </a:lnTo>
                  <a:lnTo>
                    <a:pt x="27" y="610"/>
                  </a:lnTo>
                  <a:lnTo>
                    <a:pt x="24" y="606"/>
                  </a:lnTo>
                  <a:lnTo>
                    <a:pt x="24" y="601"/>
                  </a:lnTo>
                  <a:lnTo>
                    <a:pt x="23" y="597"/>
                  </a:lnTo>
                  <a:lnTo>
                    <a:pt x="20" y="593"/>
                  </a:lnTo>
                  <a:lnTo>
                    <a:pt x="17" y="590"/>
                  </a:lnTo>
                  <a:lnTo>
                    <a:pt x="12" y="589"/>
                  </a:lnTo>
                  <a:lnTo>
                    <a:pt x="7" y="590"/>
                  </a:lnTo>
                  <a:lnTo>
                    <a:pt x="4" y="593"/>
                  </a:lnTo>
                  <a:lnTo>
                    <a:pt x="1" y="597"/>
                  </a:lnTo>
                  <a:lnTo>
                    <a:pt x="0" y="601"/>
                  </a:lnTo>
                  <a:lnTo>
                    <a:pt x="1" y="611"/>
                  </a:lnTo>
                  <a:lnTo>
                    <a:pt x="4" y="620"/>
                  </a:lnTo>
                  <a:lnTo>
                    <a:pt x="8" y="628"/>
                  </a:lnTo>
                  <a:lnTo>
                    <a:pt x="14" y="635"/>
                  </a:lnTo>
                  <a:lnTo>
                    <a:pt x="21" y="640"/>
                  </a:lnTo>
                  <a:lnTo>
                    <a:pt x="30" y="646"/>
                  </a:lnTo>
                  <a:lnTo>
                    <a:pt x="39" y="649"/>
                  </a:lnTo>
                  <a:lnTo>
                    <a:pt x="48" y="650"/>
                  </a:lnTo>
                  <a:lnTo>
                    <a:pt x="58" y="649"/>
                  </a:lnTo>
                  <a:lnTo>
                    <a:pt x="67" y="646"/>
                  </a:lnTo>
                  <a:lnTo>
                    <a:pt x="75" y="640"/>
                  </a:lnTo>
                  <a:lnTo>
                    <a:pt x="82" y="635"/>
                  </a:lnTo>
                  <a:lnTo>
                    <a:pt x="89" y="628"/>
                  </a:lnTo>
                  <a:lnTo>
                    <a:pt x="93" y="620"/>
                  </a:lnTo>
                  <a:lnTo>
                    <a:pt x="96" y="611"/>
                  </a:lnTo>
                  <a:lnTo>
                    <a:pt x="97" y="601"/>
                  </a:lnTo>
                  <a:lnTo>
                    <a:pt x="97" y="594"/>
                  </a:lnTo>
                  <a:lnTo>
                    <a:pt x="99" y="588"/>
                  </a:lnTo>
                  <a:lnTo>
                    <a:pt x="103" y="582"/>
                  </a:lnTo>
                  <a:lnTo>
                    <a:pt x="107" y="575"/>
                  </a:lnTo>
                  <a:lnTo>
                    <a:pt x="112" y="571"/>
                  </a:lnTo>
                  <a:lnTo>
                    <a:pt x="118" y="568"/>
                  </a:lnTo>
                  <a:lnTo>
                    <a:pt x="125" y="566"/>
                  </a:lnTo>
                  <a:lnTo>
                    <a:pt x="132" y="565"/>
                  </a:lnTo>
                  <a:lnTo>
                    <a:pt x="139" y="566"/>
                  </a:lnTo>
                  <a:lnTo>
                    <a:pt x="146" y="568"/>
                  </a:lnTo>
                  <a:lnTo>
                    <a:pt x="153" y="571"/>
                  </a:lnTo>
                  <a:lnTo>
                    <a:pt x="158" y="575"/>
                  </a:lnTo>
                  <a:lnTo>
                    <a:pt x="163" y="582"/>
                  </a:lnTo>
                  <a:lnTo>
                    <a:pt x="166" y="588"/>
                  </a:lnTo>
                  <a:lnTo>
                    <a:pt x="168" y="594"/>
                  </a:lnTo>
                  <a:lnTo>
                    <a:pt x="169" y="601"/>
                  </a:lnTo>
                  <a:lnTo>
                    <a:pt x="170" y="611"/>
                  </a:lnTo>
                  <a:lnTo>
                    <a:pt x="172" y="620"/>
                  </a:lnTo>
                  <a:lnTo>
                    <a:pt x="177" y="628"/>
                  </a:lnTo>
                  <a:lnTo>
                    <a:pt x="182" y="635"/>
                  </a:lnTo>
                  <a:lnTo>
                    <a:pt x="189" y="640"/>
                  </a:lnTo>
                  <a:lnTo>
                    <a:pt x="198" y="646"/>
                  </a:lnTo>
                  <a:lnTo>
                    <a:pt x="206" y="649"/>
                  </a:lnTo>
                  <a:lnTo>
                    <a:pt x="217" y="650"/>
                  </a:lnTo>
                  <a:lnTo>
                    <a:pt x="226" y="649"/>
                  </a:lnTo>
                  <a:lnTo>
                    <a:pt x="235" y="646"/>
                  </a:lnTo>
                  <a:lnTo>
                    <a:pt x="243" y="640"/>
                  </a:lnTo>
                  <a:lnTo>
                    <a:pt x="250" y="635"/>
                  </a:lnTo>
                  <a:lnTo>
                    <a:pt x="256" y="628"/>
                  </a:lnTo>
                  <a:lnTo>
                    <a:pt x="260" y="620"/>
                  </a:lnTo>
                  <a:lnTo>
                    <a:pt x="263" y="611"/>
                  </a:lnTo>
                  <a:lnTo>
                    <a:pt x="264" y="601"/>
                  </a:lnTo>
                  <a:lnTo>
                    <a:pt x="265" y="594"/>
                  </a:lnTo>
                  <a:lnTo>
                    <a:pt x="267" y="588"/>
                  </a:lnTo>
                  <a:lnTo>
                    <a:pt x="270" y="582"/>
                  </a:lnTo>
                  <a:lnTo>
                    <a:pt x="275" y="575"/>
                  </a:lnTo>
                  <a:lnTo>
                    <a:pt x="281" y="571"/>
                  </a:lnTo>
                  <a:lnTo>
                    <a:pt x="287" y="568"/>
                  </a:lnTo>
                  <a:lnTo>
                    <a:pt x="293" y="566"/>
                  </a:lnTo>
                  <a:lnTo>
                    <a:pt x="301" y="565"/>
                  </a:lnTo>
                  <a:lnTo>
                    <a:pt x="308" y="566"/>
                  </a:lnTo>
                  <a:lnTo>
                    <a:pt x="314" y="568"/>
                  </a:lnTo>
                  <a:lnTo>
                    <a:pt x="320" y="571"/>
                  </a:lnTo>
                  <a:lnTo>
                    <a:pt x="326" y="575"/>
                  </a:lnTo>
                  <a:lnTo>
                    <a:pt x="330" y="582"/>
                  </a:lnTo>
                  <a:lnTo>
                    <a:pt x="333" y="588"/>
                  </a:lnTo>
                  <a:lnTo>
                    <a:pt x="335" y="594"/>
                  </a:lnTo>
                  <a:lnTo>
                    <a:pt x="336" y="601"/>
                  </a:lnTo>
                  <a:lnTo>
                    <a:pt x="337" y="611"/>
                  </a:lnTo>
                  <a:lnTo>
                    <a:pt x="341" y="620"/>
                  </a:lnTo>
                  <a:lnTo>
                    <a:pt x="345" y="628"/>
                  </a:lnTo>
                  <a:lnTo>
                    <a:pt x="351" y="635"/>
                  </a:lnTo>
                  <a:lnTo>
                    <a:pt x="358" y="640"/>
                  </a:lnTo>
                  <a:lnTo>
                    <a:pt x="366" y="646"/>
                  </a:lnTo>
                  <a:lnTo>
                    <a:pt x="375" y="649"/>
                  </a:lnTo>
                  <a:lnTo>
                    <a:pt x="384" y="650"/>
                  </a:lnTo>
                  <a:lnTo>
                    <a:pt x="394" y="649"/>
                  </a:lnTo>
                  <a:lnTo>
                    <a:pt x="404" y="646"/>
                  </a:lnTo>
                  <a:lnTo>
                    <a:pt x="412" y="640"/>
                  </a:lnTo>
                  <a:lnTo>
                    <a:pt x="419" y="635"/>
                  </a:lnTo>
                  <a:lnTo>
                    <a:pt x="425" y="628"/>
                  </a:lnTo>
                  <a:lnTo>
                    <a:pt x="429" y="620"/>
                  </a:lnTo>
                  <a:lnTo>
                    <a:pt x="432" y="611"/>
                  </a:lnTo>
                  <a:lnTo>
                    <a:pt x="433" y="601"/>
                  </a:lnTo>
                  <a:lnTo>
                    <a:pt x="433" y="594"/>
                  </a:lnTo>
                  <a:lnTo>
                    <a:pt x="435" y="588"/>
                  </a:lnTo>
                  <a:lnTo>
                    <a:pt x="439" y="582"/>
                  </a:lnTo>
                  <a:lnTo>
                    <a:pt x="443" y="575"/>
                  </a:lnTo>
                  <a:lnTo>
                    <a:pt x="448" y="571"/>
                  </a:lnTo>
                  <a:lnTo>
                    <a:pt x="454" y="568"/>
                  </a:lnTo>
                  <a:lnTo>
                    <a:pt x="461" y="566"/>
                  </a:lnTo>
                  <a:lnTo>
                    <a:pt x="469" y="565"/>
                  </a:lnTo>
                  <a:lnTo>
                    <a:pt x="476" y="566"/>
                  </a:lnTo>
                  <a:lnTo>
                    <a:pt x="483" y="568"/>
                  </a:lnTo>
                  <a:lnTo>
                    <a:pt x="489" y="571"/>
                  </a:lnTo>
                  <a:lnTo>
                    <a:pt x="494" y="575"/>
                  </a:lnTo>
                  <a:lnTo>
                    <a:pt x="498" y="582"/>
                  </a:lnTo>
                  <a:lnTo>
                    <a:pt x="502" y="588"/>
                  </a:lnTo>
                  <a:lnTo>
                    <a:pt x="504" y="594"/>
                  </a:lnTo>
                  <a:lnTo>
                    <a:pt x="505" y="601"/>
                  </a:lnTo>
                  <a:lnTo>
                    <a:pt x="505" y="611"/>
                  </a:lnTo>
                  <a:lnTo>
                    <a:pt x="508" y="620"/>
                  </a:lnTo>
                  <a:lnTo>
                    <a:pt x="513" y="628"/>
                  </a:lnTo>
                  <a:lnTo>
                    <a:pt x="518" y="635"/>
                  </a:lnTo>
                  <a:lnTo>
                    <a:pt x="525" y="640"/>
                  </a:lnTo>
                  <a:lnTo>
                    <a:pt x="534" y="646"/>
                  </a:lnTo>
                  <a:lnTo>
                    <a:pt x="543" y="649"/>
                  </a:lnTo>
                  <a:lnTo>
                    <a:pt x="553" y="650"/>
                  </a:lnTo>
                  <a:lnTo>
                    <a:pt x="562" y="649"/>
                  </a:lnTo>
                  <a:lnTo>
                    <a:pt x="571" y="646"/>
                  </a:lnTo>
                  <a:lnTo>
                    <a:pt x="579" y="640"/>
                  </a:lnTo>
                  <a:lnTo>
                    <a:pt x="586" y="635"/>
                  </a:lnTo>
                  <a:lnTo>
                    <a:pt x="593" y="628"/>
                  </a:lnTo>
                  <a:lnTo>
                    <a:pt x="597" y="620"/>
                  </a:lnTo>
                  <a:lnTo>
                    <a:pt x="600" y="611"/>
                  </a:lnTo>
                  <a:lnTo>
                    <a:pt x="601" y="601"/>
                  </a:lnTo>
                  <a:lnTo>
                    <a:pt x="600" y="597"/>
                  </a:lnTo>
                  <a:lnTo>
                    <a:pt x="598" y="593"/>
                  </a:lnTo>
                  <a:lnTo>
                    <a:pt x="594" y="590"/>
                  </a:lnTo>
                  <a:lnTo>
                    <a:pt x="588" y="58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endParaRPr lang="en-US" sz="900"/>
            </a:p>
          </p:txBody>
        </p:sp>
        <p:sp>
          <p:nvSpPr>
            <p:cNvPr id="15" name="Freeform 2823">
              <a:extLst>
                <a:ext uri="{FF2B5EF4-FFF2-40B4-BE49-F238E27FC236}">
                  <a16:creationId xmlns:a16="http://schemas.microsoft.com/office/drawing/2014/main" id="{E3AC7301-1826-D513-9F4D-1176D06D9C22}"/>
                </a:ext>
              </a:extLst>
            </p:cNvPr>
            <p:cNvSpPr>
              <a:spLocks/>
            </p:cNvSpPr>
            <p:nvPr/>
          </p:nvSpPr>
          <p:spPr bwMode="auto">
            <a:xfrm>
              <a:off x="5586413" y="5449888"/>
              <a:ext cx="76200" cy="11113"/>
            </a:xfrm>
            <a:custGeom>
              <a:avLst/>
              <a:gdLst>
                <a:gd name="T0" fmla="*/ 192 w 192"/>
                <a:gd name="T1" fmla="*/ 12 h 24"/>
                <a:gd name="T2" fmla="*/ 192 w 192"/>
                <a:gd name="T3" fmla="*/ 8 h 24"/>
                <a:gd name="T4" fmla="*/ 189 w 192"/>
                <a:gd name="T5" fmla="*/ 4 h 24"/>
                <a:gd name="T6" fmla="*/ 185 w 192"/>
                <a:gd name="T7" fmla="*/ 1 h 24"/>
                <a:gd name="T8" fmla="*/ 181 w 192"/>
                <a:gd name="T9" fmla="*/ 0 h 24"/>
                <a:gd name="T10" fmla="*/ 13 w 192"/>
                <a:gd name="T11" fmla="*/ 0 h 24"/>
                <a:gd name="T12" fmla="*/ 8 w 192"/>
                <a:gd name="T13" fmla="*/ 1 h 24"/>
                <a:gd name="T14" fmla="*/ 4 w 192"/>
                <a:gd name="T15" fmla="*/ 4 h 24"/>
                <a:gd name="T16" fmla="*/ 1 w 192"/>
                <a:gd name="T17" fmla="*/ 8 h 24"/>
                <a:gd name="T18" fmla="*/ 0 w 192"/>
                <a:gd name="T19" fmla="*/ 12 h 24"/>
                <a:gd name="T20" fmla="*/ 1 w 192"/>
                <a:gd name="T21" fmla="*/ 17 h 24"/>
                <a:gd name="T22" fmla="*/ 4 w 192"/>
                <a:gd name="T23" fmla="*/ 21 h 24"/>
                <a:gd name="T24" fmla="*/ 8 w 192"/>
                <a:gd name="T25" fmla="*/ 23 h 24"/>
                <a:gd name="T26" fmla="*/ 13 w 192"/>
                <a:gd name="T27" fmla="*/ 24 h 24"/>
                <a:gd name="T28" fmla="*/ 181 w 192"/>
                <a:gd name="T29" fmla="*/ 24 h 24"/>
                <a:gd name="T30" fmla="*/ 185 w 192"/>
                <a:gd name="T31" fmla="*/ 23 h 24"/>
                <a:gd name="T32" fmla="*/ 189 w 192"/>
                <a:gd name="T33" fmla="*/ 21 h 24"/>
                <a:gd name="T34" fmla="*/ 192 w 192"/>
                <a:gd name="T35" fmla="*/ 17 h 24"/>
                <a:gd name="T36" fmla="*/ 192 w 192"/>
                <a:gd name="T37" fmla="*/ 12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92" h="24">
                  <a:moveTo>
                    <a:pt x="192" y="12"/>
                  </a:moveTo>
                  <a:lnTo>
                    <a:pt x="192" y="8"/>
                  </a:lnTo>
                  <a:lnTo>
                    <a:pt x="189" y="4"/>
                  </a:lnTo>
                  <a:lnTo>
                    <a:pt x="185" y="1"/>
                  </a:lnTo>
                  <a:lnTo>
                    <a:pt x="181" y="0"/>
                  </a:lnTo>
                  <a:lnTo>
                    <a:pt x="13" y="0"/>
                  </a:lnTo>
                  <a:lnTo>
                    <a:pt x="8" y="1"/>
                  </a:lnTo>
                  <a:lnTo>
                    <a:pt x="4" y="4"/>
                  </a:lnTo>
                  <a:lnTo>
                    <a:pt x="1" y="8"/>
                  </a:lnTo>
                  <a:lnTo>
                    <a:pt x="0" y="12"/>
                  </a:lnTo>
                  <a:lnTo>
                    <a:pt x="1" y="17"/>
                  </a:lnTo>
                  <a:lnTo>
                    <a:pt x="4" y="21"/>
                  </a:lnTo>
                  <a:lnTo>
                    <a:pt x="8" y="23"/>
                  </a:lnTo>
                  <a:lnTo>
                    <a:pt x="13" y="24"/>
                  </a:lnTo>
                  <a:lnTo>
                    <a:pt x="181" y="24"/>
                  </a:lnTo>
                  <a:lnTo>
                    <a:pt x="185" y="23"/>
                  </a:lnTo>
                  <a:lnTo>
                    <a:pt x="189" y="21"/>
                  </a:lnTo>
                  <a:lnTo>
                    <a:pt x="192" y="17"/>
                  </a:lnTo>
                  <a:lnTo>
                    <a:pt x="192"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endParaRPr lang="en-US" sz="900"/>
            </a:p>
          </p:txBody>
        </p:sp>
        <p:sp>
          <p:nvSpPr>
            <p:cNvPr id="16" name="Freeform 2824">
              <a:extLst>
                <a:ext uri="{FF2B5EF4-FFF2-40B4-BE49-F238E27FC236}">
                  <a16:creationId xmlns:a16="http://schemas.microsoft.com/office/drawing/2014/main" id="{00CBEC22-DC11-F06A-9FC8-87B8FD3FA69A}"/>
                </a:ext>
              </a:extLst>
            </p:cNvPr>
            <p:cNvSpPr>
              <a:spLocks/>
            </p:cNvSpPr>
            <p:nvPr/>
          </p:nvSpPr>
          <p:spPr bwMode="auto">
            <a:xfrm>
              <a:off x="5600700" y="5364163"/>
              <a:ext cx="47625" cy="20638"/>
            </a:xfrm>
            <a:custGeom>
              <a:avLst/>
              <a:gdLst>
                <a:gd name="T0" fmla="*/ 120 w 120"/>
                <a:gd name="T1" fmla="*/ 12 h 49"/>
                <a:gd name="T2" fmla="*/ 119 w 120"/>
                <a:gd name="T3" fmla="*/ 8 h 49"/>
                <a:gd name="T4" fmla="*/ 117 w 120"/>
                <a:gd name="T5" fmla="*/ 4 h 49"/>
                <a:gd name="T6" fmla="*/ 113 w 120"/>
                <a:gd name="T7" fmla="*/ 1 h 49"/>
                <a:gd name="T8" fmla="*/ 108 w 120"/>
                <a:gd name="T9" fmla="*/ 0 h 49"/>
                <a:gd name="T10" fmla="*/ 12 w 120"/>
                <a:gd name="T11" fmla="*/ 0 h 49"/>
                <a:gd name="T12" fmla="*/ 7 w 120"/>
                <a:gd name="T13" fmla="*/ 1 h 49"/>
                <a:gd name="T14" fmla="*/ 3 w 120"/>
                <a:gd name="T15" fmla="*/ 4 h 49"/>
                <a:gd name="T16" fmla="*/ 1 w 120"/>
                <a:gd name="T17" fmla="*/ 8 h 49"/>
                <a:gd name="T18" fmla="*/ 0 w 120"/>
                <a:gd name="T19" fmla="*/ 12 h 49"/>
                <a:gd name="T20" fmla="*/ 0 w 120"/>
                <a:gd name="T21" fmla="*/ 49 h 49"/>
                <a:gd name="T22" fmla="*/ 120 w 120"/>
                <a:gd name="T23" fmla="*/ 49 h 49"/>
                <a:gd name="T24" fmla="*/ 120 w 120"/>
                <a:gd name="T25" fmla="*/ 1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20" h="49">
                  <a:moveTo>
                    <a:pt x="120" y="12"/>
                  </a:moveTo>
                  <a:lnTo>
                    <a:pt x="119" y="8"/>
                  </a:lnTo>
                  <a:lnTo>
                    <a:pt x="117" y="4"/>
                  </a:lnTo>
                  <a:lnTo>
                    <a:pt x="113" y="1"/>
                  </a:lnTo>
                  <a:lnTo>
                    <a:pt x="108" y="0"/>
                  </a:lnTo>
                  <a:lnTo>
                    <a:pt x="12" y="0"/>
                  </a:lnTo>
                  <a:lnTo>
                    <a:pt x="7" y="1"/>
                  </a:lnTo>
                  <a:lnTo>
                    <a:pt x="3" y="4"/>
                  </a:lnTo>
                  <a:lnTo>
                    <a:pt x="1" y="8"/>
                  </a:lnTo>
                  <a:lnTo>
                    <a:pt x="0" y="12"/>
                  </a:lnTo>
                  <a:lnTo>
                    <a:pt x="0" y="49"/>
                  </a:lnTo>
                  <a:lnTo>
                    <a:pt x="120" y="49"/>
                  </a:lnTo>
                  <a:lnTo>
                    <a:pt x="120" y="1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45714" tIns="22857" rIns="45714" bIns="22857" numCol="1" anchor="t" anchorCtr="0" compatLnSpc="1">
              <a:prstTxWarp prst="textNoShape">
                <a:avLst/>
              </a:prstTxWarp>
            </a:bodyPr>
            <a:lstStyle/>
            <a:p>
              <a:endParaRPr lang="en-US" sz="900"/>
            </a:p>
          </p:txBody>
        </p:sp>
      </p:grpSp>
      <p:sp>
        <p:nvSpPr>
          <p:cNvPr id="25" name="TextBox 24">
            <a:extLst>
              <a:ext uri="{FF2B5EF4-FFF2-40B4-BE49-F238E27FC236}">
                <a16:creationId xmlns:a16="http://schemas.microsoft.com/office/drawing/2014/main" id="{2143ED34-773E-B3C6-538C-13A027519FB7}"/>
              </a:ext>
            </a:extLst>
          </p:cNvPr>
          <p:cNvSpPr txBox="1"/>
          <p:nvPr/>
        </p:nvSpPr>
        <p:spPr>
          <a:xfrm>
            <a:off x="4492482" y="2313972"/>
            <a:ext cx="2483392" cy="798657"/>
          </a:xfrm>
          <a:prstGeom prst="rect">
            <a:avLst/>
          </a:prstGeom>
          <a:noFill/>
          <a:ln>
            <a:noFill/>
          </a:ln>
        </p:spPr>
        <p:txBody>
          <a:bodyPr wrap="square" lIns="0" tIns="0" rIns="0" bIns="0" rtlCol="0" anchor="t" anchorCtr="0">
            <a:noAutofit/>
          </a:bodyPr>
          <a:lstStyle/>
          <a:p>
            <a:pPr algn="l"/>
            <a:r>
              <a:rPr lang="en-ID" sz="2800" dirty="0">
                <a:solidFill>
                  <a:srgbClr val="00B050"/>
                </a:solidFill>
                <a:latin typeface="Arial Nova" panose="020B0504020202020204" pitchFamily="34" charset="0"/>
                <a:cs typeface="Etelka Text Pro"/>
              </a:rPr>
              <a:t>+15% </a:t>
            </a:r>
          </a:p>
          <a:p>
            <a:pPr algn="l"/>
            <a:r>
              <a:rPr lang="en-ID" sz="900" dirty="0">
                <a:latin typeface="Arial Nova" panose="020B0504020202020204" pitchFamily="34" charset="0"/>
                <a:ea typeface="Noto Sans" panose="020B0502040504020204" pitchFamily="34" charset="0"/>
                <a:cs typeface="Noto Sans" panose="020B0502040504020204" pitchFamily="34" charset="0"/>
              </a:rPr>
              <a:t>revenue growth Vs Q3 last year</a:t>
            </a:r>
            <a:endParaRPr lang="en-ID" sz="1200" dirty="0">
              <a:latin typeface="Arial Nova" panose="020B0504020202020204" pitchFamily="34" charset="0"/>
              <a:ea typeface="Noto Sans" panose="020B0502040504020204" pitchFamily="34" charset="0"/>
              <a:cs typeface="Noto Sans" panose="020B0502040504020204" pitchFamily="34" charset="0"/>
            </a:endParaRPr>
          </a:p>
        </p:txBody>
      </p:sp>
      <p:sp>
        <p:nvSpPr>
          <p:cNvPr id="33" name="Rectangle 32">
            <a:extLst>
              <a:ext uri="{FF2B5EF4-FFF2-40B4-BE49-F238E27FC236}">
                <a16:creationId xmlns:a16="http://schemas.microsoft.com/office/drawing/2014/main" id="{26FCD03A-065E-D169-E936-AA2FB70769A9}"/>
              </a:ext>
            </a:extLst>
          </p:cNvPr>
          <p:cNvSpPr/>
          <p:nvPr/>
        </p:nvSpPr>
        <p:spPr>
          <a:xfrm>
            <a:off x="4403382" y="3536686"/>
            <a:ext cx="3369018" cy="484748"/>
          </a:xfrm>
          <a:prstGeom prst="rect">
            <a:avLst/>
          </a:prstGeom>
        </p:spPr>
        <p:txBody>
          <a:bodyPr wrap="square" lIns="0" tIns="0" rIns="0" bIns="0" anchor="t">
            <a:spAutoFit/>
          </a:bodyPr>
          <a:lstStyle/>
          <a:p>
            <a:pPr algn="just"/>
            <a:endParaRPr lang="en-US" sz="1050" dirty="0">
              <a:latin typeface="Noto Sans" panose="020B0502040504020204" pitchFamily="34" charset="0"/>
              <a:ea typeface="Noto Sans" panose="020B0502040504020204" pitchFamily="34" charset="0"/>
              <a:cs typeface="Noto Sans" panose="020B0502040504020204" pitchFamily="34" charset="0"/>
            </a:endParaRPr>
          </a:p>
          <a:p>
            <a:r>
              <a:rPr lang="en-US" sz="1050" dirty="0">
                <a:latin typeface="Noto Sans" panose="020B0502040504020204" pitchFamily="34" charset="0"/>
                <a:ea typeface="Noto Sans" panose="020B0502040504020204" pitchFamily="34" charset="0"/>
                <a:cs typeface="Noto Sans" panose="020B0502040504020204" pitchFamily="34" charset="0"/>
              </a:rPr>
              <a:t>Tristar’s</a:t>
            </a:r>
            <a:r>
              <a:rPr lang="en-SG" sz="1050" dirty="0">
                <a:latin typeface="Noto Sans" panose="020B0502040504020204" pitchFamily="34" charset="0"/>
                <a:ea typeface="Noto Sans" panose="020B0502040504020204" pitchFamily="34" charset="0"/>
                <a:cs typeface="Noto Sans" panose="020B0502040504020204" pitchFamily="34" charset="0"/>
              </a:rPr>
              <a:t> growth is driven mainly by the performance of  its diversified portfolio of businesses.</a:t>
            </a:r>
            <a:endParaRPr lang="en-US" sz="1050" dirty="0">
              <a:latin typeface="Noto Sans" panose="020B0502040504020204" pitchFamily="34" charset="0"/>
              <a:ea typeface="Noto Sans" panose="020B0502040504020204" pitchFamily="34" charset="0"/>
              <a:cs typeface="Noto Sans" panose="020B0502040504020204" pitchFamily="34" charset="0"/>
            </a:endParaRPr>
          </a:p>
        </p:txBody>
      </p:sp>
      <p:sp>
        <p:nvSpPr>
          <p:cNvPr id="36" name="Rectangle 35">
            <a:extLst>
              <a:ext uri="{FF2B5EF4-FFF2-40B4-BE49-F238E27FC236}">
                <a16:creationId xmlns:a16="http://schemas.microsoft.com/office/drawing/2014/main" id="{EDF27D1C-D0EF-8D6C-30AA-6F35674F0A0A}"/>
              </a:ext>
            </a:extLst>
          </p:cNvPr>
          <p:cNvSpPr/>
          <p:nvPr/>
        </p:nvSpPr>
        <p:spPr>
          <a:xfrm>
            <a:off x="8460000" y="1828933"/>
            <a:ext cx="2965084" cy="246221"/>
          </a:xfrm>
          <a:prstGeom prst="rect">
            <a:avLst/>
          </a:prstGeom>
        </p:spPr>
        <p:txBody>
          <a:bodyPr wrap="square" lIns="0" tIns="0" rIns="0" bIns="0" anchor="t">
            <a:spAutoFit/>
          </a:bodyPr>
          <a:lstStyle/>
          <a:p>
            <a:r>
              <a:rPr lang="en-US" sz="1600" b="1" dirty="0">
                <a:solidFill>
                  <a:schemeClr val="tx2"/>
                </a:solidFill>
                <a:latin typeface="Noto Sans" panose="020B0502040504020204" pitchFamily="34" charset="0"/>
                <a:ea typeface="Noto Sans" panose="020B0502040504020204" pitchFamily="34" charset="0"/>
                <a:cs typeface="Noto Sans" panose="020B0502040504020204" pitchFamily="34" charset="0"/>
              </a:rPr>
              <a:t>Other Controlled Businesses</a:t>
            </a:r>
          </a:p>
        </p:txBody>
      </p:sp>
      <p:sp>
        <p:nvSpPr>
          <p:cNvPr id="38" name="TextBox 37">
            <a:extLst>
              <a:ext uri="{FF2B5EF4-FFF2-40B4-BE49-F238E27FC236}">
                <a16:creationId xmlns:a16="http://schemas.microsoft.com/office/drawing/2014/main" id="{B9475258-F52F-3995-2472-C103EB48BDE5}"/>
              </a:ext>
            </a:extLst>
          </p:cNvPr>
          <p:cNvSpPr txBox="1"/>
          <p:nvPr/>
        </p:nvSpPr>
        <p:spPr>
          <a:xfrm>
            <a:off x="8460000" y="2290732"/>
            <a:ext cx="2483392" cy="798657"/>
          </a:xfrm>
          <a:prstGeom prst="rect">
            <a:avLst/>
          </a:prstGeom>
          <a:noFill/>
          <a:ln>
            <a:noFill/>
          </a:ln>
        </p:spPr>
        <p:txBody>
          <a:bodyPr wrap="square" lIns="0" tIns="0" rIns="0" bIns="0" rtlCol="0" anchor="t" anchorCtr="0">
            <a:noAutofit/>
          </a:bodyPr>
          <a:lstStyle/>
          <a:p>
            <a:pPr algn="l"/>
            <a:r>
              <a:rPr lang="en-ID" sz="2800" dirty="0">
                <a:solidFill>
                  <a:srgbClr val="00B050"/>
                </a:solidFill>
                <a:latin typeface="Arial Nova" panose="020B0504020202020204" pitchFamily="34" charset="0"/>
                <a:cs typeface="Etelka Text Pro"/>
              </a:rPr>
              <a:t>+30% </a:t>
            </a:r>
          </a:p>
          <a:p>
            <a:pPr algn="l"/>
            <a:r>
              <a:rPr lang="en-ID" sz="900" dirty="0">
                <a:latin typeface="Arial Nova" panose="020B0504020202020204" pitchFamily="34" charset="0"/>
                <a:ea typeface="Noto Sans" panose="020B0502040504020204" pitchFamily="34" charset="0"/>
                <a:cs typeface="Noto Sans" panose="020B0502040504020204" pitchFamily="34" charset="0"/>
              </a:rPr>
              <a:t>revenue growth Vs Q3 last year</a:t>
            </a:r>
            <a:endParaRPr lang="en-ID" sz="1200" dirty="0">
              <a:latin typeface="Arial Nova" panose="020B0504020202020204" pitchFamily="34" charset="0"/>
              <a:ea typeface="Noto Sans" panose="020B0502040504020204" pitchFamily="34" charset="0"/>
              <a:cs typeface="Noto Sans" panose="020B0502040504020204" pitchFamily="34" charset="0"/>
            </a:endParaRPr>
          </a:p>
        </p:txBody>
      </p:sp>
      <p:sp>
        <p:nvSpPr>
          <p:cNvPr id="40" name="Rectangle 39">
            <a:extLst>
              <a:ext uri="{FF2B5EF4-FFF2-40B4-BE49-F238E27FC236}">
                <a16:creationId xmlns:a16="http://schemas.microsoft.com/office/drawing/2014/main" id="{721094B0-A626-6908-B754-B7102AC84EB3}"/>
              </a:ext>
            </a:extLst>
          </p:cNvPr>
          <p:cNvSpPr/>
          <p:nvPr/>
        </p:nvSpPr>
        <p:spPr>
          <a:xfrm>
            <a:off x="8412198" y="3472999"/>
            <a:ext cx="3306037" cy="2008242"/>
          </a:xfrm>
          <a:prstGeom prst="rect">
            <a:avLst/>
          </a:prstGeom>
        </p:spPr>
        <p:txBody>
          <a:bodyPr wrap="square" lIns="0" tIns="0" rIns="0" bIns="0" anchor="t">
            <a:spAutoFit/>
          </a:bodyPr>
          <a:lstStyle/>
          <a:p>
            <a:pPr algn="just"/>
            <a:endParaRPr lang="en-US" sz="1050" dirty="0">
              <a:latin typeface="Noto Sans" panose="020B0502040504020204" pitchFamily="34" charset="0"/>
              <a:ea typeface="Noto Sans" panose="020B0502040504020204" pitchFamily="34" charset="0"/>
              <a:cs typeface="Noto Sans" panose="020B0502040504020204" pitchFamily="34" charset="0"/>
            </a:endParaRPr>
          </a:p>
          <a:p>
            <a:pPr algn="just"/>
            <a:r>
              <a:rPr lang="en-US" sz="1000" dirty="0">
                <a:latin typeface="Noto Sans" panose="020B0502040504020204" pitchFamily="34" charset="0"/>
                <a:ea typeface="Noto Sans" panose="020B0502040504020204" pitchFamily="34" charset="0"/>
                <a:cs typeface="Noto Sans" panose="020B0502040504020204" pitchFamily="34" charset="0"/>
              </a:rPr>
              <a:t>The main businesses to this group were:</a:t>
            </a:r>
          </a:p>
          <a:p>
            <a:pPr marL="171450" indent="-171450" algn="just">
              <a:buFont typeface="Arial" panose="020B0604020202020204" pitchFamily="34" charset="0"/>
              <a:buChar char="•"/>
            </a:pPr>
            <a:r>
              <a:rPr lang="en-SG" sz="1000" dirty="0">
                <a:latin typeface="Noto Sans" panose="020B0502040504020204" pitchFamily="34" charset="0"/>
                <a:ea typeface="Noto Sans" panose="020B0502040504020204" pitchFamily="34" charset="0"/>
                <a:cs typeface="Noto Sans" panose="020B0502040504020204" pitchFamily="34" charset="0"/>
              </a:rPr>
              <a:t>ALP reported 7% third-quarter revenue growth. ALP is continuing to pursue its growth strategy by increasing and optimizing its existing land bank and developing new projects.</a:t>
            </a:r>
          </a:p>
          <a:p>
            <a:pPr marL="171450" indent="-171450" algn="just">
              <a:buFont typeface="Arial" panose="020B0604020202020204" pitchFamily="34" charset="0"/>
              <a:buChar char="•"/>
            </a:pPr>
            <a:r>
              <a:rPr lang="en-US" sz="1000" dirty="0">
                <a:latin typeface="Noto Sans" panose="020B0502040504020204" pitchFamily="34" charset="0"/>
                <a:ea typeface="Noto Sans" panose="020B0502040504020204" pitchFamily="34" charset="0"/>
                <a:cs typeface="Noto Sans" panose="020B0502040504020204" pitchFamily="34" charset="0"/>
              </a:rPr>
              <a:t>UPAC </a:t>
            </a:r>
            <a:r>
              <a:rPr lang="en-SG" sz="1000" dirty="0">
                <a:latin typeface="Noto Sans" panose="020B0502040504020204" pitchFamily="34" charset="0"/>
                <a:ea typeface="Noto Sans" panose="020B0502040504020204" pitchFamily="34" charset="0"/>
                <a:cs typeface="Noto Sans" panose="020B0502040504020204" pitchFamily="34" charset="0"/>
              </a:rPr>
              <a:t>reported a 1.4% increase in revenue in this quarter. The increase was primarily attributable to an increase in revenue as the result of growth in air passenger traffic. </a:t>
            </a:r>
          </a:p>
          <a:p>
            <a:pPr marL="171450" indent="-171450" algn="just">
              <a:buFont typeface="Arial" panose="020B0604020202020204" pitchFamily="34" charset="0"/>
              <a:buChar char="•"/>
            </a:pPr>
            <a:r>
              <a:rPr lang="en-US" sz="1000" dirty="0">
                <a:latin typeface="Noto Sans" panose="020B0502040504020204" pitchFamily="34" charset="0"/>
                <a:ea typeface="Noto Sans" panose="020B0502040504020204" pitchFamily="34" charset="0"/>
                <a:cs typeface="Noto Sans" panose="020B0502040504020204" pitchFamily="34" charset="0"/>
              </a:rPr>
              <a:t>GCS revenue grew 11.6% vs. the same period in 2022. GCS is focused on delivering optimal efficiency and services to its customers. </a:t>
            </a:r>
          </a:p>
        </p:txBody>
      </p:sp>
      <p:sp>
        <p:nvSpPr>
          <p:cNvPr id="3" name="TextBox 2">
            <a:extLst>
              <a:ext uri="{FF2B5EF4-FFF2-40B4-BE49-F238E27FC236}">
                <a16:creationId xmlns:a16="http://schemas.microsoft.com/office/drawing/2014/main" id="{564C6A2A-8D73-2CD4-E0C0-07FB311629D5}"/>
              </a:ext>
            </a:extLst>
          </p:cNvPr>
          <p:cNvSpPr txBox="1"/>
          <p:nvPr/>
        </p:nvSpPr>
        <p:spPr>
          <a:xfrm>
            <a:off x="2173377" y="2320302"/>
            <a:ext cx="2483392" cy="798657"/>
          </a:xfrm>
          <a:prstGeom prst="rect">
            <a:avLst/>
          </a:prstGeom>
          <a:noFill/>
          <a:ln>
            <a:noFill/>
          </a:ln>
        </p:spPr>
        <p:txBody>
          <a:bodyPr wrap="square" lIns="0" tIns="0" rIns="0" bIns="0" rtlCol="0" anchor="t" anchorCtr="0">
            <a:noAutofit/>
          </a:bodyPr>
          <a:lstStyle/>
          <a:p>
            <a:pPr algn="l"/>
            <a:r>
              <a:rPr lang="en-ID" sz="2800" dirty="0">
                <a:solidFill>
                  <a:srgbClr val="00B050"/>
                </a:solidFill>
                <a:latin typeface="Arial Nova" panose="020B0504020202020204" pitchFamily="34" charset="0"/>
                <a:cs typeface="Etelka Text Pro"/>
              </a:rPr>
              <a:t>+50% </a:t>
            </a:r>
          </a:p>
          <a:p>
            <a:pPr algn="l"/>
            <a:r>
              <a:rPr lang="en-ID" sz="900" dirty="0">
                <a:latin typeface="Arial Nova" panose="020B0504020202020204" pitchFamily="34" charset="0"/>
                <a:ea typeface="Noto Sans" panose="020B0502040504020204" pitchFamily="34" charset="0"/>
                <a:cs typeface="Noto Sans" panose="020B0502040504020204" pitchFamily="34" charset="0"/>
              </a:rPr>
              <a:t>EBITDA growth Vs Q last year</a:t>
            </a:r>
            <a:endParaRPr lang="en-ID" sz="1200" dirty="0">
              <a:latin typeface="Arial Nova" panose="020B0504020202020204" pitchFamily="34" charset="0"/>
              <a:ea typeface="Noto Sans" panose="020B0502040504020204" pitchFamily="34" charset="0"/>
              <a:cs typeface="Noto Sans" panose="020B0502040504020204" pitchFamily="34" charset="0"/>
            </a:endParaRPr>
          </a:p>
        </p:txBody>
      </p:sp>
      <p:sp>
        <p:nvSpPr>
          <p:cNvPr id="5" name="TextBox 4">
            <a:extLst>
              <a:ext uri="{FF2B5EF4-FFF2-40B4-BE49-F238E27FC236}">
                <a16:creationId xmlns:a16="http://schemas.microsoft.com/office/drawing/2014/main" id="{A2F856E5-5920-BF88-1C22-91DB37D7147B}"/>
              </a:ext>
            </a:extLst>
          </p:cNvPr>
          <p:cNvSpPr txBox="1"/>
          <p:nvPr/>
        </p:nvSpPr>
        <p:spPr>
          <a:xfrm>
            <a:off x="6234578" y="2318816"/>
            <a:ext cx="2483392" cy="798657"/>
          </a:xfrm>
          <a:prstGeom prst="rect">
            <a:avLst/>
          </a:prstGeom>
          <a:noFill/>
          <a:ln>
            <a:noFill/>
          </a:ln>
        </p:spPr>
        <p:txBody>
          <a:bodyPr wrap="square" lIns="0" tIns="0" rIns="0" bIns="0" rtlCol="0" anchor="t" anchorCtr="0">
            <a:noAutofit/>
          </a:bodyPr>
          <a:lstStyle/>
          <a:p>
            <a:pPr algn="l"/>
            <a:r>
              <a:rPr lang="en-ID" sz="2800" dirty="0">
                <a:solidFill>
                  <a:srgbClr val="00B050"/>
                </a:solidFill>
                <a:latin typeface="Arial Nova" panose="020B0504020202020204" pitchFamily="34" charset="0"/>
                <a:cs typeface="Etelka Text Pro"/>
              </a:rPr>
              <a:t>+22% </a:t>
            </a:r>
          </a:p>
          <a:p>
            <a:pPr algn="l"/>
            <a:r>
              <a:rPr lang="en-ID" sz="900" dirty="0">
                <a:latin typeface="Arial Nova" panose="020B0504020202020204" pitchFamily="34" charset="0"/>
                <a:ea typeface="Noto Sans" panose="020B0502040504020204" pitchFamily="34" charset="0"/>
                <a:cs typeface="Noto Sans" panose="020B0502040504020204" pitchFamily="34" charset="0"/>
              </a:rPr>
              <a:t>EBITDA growth Vs Q3 last year</a:t>
            </a:r>
            <a:endParaRPr lang="en-ID" sz="1200" dirty="0">
              <a:latin typeface="Arial Nova" panose="020B0504020202020204" pitchFamily="34" charset="0"/>
              <a:ea typeface="Noto Sans" panose="020B0502040504020204" pitchFamily="34" charset="0"/>
              <a:cs typeface="Noto Sans" panose="020B0502040504020204" pitchFamily="34" charset="0"/>
            </a:endParaRPr>
          </a:p>
        </p:txBody>
      </p:sp>
      <p:sp>
        <p:nvSpPr>
          <p:cNvPr id="6" name="TextBox 5">
            <a:extLst>
              <a:ext uri="{FF2B5EF4-FFF2-40B4-BE49-F238E27FC236}">
                <a16:creationId xmlns:a16="http://schemas.microsoft.com/office/drawing/2014/main" id="{B86C32F8-2E64-7F3B-240E-A4132DF00E70}"/>
              </a:ext>
            </a:extLst>
          </p:cNvPr>
          <p:cNvSpPr txBox="1"/>
          <p:nvPr/>
        </p:nvSpPr>
        <p:spPr>
          <a:xfrm>
            <a:off x="10183388" y="2290731"/>
            <a:ext cx="2483392" cy="798657"/>
          </a:xfrm>
          <a:prstGeom prst="rect">
            <a:avLst/>
          </a:prstGeom>
          <a:noFill/>
          <a:ln>
            <a:noFill/>
          </a:ln>
        </p:spPr>
        <p:txBody>
          <a:bodyPr wrap="square" lIns="0" tIns="0" rIns="0" bIns="0" rtlCol="0" anchor="t" anchorCtr="0">
            <a:noAutofit/>
          </a:bodyPr>
          <a:lstStyle/>
          <a:p>
            <a:pPr algn="l"/>
            <a:r>
              <a:rPr lang="en-ID" sz="2800" dirty="0">
                <a:solidFill>
                  <a:srgbClr val="00B050"/>
                </a:solidFill>
                <a:latin typeface="Arial Nova" panose="020B0504020202020204" pitchFamily="34" charset="0"/>
                <a:cs typeface="Etelka Text Pro"/>
              </a:rPr>
              <a:t>+21% </a:t>
            </a:r>
          </a:p>
          <a:p>
            <a:pPr algn="l"/>
            <a:r>
              <a:rPr lang="en-ID" sz="900" dirty="0">
                <a:latin typeface="Arial Nova" panose="020B0504020202020204" pitchFamily="34" charset="0"/>
                <a:ea typeface="Noto Sans" panose="020B0502040504020204" pitchFamily="34" charset="0"/>
                <a:cs typeface="Noto Sans" panose="020B0502040504020204" pitchFamily="34" charset="0"/>
              </a:rPr>
              <a:t>EBITDA growth Vs Q3 last year</a:t>
            </a:r>
            <a:endParaRPr lang="en-ID" sz="1200" dirty="0">
              <a:latin typeface="Arial Nova" panose="020B0504020202020204" pitchFamily="34" charset="0"/>
              <a:ea typeface="Noto Sans" panose="020B0502040504020204" pitchFamily="34" charset="0"/>
              <a:cs typeface="Noto Sans" panose="020B0502040504020204" pitchFamily="34" charset="0"/>
            </a:endParaRPr>
          </a:p>
        </p:txBody>
      </p:sp>
      <p:sp>
        <p:nvSpPr>
          <p:cNvPr id="8" name="Rectangle 7">
            <a:extLst>
              <a:ext uri="{FF2B5EF4-FFF2-40B4-BE49-F238E27FC236}">
                <a16:creationId xmlns:a16="http://schemas.microsoft.com/office/drawing/2014/main" id="{449BBA33-C2A4-10E8-3541-21628DAEBAB9}"/>
              </a:ext>
            </a:extLst>
          </p:cNvPr>
          <p:cNvSpPr/>
          <p:nvPr/>
        </p:nvSpPr>
        <p:spPr>
          <a:xfrm>
            <a:off x="4390369" y="3315451"/>
            <a:ext cx="2153531" cy="246221"/>
          </a:xfrm>
          <a:prstGeom prst="rect">
            <a:avLst/>
          </a:prstGeom>
        </p:spPr>
        <p:txBody>
          <a:bodyPr wrap="square" lIns="0" tIns="0" rIns="0" bIns="0" anchor="t">
            <a:spAutoFit/>
          </a:bodyPr>
          <a:lstStyle/>
          <a:p>
            <a:pPr marL="285750" indent="-285750">
              <a:buFont typeface="Noto Sans" panose="020B0502040504020204" pitchFamily="34" charset="0"/>
              <a:buChar char="►"/>
            </a:pPr>
            <a:r>
              <a:rPr lang="en-US" sz="1600" b="1" dirty="0">
                <a:solidFill>
                  <a:schemeClr val="tx2"/>
                </a:solidFill>
                <a:latin typeface="Noto Sans" panose="020B0502040504020204" pitchFamily="34" charset="0"/>
                <a:ea typeface="Noto Sans" panose="020B0502040504020204" pitchFamily="34" charset="0"/>
                <a:cs typeface="Noto Sans" panose="020B0502040504020204" pitchFamily="34" charset="0"/>
              </a:rPr>
              <a:t>Growth Drivers</a:t>
            </a:r>
          </a:p>
        </p:txBody>
      </p:sp>
      <p:sp>
        <p:nvSpPr>
          <p:cNvPr id="9" name="Rectangle 8">
            <a:extLst>
              <a:ext uri="{FF2B5EF4-FFF2-40B4-BE49-F238E27FC236}">
                <a16:creationId xmlns:a16="http://schemas.microsoft.com/office/drawing/2014/main" id="{002C73CE-5FCE-A403-433B-DCC2208D90AB}"/>
              </a:ext>
            </a:extLst>
          </p:cNvPr>
          <p:cNvSpPr/>
          <p:nvPr/>
        </p:nvSpPr>
        <p:spPr>
          <a:xfrm>
            <a:off x="8473537" y="3315450"/>
            <a:ext cx="2153531" cy="246221"/>
          </a:xfrm>
          <a:prstGeom prst="rect">
            <a:avLst/>
          </a:prstGeom>
        </p:spPr>
        <p:txBody>
          <a:bodyPr wrap="square" lIns="0" tIns="0" rIns="0" bIns="0" anchor="t">
            <a:spAutoFit/>
          </a:bodyPr>
          <a:lstStyle/>
          <a:p>
            <a:pPr marL="285750" indent="-285750">
              <a:buFont typeface="Noto Sans" panose="020B0502040504020204" pitchFamily="34" charset="0"/>
              <a:buChar char="►"/>
            </a:pPr>
            <a:r>
              <a:rPr lang="en-US" sz="1600" b="1" dirty="0">
                <a:solidFill>
                  <a:schemeClr val="tx2"/>
                </a:solidFill>
                <a:latin typeface="Noto Sans" panose="020B0502040504020204" pitchFamily="34" charset="0"/>
                <a:ea typeface="Noto Sans" panose="020B0502040504020204" pitchFamily="34" charset="0"/>
                <a:cs typeface="Noto Sans" panose="020B0502040504020204" pitchFamily="34" charset="0"/>
              </a:rPr>
              <a:t>Growth Drivers</a:t>
            </a:r>
          </a:p>
        </p:txBody>
      </p:sp>
    </p:spTree>
    <p:extLst>
      <p:ext uri="{BB962C8B-B14F-4D97-AF65-F5344CB8AC3E}">
        <p14:creationId xmlns:p14="http://schemas.microsoft.com/office/powerpoint/2010/main" val="117628748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A7F2AC3-1BD2-44DB-B05E-45E85C5386F1}"/>
              </a:ext>
            </a:extLst>
          </p:cNvPr>
          <p:cNvSpPr/>
          <p:nvPr/>
        </p:nvSpPr>
        <p:spPr>
          <a:xfrm>
            <a:off x="0" y="-1"/>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Imagen 9" descr="Agility_logos_ppt-03.png">
            <a:extLst>
              <a:ext uri="{FF2B5EF4-FFF2-40B4-BE49-F238E27FC236}">
                <a16:creationId xmlns:a16="http://schemas.microsoft.com/office/drawing/2014/main" id="{F8252D0D-54DF-43F5-A4C9-3F514DC26E3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46540" y="3261361"/>
            <a:ext cx="2550160" cy="705669"/>
          </a:xfrm>
          <a:prstGeom prst="rect">
            <a:avLst/>
          </a:prstGeom>
        </p:spPr>
      </p:pic>
      <p:sp>
        <p:nvSpPr>
          <p:cNvPr id="16" name="Text Placeholder 4">
            <a:extLst>
              <a:ext uri="{FF2B5EF4-FFF2-40B4-BE49-F238E27FC236}">
                <a16:creationId xmlns:a16="http://schemas.microsoft.com/office/drawing/2014/main" id="{0F15FDB9-F78E-4909-BBC1-405C39007DF5}"/>
              </a:ext>
            </a:extLst>
          </p:cNvPr>
          <p:cNvSpPr txBox="1">
            <a:spLocks/>
          </p:cNvSpPr>
          <p:nvPr/>
        </p:nvSpPr>
        <p:spPr>
          <a:xfrm>
            <a:off x="827314" y="3355135"/>
            <a:ext cx="4792437" cy="1443131"/>
          </a:xfrm>
          <a:prstGeom prst="rect">
            <a:avLst/>
          </a:prstGeom>
        </p:spPr>
        <p:txBody>
          <a:bodyPr vert="horz" lIns="34267" tIns="17132" rIns="34267" bIns="17132">
            <a:normAutofit/>
          </a:bodyPr>
          <a:lstStyle>
            <a:lvl1pPr marL="0" indent="0" algn="l" rtl="0" eaLnBrk="1" fontAlgn="base" hangingPunct="1">
              <a:spcBef>
                <a:spcPct val="20000"/>
              </a:spcBef>
              <a:spcAft>
                <a:spcPct val="0"/>
              </a:spcAft>
              <a:buNone/>
              <a:defRPr sz="4499" b="1" i="0" spc="-149" baseline="0">
                <a:solidFill>
                  <a:schemeClr val="tx2"/>
                </a:solidFill>
                <a:latin typeface="Karla"/>
                <a:ea typeface="MS PGothic" pitchFamily="34" charset="-128"/>
                <a:cs typeface="Karla"/>
              </a:defRPr>
            </a:lvl1pPr>
            <a:lvl2pPr marL="773219" indent="-297392" algn="l" rtl="0" eaLnBrk="1" fontAlgn="base" hangingPunct="1">
              <a:spcBef>
                <a:spcPct val="20000"/>
              </a:spcBef>
              <a:spcAft>
                <a:spcPct val="0"/>
              </a:spcAft>
              <a:buChar char="–"/>
              <a:defRPr sz="1200">
                <a:solidFill>
                  <a:srgbClr val="888888"/>
                </a:solidFill>
                <a:latin typeface="Arial"/>
                <a:ea typeface="MS PGothic" pitchFamily="34" charset="-128"/>
                <a:cs typeface="Arial"/>
              </a:defRPr>
            </a:lvl2pPr>
            <a:lvl3pPr marL="1189569"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3pPr>
            <a:lvl4pPr marL="1665396"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4pPr>
            <a:lvl5pPr marL="2141224"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5pPr>
            <a:lvl6pPr marL="2617260" indent="-237931" algn="l" rtl="0" eaLnBrk="1" latinLnBrk="0" hangingPunct="1">
              <a:spcBef>
                <a:spcPct val="20000"/>
              </a:spcBef>
              <a:buChar char="•"/>
              <a:defRPr sz="2133">
                <a:solidFill>
                  <a:schemeClr val="tx1"/>
                </a:solidFill>
                <a:latin typeface="+mn-lt"/>
                <a:ea typeface="+mn-ea"/>
                <a:cs typeface="+mn-cs"/>
              </a:defRPr>
            </a:lvl6pPr>
            <a:lvl7pPr marL="3093125" indent="-237931" algn="l" rtl="0" eaLnBrk="1" latinLnBrk="0" hangingPunct="1">
              <a:spcBef>
                <a:spcPct val="20000"/>
              </a:spcBef>
              <a:buChar char="•"/>
              <a:defRPr sz="2133">
                <a:solidFill>
                  <a:schemeClr val="tx1"/>
                </a:solidFill>
                <a:latin typeface="+mn-lt"/>
                <a:ea typeface="+mn-ea"/>
                <a:cs typeface="+mn-cs"/>
              </a:defRPr>
            </a:lvl7pPr>
            <a:lvl8pPr marL="3568992" indent="-237931" algn="l" rtl="0" eaLnBrk="1" latinLnBrk="0" hangingPunct="1">
              <a:spcBef>
                <a:spcPct val="20000"/>
              </a:spcBef>
              <a:buChar char="•"/>
              <a:defRPr sz="2133">
                <a:solidFill>
                  <a:schemeClr val="tx1"/>
                </a:solidFill>
                <a:latin typeface="+mn-lt"/>
                <a:ea typeface="+mn-ea"/>
                <a:cs typeface="+mn-cs"/>
              </a:defRPr>
            </a:lvl8pPr>
            <a:lvl9pPr marL="4044857" indent="-237931" algn="l" rtl="0" eaLnBrk="1" latinLnBrk="0" hangingPunct="1">
              <a:spcBef>
                <a:spcPct val="20000"/>
              </a:spcBef>
              <a:buChar char="•"/>
              <a:defRPr sz="2133">
                <a:solidFill>
                  <a:schemeClr val="tx1"/>
                </a:solidFill>
                <a:latin typeface="+mn-lt"/>
                <a:ea typeface="+mn-ea"/>
                <a:cs typeface="+mn-cs"/>
              </a:defRPr>
            </a:lvl9pPr>
          </a:lstStyle>
          <a:p>
            <a:r>
              <a:rPr lang="en-US" sz="4500" kern="0" dirty="0">
                <a:latin typeface="+mj-lt"/>
                <a:cs typeface="Arial" panose="020B0604020202020204" pitchFamily="34" charset="0"/>
              </a:rPr>
              <a:t>Q&amp;A Session</a:t>
            </a:r>
          </a:p>
        </p:txBody>
      </p:sp>
      <p:sp>
        <p:nvSpPr>
          <p:cNvPr id="18" name="Freeform: Shape 17">
            <a:extLst>
              <a:ext uri="{FF2B5EF4-FFF2-40B4-BE49-F238E27FC236}">
                <a16:creationId xmlns:a16="http://schemas.microsoft.com/office/drawing/2014/main" id="{F0073BE7-7357-4A3A-9744-2D1A90950CE2}"/>
              </a:ext>
            </a:extLst>
          </p:cNvPr>
          <p:cNvSpPr/>
          <p:nvPr/>
        </p:nvSpPr>
        <p:spPr>
          <a:xfrm>
            <a:off x="0" y="4297680"/>
            <a:ext cx="431781" cy="2560320"/>
          </a:xfrm>
          <a:custGeom>
            <a:avLst/>
            <a:gdLst>
              <a:gd name="connsiteX0" fmla="*/ 0 w 431781"/>
              <a:gd name="connsiteY0" fmla="*/ 0 h 2560320"/>
              <a:gd name="connsiteX1" fmla="*/ 1 w 431781"/>
              <a:gd name="connsiteY1" fmla="*/ 0 h 2560320"/>
              <a:gd name="connsiteX2" fmla="*/ 431781 w 431781"/>
              <a:gd name="connsiteY2" fmla="*/ 1066753 h 2560320"/>
              <a:gd name="connsiteX3" fmla="*/ 0 w 431781"/>
              <a:gd name="connsiteY3" fmla="*/ 2560320 h 2560320"/>
              <a:gd name="connsiteX4" fmla="*/ 0 w 431781"/>
              <a:gd name="connsiteY4" fmla="*/ 0 h 2560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781" h="2560320">
                <a:moveTo>
                  <a:pt x="0" y="0"/>
                </a:moveTo>
                <a:lnTo>
                  <a:pt x="1" y="0"/>
                </a:lnTo>
                <a:lnTo>
                  <a:pt x="431781" y="1066753"/>
                </a:lnTo>
                <a:lnTo>
                  <a:pt x="0" y="2560320"/>
                </a:lnTo>
                <a:lnTo>
                  <a:pt x="0" y="0"/>
                </a:lnTo>
                <a:close/>
              </a:path>
            </a:pathLst>
          </a:custGeom>
          <a:solidFill>
            <a:srgbClr val="AF27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2" name="Freeform: Shape 21">
            <a:extLst>
              <a:ext uri="{FF2B5EF4-FFF2-40B4-BE49-F238E27FC236}">
                <a16:creationId xmlns:a16="http://schemas.microsoft.com/office/drawing/2014/main" id="{ADF5EBE0-0E61-4E3A-A1C5-FC6BC76BA79A}"/>
              </a:ext>
            </a:extLst>
          </p:cNvPr>
          <p:cNvSpPr/>
          <p:nvPr/>
        </p:nvSpPr>
        <p:spPr>
          <a:xfrm>
            <a:off x="431781" y="4297680"/>
            <a:ext cx="308393" cy="1066754"/>
          </a:xfrm>
          <a:custGeom>
            <a:avLst/>
            <a:gdLst>
              <a:gd name="connsiteX0" fmla="*/ 308392 w 308393"/>
              <a:gd name="connsiteY0" fmla="*/ 0 h 1066754"/>
              <a:gd name="connsiteX1" fmla="*/ 308393 w 308393"/>
              <a:gd name="connsiteY1" fmla="*/ 0 h 1066754"/>
              <a:gd name="connsiteX2" fmla="*/ 1 w 308393"/>
              <a:gd name="connsiteY2" fmla="*/ 1066754 h 1066754"/>
              <a:gd name="connsiteX3" fmla="*/ 0 w 308393"/>
              <a:gd name="connsiteY3" fmla="*/ 1066753 h 1066754"/>
              <a:gd name="connsiteX4" fmla="*/ 308392 w 308393"/>
              <a:gd name="connsiteY4" fmla="*/ 0 h 1066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393" h="1066754">
                <a:moveTo>
                  <a:pt x="308392" y="0"/>
                </a:moveTo>
                <a:lnTo>
                  <a:pt x="308393" y="0"/>
                </a:lnTo>
                <a:lnTo>
                  <a:pt x="1" y="1066754"/>
                </a:lnTo>
                <a:lnTo>
                  <a:pt x="0" y="1066753"/>
                </a:lnTo>
                <a:lnTo>
                  <a:pt x="308392" y="0"/>
                </a:lnTo>
                <a:close/>
              </a:path>
            </a:pathLst>
          </a:custGeom>
          <a:solidFill>
            <a:srgbClr val="AF27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23" name="Freeform: Shape 22">
            <a:extLst>
              <a:ext uri="{FF2B5EF4-FFF2-40B4-BE49-F238E27FC236}">
                <a16:creationId xmlns:a16="http://schemas.microsoft.com/office/drawing/2014/main" id="{1873A934-7D5C-40A3-BDA5-3E2A74872F55}"/>
              </a:ext>
            </a:extLst>
          </p:cNvPr>
          <p:cNvSpPr/>
          <p:nvPr/>
        </p:nvSpPr>
        <p:spPr>
          <a:xfrm>
            <a:off x="0" y="5364434"/>
            <a:ext cx="1036320" cy="1493566"/>
          </a:xfrm>
          <a:custGeom>
            <a:avLst/>
            <a:gdLst>
              <a:gd name="connsiteX0" fmla="*/ 431781 w 1036320"/>
              <a:gd name="connsiteY0" fmla="*/ 0 h 1493566"/>
              <a:gd name="connsiteX1" fmla="*/ 1036320 w 1036320"/>
              <a:gd name="connsiteY1" fmla="*/ 1493566 h 1493566"/>
              <a:gd name="connsiteX2" fmla="*/ 0 w 1036320"/>
              <a:gd name="connsiteY2" fmla="*/ 1493566 h 1493566"/>
              <a:gd name="connsiteX3" fmla="*/ 431781 w 1036320"/>
              <a:gd name="connsiteY3" fmla="*/ 0 h 1493566"/>
            </a:gdLst>
            <a:ahLst/>
            <a:cxnLst>
              <a:cxn ang="0">
                <a:pos x="connsiteX0" y="connsiteY0"/>
              </a:cxn>
              <a:cxn ang="0">
                <a:pos x="connsiteX1" y="connsiteY1"/>
              </a:cxn>
              <a:cxn ang="0">
                <a:pos x="connsiteX2" y="connsiteY2"/>
              </a:cxn>
              <a:cxn ang="0">
                <a:pos x="connsiteX3" y="connsiteY3"/>
              </a:cxn>
            </a:cxnLst>
            <a:rect l="l" t="t" r="r" b="b"/>
            <a:pathLst>
              <a:path w="1036320" h="1493566">
                <a:moveTo>
                  <a:pt x="431781" y="0"/>
                </a:moveTo>
                <a:lnTo>
                  <a:pt x="1036320" y="1493566"/>
                </a:lnTo>
                <a:lnTo>
                  <a:pt x="0" y="1493566"/>
                </a:lnTo>
                <a:lnTo>
                  <a:pt x="43178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2563590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661" progId="TCLayout.ActiveDocument.1">
                  <p:embed/>
                </p:oleObj>
              </mc:Choice>
              <mc:Fallback>
                <p:oleObj name="think-cell Slide" r:id="rId5" imgW="592" imgH="661"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spcBef>
                <a:spcPct val="0"/>
              </a:spcBef>
              <a:spcAft>
                <a:spcPct val="0"/>
              </a:spcAft>
            </a:pPr>
            <a:endParaRPr lang="en-US" sz="1000" dirty="0">
              <a:latin typeface="Arial" panose="020B0604020202020204" pitchFamily="34" charset="0"/>
              <a:cs typeface="Arial" panose="020B0604020202020204" pitchFamily="34" charset="0"/>
              <a:sym typeface="Arial" panose="020B0604020202020204" pitchFamily="34" charset="0"/>
            </a:endParaRPr>
          </a:p>
        </p:txBody>
      </p:sp>
      <p:sp>
        <p:nvSpPr>
          <p:cNvPr id="2" name="Text Placeholder 1">
            <a:extLst>
              <a:ext uri="{FF2B5EF4-FFF2-40B4-BE49-F238E27FC236}">
                <a16:creationId xmlns:a16="http://schemas.microsoft.com/office/drawing/2014/main" id="{23E41FC5-471A-485B-937D-902E1DF884F3}"/>
              </a:ext>
            </a:extLst>
          </p:cNvPr>
          <p:cNvSpPr>
            <a:spLocks noGrp="1"/>
          </p:cNvSpPr>
          <p:nvPr>
            <p:ph type="body" sz="quarter" idx="34"/>
          </p:nvPr>
        </p:nvSpPr>
        <p:spPr>
          <a:xfrm>
            <a:off x="304801" y="476672"/>
            <a:ext cx="8815140" cy="384510"/>
          </a:xfrm>
        </p:spPr>
        <p:txBody>
          <a:bodyPr/>
          <a:lstStyle/>
          <a:p>
            <a:r>
              <a:rPr lang="en-US" dirty="0"/>
              <a:t>Forward-Looking Statements Disclaimer</a:t>
            </a:r>
          </a:p>
        </p:txBody>
      </p:sp>
      <p:sp>
        <p:nvSpPr>
          <p:cNvPr id="24" name="TextBox 23">
            <a:extLst>
              <a:ext uri="{FF2B5EF4-FFF2-40B4-BE49-F238E27FC236}">
                <a16:creationId xmlns:a16="http://schemas.microsoft.com/office/drawing/2014/main" id="{EB305A07-F011-4B52-A390-166B3B7DC2BC}"/>
              </a:ext>
            </a:extLst>
          </p:cNvPr>
          <p:cNvSpPr txBox="1"/>
          <p:nvPr/>
        </p:nvSpPr>
        <p:spPr>
          <a:xfrm>
            <a:off x="304802" y="1209568"/>
            <a:ext cx="11620498" cy="4231928"/>
          </a:xfrm>
          <a:prstGeom prst="rect">
            <a:avLst/>
          </a:prstGeom>
          <a:noFill/>
          <a:ln>
            <a:noFill/>
          </a:ln>
        </p:spPr>
        <p:txBody>
          <a:bodyPr wrap="square">
            <a:spAutoFit/>
          </a:bodyPr>
          <a:lstStyle/>
          <a:p>
            <a:pPr algn="l">
              <a:spcAft>
                <a:spcPts val="1800"/>
              </a:spcAft>
              <a:tabLst>
                <a:tab pos="457200" algn="l"/>
              </a:tabLst>
            </a:pPr>
            <a:r>
              <a:rPr lang="en-US" sz="1400" dirty="0">
                <a:ea typeface="Helv"/>
                <a:cs typeface="Arial" panose="020B0604020202020204" pitchFamily="34" charset="0"/>
              </a:rPr>
              <a:t>This presentation is strictly confidential and is being shown to you solely for your information and may not be reproduced, retransmitted, further distributed to any other person or published, in whole or in part, for any purpose.</a:t>
            </a:r>
          </a:p>
          <a:p>
            <a:pPr>
              <a:spcAft>
                <a:spcPts val="1800"/>
              </a:spcAft>
              <a:tabLst>
                <a:tab pos="457200" algn="l"/>
              </a:tabLst>
            </a:pPr>
            <a:r>
              <a:rPr lang="en-US" sz="1400" dirty="0">
                <a:ea typeface="Helv"/>
                <a:cs typeface="Arial" panose="020B0604020202020204" pitchFamily="34" charset="0"/>
              </a:rPr>
              <a:t>This presentation has been prepared by Agility Public Warehousing Company KSCP (“Agility”) and reflects the management’s current expectations or strategy concerning future events and are subject to known and unknown risks and uncertainties.</a:t>
            </a:r>
          </a:p>
          <a:p>
            <a:pPr>
              <a:spcAft>
                <a:spcPts val="1800"/>
              </a:spcAft>
              <a:tabLst>
                <a:tab pos="457200" algn="l"/>
              </a:tabLst>
            </a:pPr>
            <a:r>
              <a:rPr lang="en-US" sz="1400" dirty="0">
                <a:ea typeface="Helv"/>
                <a:cs typeface="Arial" panose="020B0604020202020204" pitchFamily="34" charset="0"/>
              </a:rPr>
              <a:t>Some of the statements in this presentation constitute "forward-looking statements" that do not directly or exclusively relate to historical facts. These forward-looking statements reflect Agility’s current intentions, plans, expectations, assumptions and beliefs about future events and are subject to risks, uncertainties and other factors, many of which are outside Agility’s control. Important factors that could cause actual results to differ materially from the expectations expressed or implied in the forward-looking statements include known and unknown risks. Agility undertakes no obligation to revise any such forward-looking statements to reflect any changes to its expectations or any change in circumstances, events, strategy or plans. Because actual results could differ materially from Agility’s current intentions, plans, expectations, assumptions and beliefs about the future, you are urged to view all forward-looking statements contained in this presentation with due care and caution and seek independent advice when evaluating investment decisions concerning Agility.</a:t>
            </a:r>
          </a:p>
          <a:p>
            <a:pPr>
              <a:spcAft>
                <a:spcPts val="1800"/>
              </a:spcAft>
              <a:tabLst>
                <a:tab pos="457200" algn="l"/>
              </a:tabLst>
            </a:pPr>
            <a:r>
              <a:rPr lang="en-US" sz="1400" dirty="0">
                <a:ea typeface="Helv"/>
                <a:cs typeface="Arial" panose="020B0604020202020204" pitchFamily="34" charset="0"/>
              </a:rPr>
              <a:t>No representation or warranty, express or implied, is made or given by or on behalf of Agility or any of its respective members, directors, officers or employees or any other person as to the accuracy, completeness or fairness of the information or opinions contained in or discussed at this presentation.</a:t>
            </a:r>
          </a:p>
        </p:txBody>
      </p:sp>
    </p:spTree>
    <p:extLst>
      <p:ext uri="{BB962C8B-B14F-4D97-AF65-F5344CB8AC3E}">
        <p14:creationId xmlns:p14="http://schemas.microsoft.com/office/powerpoint/2010/main" val="347266720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430859" y="594598"/>
            <a:ext cx="8783832" cy="720464"/>
          </a:xfrm>
        </p:spPr>
        <p:txBody>
          <a:bodyPr/>
          <a:lstStyle/>
          <a:p>
            <a:pPr defTabSz="457109">
              <a:lnSpc>
                <a:spcPct val="85000"/>
              </a:lnSpc>
            </a:pPr>
            <a:r>
              <a:rPr lang="en-US" sz="4000" spc="-74" dirty="0">
                <a:latin typeface="+mj-lt"/>
              </a:rPr>
              <a:t>Agenda</a:t>
            </a:r>
          </a:p>
          <a:p>
            <a:endParaRPr lang="en-US" dirty="0"/>
          </a:p>
        </p:txBody>
      </p:sp>
      <p:sp>
        <p:nvSpPr>
          <p:cNvPr id="7" name="Rectangle 6"/>
          <p:cNvSpPr/>
          <p:nvPr/>
        </p:nvSpPr>
        <p:spPr>
          <a:xfrm>
            <a:off x="1394795" y="2160240"/>
            <a:ext cx="412849" cy="36933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2</a:t>
            </a:r>
          </a:p>
        </p:txBody>
      </p:sp>
      <p:sp>
        <p:nvSpPr>
          <p:cNvPr id="9" name="Rectangle 8"/>
          <p:cNvSpPr/>
          <p:nvPr/>
        </p:nvSpPr>
        <p:spPr>
          <a:xfrm>
            <a:off x="1394795" y="2696638"/>
            <a:ext cx="412849" cy="36933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3</a:t>
            </a:r>
          </a:p>
        </p:txBody>
      </p:sp>
      <p:sp>
        <p:nvSpPr>
          <p:cNvPr id="11" name="TextBox 10"/>
          <p:cNvSpPr txBox="1"/>
          <p:nvPr/>
        </p:nvSpPr>
        <p:spPr>
          <a:xfrm>
            <a:off x="1943836" y="2070233"/>
            <a:ext cx="5426137" cy="523220"/>
          </a:xfrm>
          <a:prstGeom prst="rect">
            <a:avLst/>
          </a:prstGeom>
          <a:noFill/>
        </p:spPr>
        <p:txBody>
          <a:bodyPr wrap="square" rtlCol="0">
            <a:spAutoFit/>
          </a:bodyPr>
          <a:lstStyle/>
          <a:p>
            <a:r>
              <a:rPr lang="en-US" sz="2800" dirty="0">
                <a:cs typeface="Arial" panose="020B0604020202020204" pitchFamily="34" charset="0"/>
              </a:rPr>
              <a:t>Group Financial Performance</a:t>
            </a:r>
          </a:p>
        </p:txBody>
      </p:sp>
      <p:sp>
        <p:nvSpPr>
          <p:cNvPr id="10" name="Rectangle 9"/>
          <p:cNvSpPr/>
          <p:nvPr/>
        </p:nvSpPr>
        <p:spPr>
          <a:xfrm>
            <a:off x="1394795" y="1638612"/>
            <a:ext cx="412849" cy="369332"/>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a:t>1</a:t>
            </a:r>
          </a:p>
        </p:txBody>
      </p:sp>
      <p:sp>
        <p:nvSpPr>
          <p:cNvPr id="12" name="TextBox 11"/>
          <p:cNvSpPr txBox="1"/>
          <p:nvPr/>
        </p:nvSpPr>
        <p:spPr>
          <a:xfrm>
            <a:off x="1925403" y="1547013"/>
            <a:ext cx="5959422" cy="523220"/>
          </a:xfrm>
          <a:prstGeom prst="rect">
            <a:avLst/>
          </a:prstGeom>
          <a:noFill/>
        </p:spPr>
        <p:txBody>
          <a:bodyPr wrap="square" rtlCol="0">
            <a:spAutoFit/>
          </a:bodyPr>
          <a:lstStyle/>
          <a:p>
            <a:r>
              <a:rPr lang="en-US" sz="2800" dirty="0">
                <a:cs typeface="Arial" panose="020B0604020202020204" pitchFamily="34" charset="0"/>
              </a:rPr>
              <a:t>Q3 2023 Business Update</a:t>
            </a:r>
          </a:p>
        </p:txBody>
      </p:sp>
      <p:sp>
        <p:nvSpPr>
          <p:cNvPr id="16" name="TextBox 15"/>
          <p:cNvSpPr txBox="1"/>
          <p:nvPr/>
        </p:nvSpPr>
        <p:spPr>
          <a:xfrm>
            <a:off x="1925402" y="2640225"/>
            <a:ext cx="6124099" cy="523220"/>
          </a:xfrm>
          <a:prstGeom prst="rect">
            <a:avLst/>
          </a:prstGeom>
          <a:noFill/>
        </p:spPr>
        <p:txBody>
          <a:bodyPr wrap="square" rtlCol="0">
            <a:spAutoFit/>
          </a:bodyPr>
          <a:lstStyle/>
          <a:p>
            <a:r>
              <a:rPr lang="en-US" sz="2800" dirty="0">
                <a:cs typeface="Arial" panose="020B0604020202020204" pitchFamily="34" charset="0"/>
              </a:rPr>
              <a:t>Q&amp;A</a:t>
            </a:r>
          </a:p>
        </p:txBody>
      </p:sp>
    </p:spTree>
    <p:extLst>
      <p:ext uri="{BB962C8B-B14F-4D97-AF65-F5344CB8AC3E}">
        <p14:creationId xmlns:p14="http://schemas.microsoft.com/office/powerpoint/2010/main" val="15448496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36213616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661" progId="TCLayout.ActiveDocument.1">
                  <p:embed/>
                </p:oleObj>
              </mc:Choice>
              <mc:Fallback>
                <p:oleObj name="think-cell Slide" r:id="rId5" imgW="592" imgH="661"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000" dirty="0">
              <a:latin typeface="Noto Sans" panose="020B0502040504020204" pitchFamily="34"/>
              <a:sym typeface="Noto Sans" panose="020B0502040504020204" pitchFamily="34"/>
            </a:endParaRPr>
          </a:p>
        </p:txBody>
      </p:sp>
      <p:sp>
        <p:nvSpPr>
          <p:cNvPr id="7" name="Rectangle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000" dirty="0">
              <a:sym typeface="+mn-lt"/>
            </a:endParaRPr>
          </a:p>
        </p:txBody>
      </p:sp>
      <p:sp>
        <p:nvSpPr>
          <p:cNvPr id="47" name="Text Placeholder 2">
            <a:extLst>
              <a:ext uri="{FF2B5EF4-FFF2-40B4-BE49-F238E27FC236}">
                <a16:creationId xmlns:a16="http://schemas.microsoft.com/office/drawing/2014/main" id="{BB544A93-ED35-417A-8B87-0905BBEB0817}"/>
              </a:ext>
            </a:extLst>
          </p:cNvPr>
          <p:cNvSpPr txBox="1">
            <a:spLocks/>
          </p:cNvSpPr>
          <p:nvPr/>
        </p:nvSpPr>
        <p:spPr>
          <a:xfrm>
            <a:off x="312358" y="490706"/>
            <a:ext cx="9253130" cy="600316"/>
          </a:xfrm>
          <a:prstGeom prst="rect">
            <a:avLst/>
          </a:prstGeom>
        </p:spPr>
        <p:txBody>
          <a:bodyPr lIns="17131" tIns="8565" rIns="17131" bIns="8565" anchor="ctr"/>
          <a:lstStyle>
            <a:lvl1pPr marL="356871" indent="-356871" algn="l" rtl="0" eaLnBrk="1" fontAlgn="base" hangingPunct="1">
              <a:spcBef>
                <a:spcPct val="20000"/>
              </a:spcBef>
              <a:spcAft>
                <a:spcPct val="0"/>
              </a:spcAft>
              <a:buChar char="•"/>
              <a:defRPr sz="1200">
                <a:solidFill>
                  <a:srgbClr val="888888"/>
                </a:solidFill>
                <a:latin typeface="Arial"/>
                <a:ea typeface="MS PGothic" pitchFamily="34" charset="-128"/>
                <a:cs typeface="Arial"/>
              </a:defRPr>
            </a:lvl1pPr>
            <a:lvl2pPr marL="773219" indent="-297392" algn="l" rtl="0" eaLnBrk="1" fontAlgn="base" hangingPunct="1">
              <a:spcBef>
                <a:spcPct val="20000"/>
              </a:spcBef>
              <a:spcAft>
                <a:spcPct val="0"/>
              </a:spcAft>
              <a:buChar char="–"/>
              <a:defRPr sz="1200">
                <a:solidFill>
                  <a:srgbClr val="888888"/>
                </a:solidFill>
                <a:latin typeface="Arial"/>
                <a:ea typeface="MS PGothic" pitchFamily="34" charset="-128"/>
                <a:cs typeface="Arial"/>
              </a:defRPr>
            </a:lvl2pPr>
            <a:lvl3pPr marL="1189569"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3pPr>
            <a:lvl4pPr marL="1665396"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4pPr>
            <a:lvl5pPr marL="2141224"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5pPr>
            <a:lvl6pPr marL="2617260" indent="-237931" algn="l" rtl="0" eaLnBrk="1" latinLnBrk="0" hangingPunct="1">
              <a:spcBef>
                <a:spcPct val="20000"/>
              </a:spcBef>
              <a:buChar char="•"/>
              <a:defRPr sz="2133">
                <a:solidFill>
                  <a:schemeClr val="tx1"/>
                </a:solidFill>
                <a:latin typeface="+mn-lt"/>
                <a:ea typeface="+mn-ea"/>
                <a:cs typeface="+mn-cs"/>
              </a:defRPr>
            </a:lvl6pPr>
            <a:lvl7pPr marL="3093125" indent="-237931" algn="l" rtl="0" eaLnBrk="1" latinLnBrk="0" hangingPunct="1">
              <a:spcBef>
                <a:spcPct val="20000"/>
              </a:spcBef>
              <a:buChar char="•"/>
              <a:defRPr sz="2133">
                <a:solidFill>
                  <a:schemeClr val="tx1"/>
                </a:solidFill>
                <a:latin typeface="+mn-lt"/>
                <a:ea typeface="+mn-ea"/>
                <a:cs typeface="+mn-cs"/>
              </a:defRPr>
            </a:lvl7pPr>
            <a:lvl8pPr marL="3568992" indent="-237931" algn="l" rtl="0" eaLnBrk="1" latinLnBrk="0" hangingPunct="1">
              <a:spcBef>
                <a:spcPct val="20000"/>
              </a:spcBef>
              <a:buChar char="•"/>
              <a:defRPr sz="2133">
                <a:solidFill>
                  <a:schemeClr val="tx1"/>
                </a:solidFill>
                <a:latin typeface="+mn-lt"/>
                <a:ea typeface="+mn-ea"/>
                <a:cs typeface="+mn-cs"/>
              </a:defRPr>
            </a:lvl8pPr>
            <a:lvl9pPr marL="4044857" indent="-237931" algn="l" rtl="0" eaLnBrk="1" latinLnBrk="0" hangingPunct="1">
              <a:spcBef>
                <a:spcPct val="20000"/>
              </a:spcBef>
              <a:buChar char="•"/>
              <a:defRPr sz="2133">
                <a:solidFill>
                  <a:schemeClr val="tx1"/>
                </a:solidFill>
                <a:latin typeface="+mn-lt"/>
                <a:ea typeface="+mn-ea"/>
                <a:cs typeface="+mn-cs"/>
              </a:defRPr>
            </a:lvl9pPr>
          </a:lstStyle>
          <a:p>
            <a:pPr marL="0" indent="0">
              <a:buNone/>
            </a:pPr>
            <a:r>
              <a:rPr lang="en-US" sz="1400" kern="0" dirty="0">
                <a:latin typeface="+mn-lt"/>
                <a:ea typeface="Noto Sans" panose="020B0502040504020204" pitchFamily="34" charset="0"/>
                <a:cs typeface="Arial" panose="020B0604020202020204" pitchFamily="34" charset="0"/>
              </a:rPr>
              <a:t>Focused on value investing for the long-term and executing on our growth strategy despite the challenges</a:t>
            </a:r>
          </a:p>
        </p:txBody>
      </p:sp>
      <p:sp>
        <p:nvSpPr>
          <p:cNvPr id="49" name="Text Placeholder 8">
            <a:extLst>
              <a:ext uri="{FF2B5EF4-FFF2-40B4-BE49-F238E27FC236}">
                <a16:creationId xmlns:a16="http://schemas.microsoft.com/office/drawing/2014/main" id="{405E3712-BFDB-4D75-9DB9-4D73062E9849}"/>
              </a:ext>
            </a:extLst>
          </p:cNvPr>
          <p:cNvSpPr>
            <a:spLocks noGrp="1"/>
          </p:cNvSpPr>
          <p:nvPr>
            <p:ph type="body" sz="quarter" idx="34"/>
          </p:nvPr>
        </p:nvSpPr>
        <p:spPr>
          <a:xfrm>
            <a:off x="312358" y="347805"/>
            <a:ext cx="8949976" cy="337873"/>
          </a:xfrm>
        </p:spPr>
        <p:txBody>
          <a:bodyPr/>
          <a:lstStyle/>
          <a:p>
            <a:r>
              <a:rPr lang="en-US" dirty="0"/>
              <a:t>Latest Business Update</a:t>
            </a:r>
          </a:p>
        </p:txBody>
      </p:sp>
      <p:sp>
        <p:nvSpPr>
          <p:cNvPr id="62" name="WORKBKFUNCTIONCACHE" hidden="1"/>
          <p:cNvSpPr txBox="1">
            <a:spLocks noChangeArrowheads="1"/>
          </p:cNvSpPr>
          <p:nvPr/>
        </p:nvSpPr>
        <p:spPr bwMode="auto">
          <a:xfrm>
            <a:off x="3197225" y="2944813"/>
            <a:ext cx="638175" cy="457200"/>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lt;compressed size="651798"&gt;eJztvQtvHTe2ps2fYkwDgxngk7ruF3TPARwf2fGBYwtS0oODRsOQFamlJFYU3ZIe6Md/JNd6yS1Zl+1cikvnvBDs2rt2Xcj3IRcXF1msv7pDd+lO3L67cMfuR//phdvz347cgfs391f3rf924f/t+t8u3Zn/5cA980ftuY/+0/9x/8O9dK/dW/fc/3vhtvz3Z+5DvML37p/++B/j1b91p/7TVTz+ufvB/73323DPa9e4yv/1/tPf3X/6a+75s/7hv/1Pf9SF+4u/c7jnSdwfUvjM/c1vD9zP/oh/xiPCmW9j2g9unLnl94RcXbh/+bNexPSfxWvt+z33nf13n58XbtufcXPvr/v2P6KKr/y3C5/uPZ+yS1X23Kfs/8XPtevc7Ea/788re//qFd7zuoVP3/s9//K//dsnavxJdbyM1/5LUvBPquvk9237fXL0t37/d5HIX5KKf/oMpW9qGu79yr3xLN+4d+4Ltxl1+8tKPvO1t+NVD+LZmcUz97W/z0U8Pt8j5GhfS86Fv0atean8b8LmTyuUwhVOvdZ/iVc992f86JWr/THbsfx969P37z7FV7eOaPwRku6b+1u/fzfm8MDvu/lb538LOQ6l5r8viZ4kDJBofU5mkjBDoiYJAyR6thMmSHT+jyQskOhji92RRHESo/Z0SMICiZ4kDJCY2bMzRKImCRMkatYJIyQakjBCoiUJIyTYs7NAool5aRh3MkCiZ1TcCImBJIyQYM/OBok29ibYs7NBgj07KyTYs7NCgj07KyTYs7NCguPYNkg09J1MkJhiTmqO2Rkh0bFOFCchMXFaJwskepIwRKIhCSMkWpIwQ4IjRTZI0HeyQmIgCSMkRpIwQ4J9bCskBpIwQmIkCSMkZpIwQILj2JZIsGdXnsTAOmGKBH0nGyQ4G9MCiZGzMY2QCOOnXLfDAgnOULZFgl6sBRI9SRgg8cLn6r1X/iTuDWvtkUhZIkFzUfPQb/M8g/cc1TPK6Lnbif9vk4spLnJu+H7gPsQzSMcOnTf+HLKxyeYrf9xHv/+9e+mvR5+gNJ237iDSgEUL/toVqRihIt7ze3/OnvvFb0Vp8rHEJxx74o8kExtM2MLY5LLt/7ZIwwiNHb/3ym9bf+a3pGKEym487iD2+c/9X9h7TjqF6ewona14jRN/99Dek0tpLnLMe91/Fgn94tUnF2tc0H+R65CPFT5s+e2w+Og/nTnGK60QeeHvthu3e1GnM233yccan6wNfTJrdIJHduTT8CGmg3ys8XkZr3Tsjz9i22OOziv3JZkYYxIYkIktJm/8d3pm1qh85e//Q0xDuOa/yMcYn3f+21HME8nYIrPt70Am1pgEhb+LPvPPjJwZ5oMZACRki9COXodcbHHZjaM0exw5M0fm68jlhFzMcNnzmhyRhxkeQY0wckYiVojwyZinwIVxTJt0juOszHBNxsus0Al15nBlFtNbv//EcS6TZUasQdbonLK2mOHx0h+37zA6w3pihctrr8WpP/aYdcUQkxOvyaVGYkJaScYOmauoz0WK/zOGaYXOzVUYZCYg4wFW6TAaYI2NrJshz2mSjA0y7/x5r0nDDI3D2Offcj/53469/mEs89JvT/357NXY4RTmmeUoJ59tts/ojU/HnvcNyMcWn60YISAVW1Toq9llI9402xy7hFbH09jyWKUkCh+SizEuu/6uz0nFCBWOO9ujweimRSaYqSFrnJKOJTpB3R9iXknFAhWs1kg7ZomJnE8ednhg7kx4BjB8Ih9bfIImZ/6XfXIxxeXKcZ0z+3yyNoxhWqPDdc5s8+E6Z5bpcJ0ze0zY17THhOucWaTCdc5s8+E6Z1bJcJ0zi0y4ztnT4MN1zmwS4siATS5c58wqGa5zZovLbtRj331PIkaIoIaEWJmMbIZYwDkjzcYIhefROW/GCpNv4p25yokNKuc+L33MzRdk8RtY/N2fEcr0x9gO7MVzwxMU/7hD81rTXFHxRRXvqfiCirc+xTMVX1zxmoovqHhPO76o4p3/o+JLKt7HlrOj4ospPsY091R8UcV7Kr6g4jN7QAUUr6n4oorXLOMLK95Q8YUVb6n4woqzB7Sk4k1Mc8O4yoKK94zWLqz4QMUXVpw9oGUVb6M3zh7QsoqzB7S04uwBLa04e0BLK84e0NKKc5xzWcUb+iqLKj7FFNccA1pY8Y5lfDHFJVZLq7Kk4j0VL6B4Q8UXVryl4osrzhGJZRWnr7K04gMVX1jxkYovrjj7nEsrPlDxhRUfqfjCis9UfEHFOc5ZQnH2gJZTfGAZL6I4fZVlFecsuCUVHzkLbmHFw7gbn8tfUnHO9CyjOL3DJRXvqfiCir/wqcd7GkO+D6j8QsoHbUW1Q7/N483vOUpUmMVztxP/36b+RfQPCpzF7wfuQ7w7KSxP4Y3XmAzKMsAq8GG9/gO2zYtReOvPuFixRME/uqL6C6svXml+m7goSg4lOIT1X/nm0OW1ZwtQVv9t/7dF1RdWfcfvDe+OaH06+JaipdXfjecfxD5weAtB2Mt3ESxFYUcpbMUUnDh5Yzf1X0r/oOlFLPth/5mT9z/zvULl9If/L70xcliaA1vg5TX/6D+dOcbdllb+hb/qbtzuRT3OtP0lh1Icsgb0gUpRCB7QkT/+Q7wfOZTi8NKF9zMd+3sfsW0oRuGV+5LaF9I+aE3ty2gf3kpJT6iU+l85vO0wpIhvPCzF4Z3/dhTTTgJlCGz7K1H7UtoHJb+LvujPjAwZ4IARYpIoQ2Inpob6l9J/N44S7HGEphgBvL+e+i+t/57P+xF1X1z3kOswQkPll1aeTwZY0p/xuLIUjuMsuW1/HuNBS1MIdeBwZXbK23gG56hYYMEaUYrCKUv/4rq/9MftO4wOsNwvrf9rf/SpP/aYZb+A9ic+75cagQhpIoHlCVxFHS5SXJqxuKUp3HxaW2ZssX9cmgJ7x6UYyHP08hwZCSxL4J2/zmuqvrjqh7EPvOV+8r8de53D2Nil3576a7FXsDyPME8oR+v4LKUdFm/8OXu+jSaHMhy2Yo+Z6pdRn75ReQbipbJNKE9iddyGLUNpGqLkIfUvpP+uv/pzqr+w+hyvLKc6o3QltceIvaz1RwolKAQVf4h5ovpLqo9Vzmh/SmjPpzZK6Y65EuHZpb14LjmU4BDyfuZ/2af+RfS/clxnyA6HrAFjcaUocJ0hGxy4zpAFClxnqJz27JOV057rDJVUn+sM2eDAdYZKE+A6QyW15zpDtjhwnaGyJBixLqs/1xkqTYDrDJXRfzfme999T+UXVh4lPsSCZKQs9I3PGRktRCI858p5Ektr/008iqsbLKv+uU9zH1P9BTVfW/N/j2si3lQdV9+O1xUv/pmTGednquRFPD7f5TaNWnNTkYURFj1ZmGDR+rzMZGGIRU0WJlj0bC+MsOj8H1nYYNHHtrsjCwMsxpibniyMsOjJwgSLmX09UyxqsjDComa9MMOiIQszLFqyMMOCfT0bLJqYm4bxKBMsesbMzbAYyMIMC/b1rLBoY++CfT0rLNjXs8OCfT07LNjXs8OCfT07LDjebYVFQz/KCIsp5qXmuJ4ZFh3rhQEWEjGnjbLBoicLUywasjDDoiULQyw4lmSFBf0oOywGsjDDYiQLQyzY77bDYiALMyxGsjDDYiYLEyw43m2LBft6FlgMrBfGWNCPssKCczhtsBg5h9MMizDKyvVAbLDg3GZrLOjT2mDRk4UJFi98vvD20aDIAZkUZxJUFz0P/TbPSHjPkT+zlJ67nfj/NskYIyPnhu8H7kM8g3ws8XnjzyEdq3Tw1ovwHpIDegcG+Lz1512s2LXgu12Rixku4kuHFdP33C8Ob5AhIVuEwrF837AlKmxprJLZ9n9b5GGGx47fG94H1Poz+WY4O1x243EHMQ4Q3lET9p6TT3E+O8pnK17jxB3Hlp9kypORY97r/rPI6Be+Yc4kGfRn5DokZIcQfQBLND76T2eOkUw7TF7E64ftXlTqTD0AErJHKKtD/8wen+CdHflUfIgpISF7hF7GKx3744/YBhnk88p9SSrmqAQKpGKNSnjXM700e1y+cngbcbgm30hsj9A7/+0o5opsrLHZ9ncgFXtUgsbfRQ/6Z0bUTBPCTAEyssZoR69DMtbI7MZRnD2OrRlk83Ukc0IyhsjseVWOSMQQkaBHGFsjEztM+GTN0yDDCKdVPsdxJme4JuNodviEenO4Mufprd9/4jjzyTYl1iJ7fE5ZYwwReemP23cYvWFdsUPmtVfj1B97zPpiisqJV+VS4zMhtWRjic1VVOgijQ4wummHz811HWTuIGMEdvkwQmCPjqzFIc97ko0VNu/8ea/JwxCPwxgH2HI/+d+OPYEw3nnpt6f+fPZyLJEK89Jy/JPPST8FSm98Sva8l0BC1ghtxagBuVjjQr/NMh3xrdn2WGa0OuLGFsguJ9H4kGTMkdn193lOLma4cHTaIg/GPW1SwZwOWU2VfGzxCfr+EHNLLja4YE1IWjNbVOR8ErFEBPNswpOE4RMJWSMUVDnzv+yTjDEyV47rqD0FQlkdRjft8eE6atYJcR0123y4jppFKux9WqTCddRscuE6atYJcR01u2y4jppNKlxH7akQ4jpqVhlx3MAqGa6jZpcN11GzRmY3KrLvvicTM0xQS0IMTUY/Q3zgnFFoc4zC0+2cY2OHyjfx3lw7xQqXc5+bPubnC9L4TTT+7s8J5fpjbA/24tnh+Yt/3KF6ramuqPnCmvfUfFHNW5/mmZoX0Lym5otq3tOeL6x55/+o+bKa97EN7aj5gpqPMdU9NV9Y856aL6r5zD5REc1rar6w5jXL+eKaN9R8cc1bar645uwTLat5E1PdMN6yqOY9Y7mLaz5Q88U1Z59oac3b6J2zT7S05uwTLa85+0TLa84+0fKas0+0vOYcD11a84Z+y8KaTzHNNceJFte8YzlfUHOJ5NK2LKt5T82LaN5Q88U1b6l5Ac05ZrG05vRbltd8oOaLaz5S8wKasx+6vOYDNV9c85GaL675TM0X1ZzjoWU0Z59oSc0HlvNCmtNvWVpzzp1bVvORc+cW1zyMzvF5/2U15xzRUprTV1xW856aL6r5C59+vD8y5PyA2i+mfVBXdDv02zwy/Z4jScVpPHc78f9tEihEIGhwFr8fuA/x/uRQgsMbrzIplKaAVejDGwMO2EovyOGtP+NixR4FX+mK+i+uv/io+Z3noilJlCERVp3lW01LqM+WoDSBbf+3Rd0X133H7w1vsGh9SvjOpOX1343nH8R+cXgTQth7Tg6LcdhRDlsxDSdO3itOAssRCKpexPIf9p85eUc133JUkgD6A9I/I4nlSbAtLqH6R//pzDEit7z2L+J1wnYvKnKmLTFJlCORVaA/VI5D8IaO/PEf4h1JohyJly68L+rY3/2IbURBDq/cl1S/mPpBbapfSv3wxkx6ReX0/8rhPYwhTXwXYzkS7/y3o5h6MijFYNtfieqXUz9o+V30TH9mxMgECYwkk0UpFjsxPSRQjsBuHEXY4xhOQQbyHvcTEihAYM/n/ojKF1A+5DuM4VD75bXnkwW2CDBSV5rDcZxZt+3PY5xoeQ6hHhyuzGV5G8/gjBYbNFgrynE4ZQ0ooPxLf9y+w+gBy/7yBF77o0/9sccs/0XUP/G5v9S4REgVGZRgcBWVuEhRa0bpludw8/lvmePFPnN5Duwxl6Mgz+bL82hksDSDdz7/r6l7Ad0PY794y/3kfzv2Sofxs0u/PfXXYi+hBJEwryjH8fhcpiUab/w5e761JolSJLZiL5r6l9KffpIFCuKzsm2wwGJ1ZIctRHkeouUhCRQjsOuv95z6L64/RzVL6s74XVn1MbYvqwqSQxkOQccfYq6o/7L6Yy01WqEy6vO5j3LKY15FeAJqL55LEmVIhNyf+V/2SaAQgSvHdYwskcgqMEpXjgPXMbJCgusY2eDAdYxKqs9eWkn1uY5RWf25jpEVElzHqDwDrmNUVn2uY2SNBNcxKs2C8ezSBLiOUXkGXMeoFIHdmPN99z21X1x7lPoQI5LRtNBfPmfUtBiL8NQs51Qsr/438SiumbC0/uc+1X1M9xdUfW3VX3l93tx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byfTXl+ewon614jRN3HFt+kilPRo55r/vPIqNf+LY5k2TQn5HrkJAdQvQBLNH46D+dOUYy7TB54cKbwMJ2Lyp1ph4ACdkjlNWhf2aPT/DOjnwqPsSUkJA9Qi/jlY798UdsgwzyeeW+JBVzVAIFUrFGJbzxmV6aPS5fObyPOFyT7yS2R+id/3YUc0U21ths+zuQij0qQePvogf9MyNqpglhpgAZWWO0o9chGWtkduMozh7H1gyy+TqSOSEZQ2T2vCpHJGKISNAjjK2RiR0mfLLmaZBhhNMqn+M4kzNck3E0O3xCvTlcmfP01u8/cZz5ZJsSa5E9PqesMYaIvPTH7TuM3rCu2CHz2qtx6o89Zn0xReXEq3Kp8ZmQWrKxxOYqKnSRRgcY3bTD5+a6DjJ3kDECu3wYIbBHR9bikOc9ycYKm3f+vNfkYYjHYYwDbLmf/G/HnkAY77z021N/Pns5lkiFeWk5/snnpJ8CpTc+JXveSyAha4S2YtSAXKxxod9mmY741mx7LDNaHXFjC2SXk2h8SDLmyOz6Oz0nFzNcODptkQfjnjapYE6HrKZKPrb4BH1/iLklFxtcsCYkrZktKnI+iVgignk24UnC8ImErBEKqpz5X/ZJxhiZK8d11J4CoawOo5v2+HAdNeuEuI6abT5cR80iFfY+LVLhOmo2uXAdNeuEuI6aXTZcR80mFa6j9lQIcR01q4w4bmCVDNdRs8uG66hZI7MbFdl335OJGSaoJSGGJqOfIT5wzii0OUbh6XbOsbFD5Zt4b66dYoXLuc9NH/PzBWn8Jhp/9+eEcv0xtgd78ezw/MU/7lC91lRX1HxhzXtqvqjmrU/zTM0LaF5T80U172nPF9a883/UfFnN+9iGdtR8Qc3HmOqemi+seU/NF9V8Zp+oiOY1NV9Y85rlfHHNG2q+uOYtNV9cc/aJltW8ialuGG9ZVPOesdzFNR+o+eKas0+0tOZt9M7ZJ1pac/aJltecfaLlNWefaHnN2SdaXnOOhy6teUO/ZWHNp5jmmuNEi2vesZwvqLlEcmlbltW8p+ZFNG+o+eKat9S8gOYcs1hac/oty2s+UPPFNR+peQHN2Q9dXvOBmi+u+UjNF9d8puaLas7x0DKas0+0pOYDy3khzem3LK05584tq/nIuXOLax5G5/i8/7Kac45oKc3pKy6reU/NF9X8hU8/3h8Zcn5A7RfTPqgruh36bR6Zfs+RpOI0nrud+P82CRQiEDQ4i98P3Id4f3IoweGNV5kUSlPAKvThjQEHbKUX5PDWn3GxYo+Cr3RF/RfXX3zU/M5z0ZQkypAIq87yraYl1GdLUJrAtv/bou6L677j94Y3WLQ+JXxn0vL678bzD2K/OLwJIezl+xCW47CjHLZiGk6cvFecBJYjEFS9iOU/7D9z8o5qvuWoJAH0B6R/RhLLk2BbXEL1j/7TmWNEbnntX/gr7cbtXlTkTFtikihHIqtAf6gch+ANHfnjP8Q7kkQ5Ei9deF/Usb/7EduIghxeuS+pfjH1g9pUv5T64Y2Z9IrK6f+Vw3sYQ5r4LsZyJN75b0cx9WRQisG2vxLVL6d+0PK76Jn+zIiRCRIYSSaLUix2YnpIoByB3TiKsMcxnIIM5D3uJyRQgMCez/0RlS+gfMh3GMOh9strzycLbBFgpK40h+M4s27bn8c40fIcQj04XJnL8jaewRktNmiwVpTjcMoaUED5l/64fYfRA5b95Qm89kef+mOPWf6LqH/ic3+pcYmQKjIoweAqKnGRotaM0i3P4ebz3zLHi33m8hzYYy5HQZ7Nl+fRyGBpBu98/l9T9wK6H8Z+8Zb7yf927JUO42eXfnvqr8VeQgkiYV5RjuPxuUxLNN74c/Z8a00SpUhsxV409S+lP/0kCxTEZ2XbYIHF6sgOW4jyPETLQxIoRmDXX/E59V9cf45qltSd8buy6mNsX1YVJIcyHIKOP8RcUf9l9cdaarRCZdTncx/llMe8ivAE1F48lyTKkAi5P/O/7JNAIQJXjusYWSKRVWCUrhwHrmNkhQTXMbLBgesYlVSfvbSS6nMdo7L6cx0jKyS4jlF5BlzHqKz6XMfIGgmuY1SaBePZpQlwHaPyDLiOUSkCuzHn++57ar+49ij1IUYko2mhv3zOqGkxFuGpWc6pWF79b+JRXDNhaf3Pfar7mO4vqPraqr92b2MkYVV1XH07Xld8+mdOZqufqZIX8fh8l9s0as1NRRZGWPRkYYJF6/Myk4UhFjVZmGDRs70wwqLzf2Rhg0Uf2+6OLAywGGNuerIwwqInCxMsZvb1TLGoycIIi5r1wgyLhizMsGjJwgwL9vVssGhibhrGo0yw6BkzN8NiIAszLNjXs8Kijb0L9vWssGBfzw4L9vXssGBfzw4L9vXssOB4txUWDf0oIyymmJea43pmWHSsFwZYSMScNsoGi54sTLFoyMIMi5YsDLHgWJIVFvSj7LAYyMIMi5EsDLFgv9sOi4EszLAYycIMi5ksTLDgeLctFuzrWWAxsF4YY0E/ygoLzuG0wWLkHE4zLMIoK9cDscGCc5utsaBPa4NFTxYmWLzw+cL7SoMiB2RSnElQXfQ89Ns8I+E9R/7MUnruduL/2yRjjIycG74fuA/xDPKxxOeNP4d0rNLBWzDCm0kO6B0Y4PPWn3exYteC73ZFLma4iC8dVk3fc784vFGGhGwRCsfyrcSWqLClsUpm2/9tkYcZHjt+b3gzUOvP5Lvi7HDZjccdxDhAeFNN2Mv31ZTns6N8tuI1TtxxbPlJpjwZOea97j+LjH7h2+ZMkkF/Rq5DQnYI0QewROOj/3TmGMm0w+SFv99u3O5Fpc7UAyAhe4SyOvTP7PEJ3tmRT8WHmBISskfoZbzSsT/+iG2QQT6v3JekYo5KoEAq1qiENz7TS7PH5SuH9xGHa/KdxPYIvfPfjmKuyMYam+14F1KxRiVo/F30oH9mRM00IcwUICNrjHb0OiRjjcxuHMXZ49iaQTZfRzInJGOIzJ5X5YhEDBEJeoSxNTKxw4RP1jwNMoxwWuVzHGdyhmsyjmaHT6g3hytznt76/SeOM59sU2ItssfnlDXGEJGX/rh9h9Eb1hU7ZF57NU79scesL6aonHhVLjU+E1JLNpbYXEWFLtLoAKObdvjcXNdB5g4yRmCXDyME9ujIWhzyvCfZWGHzzp/3mjwM8TiMcYAt95P/7dgTCOOdl3576s9nL8cSqTAvLcc/+Zz0U6D0xqdkz3sJJGSN0FaMGpCLNS702yzTEd+abY9lRqsjbmyB7HISjQ9JxhyZXX/f5+RihgtHpy3yYNzTJhXM6ZDVVMnHFp+g7w8xt+RigwvWhKQ1s0VFzicRS0QwzyY8SRg+kZA1QkGVM//LPskYI3PluI7aUyCU1WF00x4frqNmnRDXUbPNh+uoWaTC3qdFKlxHzSYXrqNmnRDXUbPLhuuo2aTCddSeCiGuo2aVEccNrJLhOmp22XAdNWtkdqMi++57MjHDBLUkxNBk9DPEB84ZhTbHKDzdzjk2dqh8E+/NtVOscDn3ueljfr4gjd9E4+/+nFCuP8b2YC+eHZ6/+Mcdqtea6oqaL6x5T80X1bz1aZ6peQHNa2q+qOY97fnCmnf+j5ovq3kf29COmi+o+RhT3VPzhTXvqfmims/sExXRvKbmC2tes5wvrnlDzRfXvKXmi2vOPtGymjcx1Q3jLYtq3jOWu7jmAzVfXHP2iZbWvI3eOftES2vOPtHymrNPtLzm7BMtrzn7RMtrzvHQpTVv6LcsrPkU01xznGhxzTuW8wU1l0gubcuymvfUvIjmDTVfXPOWmhfQnGMWS2tOv2V5zQdqvrjmIzUvoDn7octrPlDzxTUfqfnims/UfFHNOR5aRnP2iZbUfGA5L6Q5/ZalNefcuWU1Hzl3bnHNw+gcn/dfVnPOES2lOX3FZTXvqfmimr/w6cf7I0POD6j9YtoHdUW3Q7/NI9PvOZJUnMZztxP/3yaBQgSCBmfx+4H7EO9PDiU4vPEqk0JpCliFPrwx4ICt9IIc3vozLlbsUfCVrqj/4vqLj5rfeS6akkQZEmHVWb7VtIT6bAlKE9j2f1vUfXHdd/ze8AaL1qeE70xaXv/deP5B7BeHNyGEvXwfwnIcdpTDVkzDiZP3ipPAcgSCqhex/If9Z07eUc23HJUkgP6A9M9IYnkSbItLqP7RfzpzjMgtr/0Lf93duN2LipxpS0wS5UhkFegPleMQvKEjf/yHeEeSKEfipQvvizr2dz9iG1GQwyv3JdUvpn5Qm+qXUj+8MZNeUTn9v3J4D2NIE9/FWI7EO//tKKaeDEox2I5Xo/ql1A9afhc9058ZMTJBAiPJZFGKxU5MDwmUI7AbRxH2OIZTkIG8x/2EBAoQ2PO5P6LyBZQP+Q5jONR+ee35ZIEtAozUleZwHGfWbfvzGCdankOoB4crc1nexjM4o8UGDdaKchxOWQMKKP/SH7fvMHrAsr88gdf+6FN/7DHLfxH1T3zuLzUuEVJFBiUYXEUlLlLUmlG65TncfP5b5nixz1yeA3vM5SjIs/nyPBoZLM3gnc//a+peQPfD2C/ecj/534690mH87NJvT/212EsoQSTMK8pxPD6XaYnGG3/Onm+tSaIUia3Yi6b+pfSnn2SBgvisbBsssFgd2WELUZ6HaHlIAsUI7PrrP6f+i+vPUc2SujN+V1Z9jO3LqoLkUIZD0PGHmCvqv6z+WEuNVqiM+nzuo5zymFcRnoDai+eSRBkSIfdn/pd9EihE4MpxHSNLJLIKjNKV48B1jKyQ4DpGNjhwHaOS6rOXVlJ9rmNUVn+uY2SFBNcxKs+A6xiVVZ/rGFkjwXWMSrNgPLs0Aa5jVJ4B1zEqRWA35nzffU/tF9cepT7EiGQ0LfSXzxk1LcYiPDXLORXLq/9NPIprJiyt/7lPdR/T/QVVX1v1//C/n99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aek09xPjvKZyte48Qdx5afZMqTkWPe6/6zyOgXvm3OJBn0Z+Q6JGSHEH0ASzQ++k9njpFMO0xe+Pvtxu1eVOpMPQASskcoq0P/zB6f4J0d+VR8iCkhIXuEXsYrHfvjj9gGGeTzyn1JKuaoBAqkYo1KeOMzvTR7XL5yeB9xuCbfSWyP0Dv/7Sjmimyssdl2fyMVg1SCxt9FD/pnRtRME8JMATKyxmhHr0My1sjsxlGcPY6tGWTzdSRzQjKGyOz56x+RiCEiQY8wtkYmdpjwyZqnQYYRTqt8juNMznBNxtHs8An15nBlztNbv//EceaTbUqsRfb4nLLGGCLy0h+37zB6w7pih8xrr8apP/aY9cUUlRN//UuNz4TUko0lNldRoYs0OsDoph0+N9d1kLmDjBHY5cMIgT06shaHPO9JNlbYvPPnvSYPQzwOYxxgy/3kfzv2BMJ456Xfnvrz2cuxRCrMS8vxTz4n/RQovfEp2fNeAglZI7QVowbkYo0L/TbLdMS3ZttjmdHqiBtbILucRONDkjFHZtff9zm5mOHC0WmLPBj3tEkFczpkNVXyscUn6PtDzC252OCCNSFpzWxRkfNJxBIRzLMJTxKGTyRkjVBQ5cz/sk8yxshcOa6j9hQIZXUY3bTHh+uoWSfEddRs8+E6ahapsPdpkQrXUbPJheuoWSfEddTssuE6ajapcB21p0KI66hZZcRxA6tkuI6aXTZcR80amd2oyL77nkzMMEEtCTE0Gf0M8YFzRqHNMQpPt3OOjR0q38R7c+0UK1zOfW76mJ8vSOM30fi73xfK9cfYHuzFs8PzF/+4Q/VaU11R84U176n5opq3Ps0zNS+geU3NF9W8pz1fWPPO/1HzZTXvYxvaUfMFNR9jqntqvrDmPTVfVPOZfaIimtfUfGHNa5bzxTVvqPnimrfUfHHN2SdaVvMmprphvGVRzXvGchfXfKDmi2vOPtHSmrfRO2efaGnN2SdaXnP2iZbXnH2i5TVnn2h5zTkeurTmDf2WhTWfYpprjhMtrnnHcr6g5hLJpW1ZVvOemhfRvKHmi2veUvMCmnPMYmnN6bcsr/lAzRfXfKTmBTRnP3R5zQdqvrjmIzVfXPOZmi+qOcdDy2jOPtGSmg8s54U0p9+ytOacO7es5iPnzi2ueRid4/P+y2rOOaKlNKevuKzmPTVfVPMXPv14f2TI+QG1X0z7oK7odui3eWT6PUeSitN47nbi/9skUIhA0OAsfj9wH+L9yaEEhzdeZVIoTQGr0Ic3BhywlV6Qw1t/xsWKPQq+0hX1X1x/8VHzO89FU5IoQyKsOsu3mpZQny1BaQLb/m+Lui+u+47fG95g0fqU8J1Jy+u/G88/iP3i8CaEsPecHBbjsKMctmIaTpy8V5wEliMQVL2I5T/sP3Pyjmq+5agkAfQHpH9GEsuTYFtcQvWP/tOZY0Ruee1f+Ovuxu1eVORMW2KSKEciq0B/qByH4A0d+eM/xDuSRDkSL114X9Sxv/sR24iCHF65L6l+MfWD2lS/lPrhjZn0isrp/5XDexhDmvguxnIk3vlvRzH1ZFCKwba/EtUvp37Q8rvomf7MiJEJEhhJJotSLHZiekigHIHdOIqwxzGcggzkPe4nJFCAwJ6/zhGVL6B8yHcYw6H2y2vPJwtsEWCkrjSH4zizbtufxzjR8hxCPThcmcvyNp7BGS02aLBWlONwyhpQQPmX/rh9h9EDlv3lCbz2R5/6Y49Z/ouof+Kvc6lxiZAqMijB4CoqcZGi1ozSLc/h5vPfMseLfebyHNhjLkdBns2X59HIYGkG73z+X1P3Arofxn7xlvvJ/3bslQ7jZ5d+e+qvxV5CCSJhXlGO4/G5TEs03vhz9nxrTRKlSGzFXjT1L6U//SQLFMRnZdtggcXqyA5biPI8RMtDEihGYNdf/zn1X1x/jmqW1J3xu7LqY2xfVhUkhzIcgo4/xFxR/2X1x1pqtEJl1OdzH+WUx7yK8ATUXjyXJMqQCLk/87/sk0AhAleO6xhZIpFVYJSuHAeuY2SFBNcxssGB6xiVVJ+9tJLqcx2jsvpzHSMrJLiOUXkGXMeorPpcx8gaCa5jVJoF49mlCXAdo/IMuI5RKQK7Mef77ntqv7j2KPUhRiSjaaG/fM6oaTEW4alZzqlYXv1v4lFcM2Fp/c99qvuY7i+o+r2qv4j6nbsw4+p5nHW1eYvETQK40+pVnjmZuX6mql7E4/Mdb5OpNWcVuRjk0pOLOS6tz9dMLka51ORijkvP9sUgl87/kYs9Ln1s9ztyMcZljDnrycUgl55czHGZ2a80y6UmF4NcatYXk1wacjHJpSUXk1zYr7THpYk5axgfM8elZ5zfJJeBXExyYb/SIpc29l7Yr7TIhf1Km1zYr7TJhf1Km1zYr7TJheP7Frk09McMcplivmqOV5rk0rG+GOMiUX7aMXtcenIxy6UhF5NcWnIxyoXjYha50B+zyWUgF5NcRnIxyoX9fZtcBnIxyWUkF5NcZnIxx4Xj+3a5sF9pjcvA+mKYC/0xi1w4D9Yel5HzYE1yCSPJXB/GHhfOG7fMhX6yPS49uZjj8sLnEe/EDeockI8pPoGAaHvot3k2xnuOaD4JYs/dTvx/m5QMU5Jzw/cD9yGeQVZWWb3x55DUUyCFt7SEN+cc0LMwxuqtv9LFiu0LPuAVGZlkJP55WO1/z/3i8CYk0rJLKxzLN2tbJcSW6SlQ2vZ/W2Rjks2O3xvegNX6M/lORJuMduNxBzH+EN7OFPbyHU22WO0oq62YzhN3HL0GUrJFSY55r/vPIq9f+OZF85TQX5LrkJZNWvQfrJL56D+dOUZZbfJ54e+zG7d7UbUz9R5IyzatrBT9PNusgpd35K/1IV6PtGzTeunPPPDX+qdnxjbLNqtX7ksSMk0oECEhy4TCW9fp7dlm9JXD+8FDuvmOcNu03vlvRzGH5GSZ07a/AwnZJhT0/i565T8zwvdkaGFmBHlZ5rUT00xKtintxlGoPY4TGuf0daR0QkpGKe35Ox+RjlE6QZswTkg+NvnwyaanR4nR16fA6jjOgN325zGuZ5NVqE+HK/PA3sa0cDbY0yHG2mWb1SlrklE6L/1x+w6jT6xDNim99sqc+mOPWY/MEgp3vtQYUUg5OVnldBXVukgjGoy82mR1cw0PmWfJ2MTTYMXIhG1SsgaLPJ9LThY5vfPnvSYbo2wOY/xhy/3kfzv2NMI47qXfnvrz2YuySi3M28uxWT7v/tSIvfHX2/MeBmlZprUVoxVkZJkR/b+nQkr8dbZVT4XX6ughW6ynwUz0PiQl05R2/f2ek5FJRhyBt86GMVn7hDCfRVbyJSu7rM7ivX8gI5OMsO4oLZ5dQgeOz6ZZpoP5RuFpz/CJtCzTCgqd+V/2SckwpSvHdfieGq2sFCOvtllxHb6nRIvr8D0dVlyHzzoh9nStE+I6fPYZcR2+p0SL6/A9DU5ch88+Ia7D9xRpcR2+p8CLYx1PgRLX4XsanLgOn2VKu1Gdffc9+Zjkg9oTYnoyqhviEueMlpvmFVYs4Fwjm4S+iVfg+jkWGZ37nPUxb18YIvNX92ffPh74/Jy7f/PfrlKuw/faHzn5FF/HT4O/V/jUutmN+mnyf/Jr5X+XfaP/XT71/p98av0R8imoIJ8qvUrjt7V+mvTcZuW+nZ7bpBTU/tOgnyo9Llyt109DPCOUpEa3+N7rdojbOp7baErCNty9i5+uY56muH+K54d01LptdIv9vW6HuG31e6vX66IO4X/8Pup9Wt0Ouh31eDmv13R0ur/X+7YxXeH4Tre9/l7rFtdtVLlW9Wpu6IW71qo0zuuUaruScvDr9VOn1Lqok6gJik26W60pr1XhSVNaJYVDToNOk27xe6vbQfeP+r3Rba/7W93iuE5/x7bW/bOmelJt65WyNKZPvX7q9FOjKZOSNqsWteo26ZUq3dapBlR6TpvKaZ00rbX0Ven8VtNWp7tWeo82/dakWoBaFQhC3UFzixrVpjzNKS29atJqzkG1i0fJFkdUUbVR6UxKZ1K1J1V/SvQa/Y5tpftrvQ7OH3Rb63bU4yr9jnqK8ot0QSnwaTR/nZ4j9mlwsEUgMae81qoDciFscFyb6DTJeuXyPK6UhtbBPuG+qC3NilUaV0pNp7QmTXMo02JXOrVPnea7U/vUaQnptWZ1WnvELkxae0bl0mipn7QmT1rvJy0zk9qHSevlpDpOyn1SOzRpOZq0tk7KYdJaOGn5mlSjScvJpDQmLVmT8po075PW1klrzqSletLaXCcF6lQrRC9cJdsn3D/bp1HvCPs0JOJjynWlaoJnq2WhUcVGtS+N2p9RS/CoJXxUnqNec9QyNGqJHrUmjloDRq0hYW+rWxzX6e/Y1rof9mnWM1By6/RbrXep9Ti0ojiuThRr1W3SK1W6zfapS9eBdUBb0Sa9unR+tk9onSstAdl2gUmjlITgrFcYNLewT12qyXNKS6+8a5ftE1KA63R6hOSo1/2DHjeodoOqPyR6jX7HttL9tV4H5w+6rXU76nGVfkc9RflFupBO5KpNZXZKuRlSGZ0TPVjnLpV7WEdpa+FnoR1pk+Vr9e5in2CVwLhZuW+XWuMhaT2mUoPyU6X7VqpDo2WiUTvSqB1B+4561GiaGrULvV69V50brcm9lqReOfZaLnqtfb3q2Gs56TU3verap+tM6T69bifdhv2DWoxB89ar3oPao15V77VW9lqvBrV3g9qrPtWTJtUT+JKiV6NHoQ708bwh+VitlvNe7YQwhcc8JjUaVTP7T6hLteZUSnKTct4nhWv9LjnqVLle79urMl06r9PtqPt73eK4QX/HttUtyjOYrJalNn2qk13JpRQWptYzJ73mpGkeUl7QLufSiXa5VqskNWvS0jbpeb2DfYJ9AcEp/ZZ90j71E5CSQa/UpxrVpZxkOwxNcsvfpvIDTXCE5KjV/Z3mtNVUtUl9/N7pfmwb3d/qd5w/6Rb7Zz0O90O9hcK1pg9Ko/2Al9OlktmpCnXyvuvkT9cr/nKbNG2T8m2qH20qxW1qG5rUbjXJQjYr9+1T3RoS7SmVLvQrq9QOVZof9Adh1xpND/ywZuW4Ubch17PWnjn1XMTuzFqSZ633s9qHWdM/q52Z9Xqzcp/VDs2a/nnlPr1uJ93K/knPmzQdY9qP+1Z6/KDbUX9vdYvrZvuULQbs+axXQ3+hW7l/tk+zphj2KXvROdeNqpn9J/htjaaoU/s06/XapHCt3yVHjV6z1Ry0qkyTzut0O+r+Xrc4btDfsW11m+1Tr3dGCUJ5rZPnXyd71iZ7LntFi1a3lV4Jecn2CX5+l6wD+mdtajVRGuDr5J52o3VjXrFd2SeFFapW8jJpLrN9gk84p7QgvUOqs10qR7VeZ9AjJEe17m/0OChQJ/Xxe6f7sW10f6vfcf6kW+yf9Tjcb1BlkPta0welYZ/apDW2OU8oy9AN1us6pn/Uba9blOZJvze6rXSLcoPz5HogDDsEa4WWaUjbTre9bnFcpd9H3YoHIukYkqUWT2RIv4/6Xe4zqEUa1CINqtyg1x20Tg6ajkHTMWi+BrUQQ/JMxnTepFvZP6V0DHp8o1vcf9bjcN3st6J9QBmXfMLDHfT8QXXAfcABXm+v+yfVr1bdK93Wet1edZPvTdJz1O+DblvdX+u20/29fq902+p+XA/HNfp7o99n3cKvQT4rTe+o2163KJezpn9S3WbdDnp9pH9WPXB8r1uUn1q3k943RzjkuEb1w36Ud5RflL9O74d0zrqF7ihHaCFGPQ9blAtJR6X7a81PrTrWqmuduFT6vdLzJv0Ozxznd/p91u+9bnE86l2r6UC6Bt22ml/oDwU7rWNSZnNPLPuOsDTZVx8S7aw32r7WIebQJPWaZI2blfvmuANSkLnWKWZXpXMrLf3NSsvb6bbXrViPSf2XUf0b0KxSD6JSMtkPr1KZrFItrpJdrFyOLqLsVEnVKtnJKuWqSja5Sla5Su1xlSx3lcpc5fqVq0zpU47e55QO6dwmfcrpm9MZ+W65FcWnOqVgTvfN/u+wokHuo+UUgHb2jseU5s5hfCB7RvB5m3RXsTltimNVrlqhM6Z9Q/rUpl/r9KlLv/ZpX5U+tenXfI98RpOOa9K+OX1COc3lD30t2C35BD+jT5ogLbWWMiEwp09Dum/OL9qF1VgWvLI8NiT2u1nROo9S5FGNOmmR25/ci85k55WrdCkl6ImgJNepfNQrJSq3cF3a16yUo1wuxfeZ1HcSNWdtqWY3q88zrxCvdE+lZ076HV46rtDp91m/97rF8bASbUpLTl9mCpWzLzUl1XLfG1ohui/2Mo/3oV3oE6t2hRpqUJUs4phoIdbVrNw3j7MMKX3ZSubSnMsB+ni15rpW21in/egDY1Rq1K2MJQgXjBugH9rrcb2W1V7P77Xc9Uq6d4hi1NqXR4SmTr+3eh/ZjxhUpX3yRs9r9L5N2j/p+Z0eX+kW9x91i3xA4TZ9yjV9TEflVqjT89H2IepQrzDNfT/kBmrm2BT68hiVmbWuSsnv3JgU7vV7p9tat7P+3uj3VreT7pfjBj1uTMdV+nul33E/tOFzOgJWK4/E5dhCjofOqaTVSe1Rt51eCXlBDcgxrjzGlq1aLm3IC+pQne6KklCl32D3mpU2F7mcNffwaJpkYWs3p7Qg3od6l8eg57RFDiVHve4fNKe9qj0k9fH7pL9jO+h+jEl3+r3R76N+b3WL41EfkXukq9Mt8tKkPOTo3ZDKMco4xn5F2+z15nGg3IOc06ccQ4RVGldKA/y5fF/4So3LsbMppTS3xbBtlUOktlf71Kud6dU+9Q59YIxKjbqVERVJz+QQ05r1u9TkKVl9tB6Vti+iy6Q6Tsp90jI+aTmaVLVJa+GktXBKsaVKW5dKW58q7Z/0/E6Pr3SL+4+6RT5glXJ9yx4LUjm6bJ+Qr2yfcEdQy5GNMakCNbMHli1Vo/doVUlRsE8K9/q9022t21l/b/R7q9tJ98txGI3t03GV/l7pd9wv26dOj8heVZM+5XF65BeeYK2twqR2aNJyPmntmlZ6KrCGuU9ep7a/VTverOQl26DsL9d6j/wbakH21+ekbqNXgn3KUZw8Htan0pbtE8pJr1uUJ8lRq/s7zSmO75L6+H3S37EddD/GpDv93uj3Ub+3usXxqI+tpgPp6nSb7X4eYc69iNwfhw80rdgseEioFa3LEch2hQ7KfpXqzOiy15R9Kty3S6oPKX0gUaX2rUpeWJV+xbgGrB5YoUahvwgPQq4FrwH9YIwzYiwA8WP0l1otYZgT02pJgH1GH7vVWoM5GRjZR18MerVamzGGjfYYMVmM/8N6IMKNeoF+R7tileAP1yv9BNwlxxl7vS6UbLVE5RG9NvWMupTbPBMtWyW09eiZd1onMbumSQrju9yn1pw0mgPM0mlUgUav1+hxtR7X6HG1KtKkba/bHCuZ9Mo5ptylT7BUea5G7i9Vemav14RabcpLHjOC99Im64BecOvqVAqREtSheoXSrPfAb8hB43IcA+Wj09zndiHfd0pp6VXr7AFD/U63bcqhXLfS/bXmtFK1q6Q+fkf8BdtO9yMqALqVfu/1e61b3G9SZZBSpA9KIy9NykOOguVxhjw2DY8Ls/DEZqF09y57TTnmmeewwSqNK6UBPlW+L9qCxuW5dbmFypEO+G2Vw1gd7EurNahV/wmRc9jrNh0vczGk9owO/UNJ1ag1edR6PzrMbun0PLEzY7qOcB81B6Peb9TaOmotHLUWjlq+RuUyajkZ1W6NWrJG5TWqlqPW1lFrzqilenR5vLpLuuYYEeYXNS7bp0HPz/Zp0JSBGiIi6JONLs88y/ZpTp8qvUetSkrOqqQwvktMGLN0Ks0BZulUqkCl6UFsd9bjpEQODrNoqrTtdZtj6Y1eOc+zy5/ynCbkF1a31tIwaikatXSNWrvGZHfQvtQux9Zrh94vbDD63GOyXJijKJRQMrJ9Qi3oVwgOqm6lVwKBHA+b06c+XTPbJ5STVs+f9AiJoEsdHFSzQb2RwU1Jffw+6H5sO92PkSHQrfR7r99r3eJ+kyrTajpaTR+UznY/98KuVWXR4lp9rmuHGdLSF0XLc73C6XqlRZBvGPO/Ti0jFM32HpYKSqNFQMlBWwc7dq265bnl6MHkuJ9sc/Qa7c918r7kf/hZ1w7jrfI/RtDhs12ntifbyWuHsViMyF67HFlHT0Wufe2k533tchwEcbQ8U/XawR+Qfj1mcl0nm4C5FNcr1lmYiyIYKbx2mFcHS3jthlSKrh3GMjHidu0wv67WknPt8vwDzFWEj4Q6hVp+vWLZrx3mAWC25bXLM2/hZ8HPhT+La2KO67WD/3Xt8jxxePnwoa4d5nzCYl6vlBwZ30bfBn0NzKa9dpi/jllV1w4ztjD36TpFYBD1ul6JuVw7zM3HPK1rhzlcOXp9naIFUo+EZhuf8rj5ZEfY8zE+YXzXUx+1g8crI5ObTua+SGnfcNL7l3kCoeRuOunZIIY3aDxCZixtOuktSJuLVkN6+jLbcYzH9NqLyxERGW+eYwpgwSRiKnGWTSdxUon6YxZvq610FY8QX7TS/myendRoP7z3x8i83Uq9tT7mEWNnXcyBjFjLODPGqqSNFku6qW1xoz3bOV4jKNOpjyKzsiXK1GiqtvwxlUNUf9SjNp3MfJw0jau2ZtZ2XYjMDrPqpTXu434ZBR5SnxezqBAF3dRWR+Jc4Rp4dmRS67jpMPNN/KZADN5ppR6FpEDGCzGT8jqmTI4ST7hLx8OnkzGlTTepjy5jFJKX1fEBmX0l7Cf1R7NPKqNQ0idu4j1lLg0sh8ydCvne1BRK5AD+II6V8bRN12hepfeFGK5YC6nRkq9WW2pEjMTPa2MJaRzmpmHOrZBotNctqRRfA+MJ4sFIfFlqkkT8xYuCJZu1pMrMMdFOoqNSH2XGssTcNtWDEk8YM7s2nMy6bzUdbToTMdCgQqXtuqSgdojXyuxkod7rfTGi1SkbmRUsR0hvEZ6b2AFJk4yXbDqJG2Lu5oaTOLXUgD6WokE9Q8zllFT06klUUYdGy460VOJTNdpXlPzIsyC91sdZLVOld5CoY+Py0x4Sz5DcScnC3A95AmfSs1q1LY1+w+yMWS2dlNBNl+MVEjGTOF8VFZA7YqxH5sDN0RZ2Wntz7FBKukRD2lg/xVYMDjHSKdWITSdz9qVm4RkPieyKtRQ7IbP20DMRGypRAZm3t6n1D1HWQVsDmXU3azpnvVubauagqZ8jIYlvIBIis+hklKCNV5DyLzP9ME4kT5AMqpNY7jqRnlVlpALzIuQ46c22yWpI7KFLNgzP+MhTKY1aMnga4kfLTLkuliCZPYc5tlIKhfOg9U3qImZtSCmetcS32rpMyQZfu9vWWM6flFjrMONdrtGrNZY+ch6VbdWqVaqTjLBMyRNotbWV2aqbDnPXZW546/AcjjyVM2mNGzR3Ui+vtSVsk03adDJ3Sp6NQB9N2iSpz00kgnkvmHNcOTy/iB7SppbqyqFXJCPbndoiGXuZtdXEPK02tbCD1s1GqY0xtY3Wf5kTsan1UGarY0yu07rcrxAWC5xjL5OWa2kboCOeIJBrjtrKSH0cNL1DajtaVWrTybwmKdM5atVr69ConZFYdZ5pJE8btTGVk95pdBjvh42R8YJNtWsy7pOf5Ji1ZrV6jMRd85M8k+ZB2NbauuU5SBtOIi1tTKPUU5RU9CcmbT/EJo9qJyuHOVUbrk75aNRajtriIb6y4WQuMErPqD6KtLjSv9hw4gtKCZ3UPg1agsQz3nAyN1BGjTc1t62y6x1Ggm4fUWnrMjlEQyRSWyu9UWvwrKoIb2ldxEqN6gFizuWs5axX77ZJ3mWeBS/2SeZINPFeMhqPJ4t7bd8mvYvUnkFbKcyEG7SUderBVLrN45nyHGSbLG4+Cv26Xi3zoBZLShcig1J7q+S7jKoBPPxO7VSVSuy4Ql5iXKP6wk2ynJNeeUPLcKWt06bWAukhDElxlHCxZxJhECvU6TEyF0EiQJ2WZ5lri7nKo1oD8d2rmOZalcDTj53WoEm9mVl9jhzrrLTcyW+ttvPi70gplGeQZJ7kppKQGiOeAGpUpT6M9CereKVJW1n8DS4/VTcqA7H+my7HVaWsdOmsTfXaMN43qteHut4qCbF5mGVbaa4GJSrj+PkZpUm167WObmo5z/MMer0L+kWYPb6h5ULiYp22fINDbFH85z55J63WrfxMi1jQUdv/TYe43qzlUSLV4ie0rk7qyPNis+rbaxkRFQf1gWaHkW2ZTyLebq3Wu1X7glhxrcTkCptaCmTuFKL0o5Z8eapW/PrOYeastOSTenzSa+q0Rc5PLjSakl59ukbPz6VMvMRGLafEWCf1JhChqNWioj+U263G4ak7Kat1qsOT2kXE/uBndGqhZaQHURQZkazVZxo0pzIijnG+0eGpH7F0rVootAAgMWirPTiMVmIW8YZau1b9LsxhqrVVmrWfI/0eyanMm5IcIKaJWVpj8sQn7Z1UDk/N/h4xhOxXyZMfs8Ooa6N+QK12alLtRocxuMfjAegrN2ptR61Pcv/c95cew6yWqFH7LXaojWq02qaLnRFPAr3A7CfAOsh8jk3Xa10VTdfrW6HNGVKZblW1/Gxsoz4IogzShmLe64ba7MphroPcRWpFo9apSdZsUosza4mRVGUrLk90SN3Y1LKFWfkbyV5UWlOlLk6qM+K5s3oyvXokiEdhZQQwbjTVjV5doljDSo4kvgrr0DpEJzCvt1ULISqK1ylPjcF3XcfCIRaOHiPs/KDtMmazSHuCXnCt18H4D54DntTSiQWTmf94/kNKjNjrUX1c+EGtWrBarSx4DupD5KeNu9RGwqqL34rnN2WsdtJWqlatpcVD/3lSmy2Rpi6WPTzNIHVO6nuvfhbilZif9Fg8adQWU9pzxCVn9bPQN5HRx059nNrlWBDWSYFXKfMWNvWq0rrmOW6DWqRWy/Sgtqt1iOQ1eo1aa/2gpQIzlh6OW0nb22m+W+2rdQ6j0dWK51Y7RHs7LedV8saEjFgNudegqZAjpK5K7148U9jBPA9MfHOpQ5VqjOuLfZeaPal9kJhx7ntV6fhGlepTOzU7jEd3WvPkuEFz0cTjpFWSyC3GuHvVFF4rfCzQy3NaK62hlZasKXkr93lD9/tQct6gdXnUVq7XtgSzqeF/rqYN5Qotj1iJ2SGKdxdHzMKRtmJys95r+OR4xMtnbX1F9exN3WQkJUmu2uh+rKIgUbBNh0hSrxZycIhF3PSpZRwCFkJS2KmdmbXejWrnpO3b1FrYaxs1aFm+VuvZaHu5+oceEpSq1Ieq1KZJHwtzC+SeldYWmTGO8QvM5lnvbyO2peLnikUQi9xrOz+vjCB8+tckKzdpmzarpZQezZZSu+vcQb0eKeESAZQ5WEL2oftuaM9kdjnKIVamUc1Xz5Yee6vtongfrXpoaEfh6TQOT/ghh31qUzYd1vF4vE/ca/uIlm3W1nlymDfy+X8bTiIAEmGTuGSTPLVVKnelefWvVcvSJ48lq1G5/o57t1qPxP/vtX2VvuBdx9/8u10C7s/J3X+P373XNlW85Vm9ihwLfKgkrqYLs8jv+xPb3mscRfoG0qPCcxiIrkjfFfNosTpLrXWm0folZRjzqMUiSQuX1RDPvlMPE6NoaEvFYvTqGW+qjzUka4D2ZNJ2XsrspL6/PKvX6n0mtUZ9SmXnMNaCVZ6yly/WFzFgRGfQ58AM6lH9FESXZv2lSn7yzRLSq8fTp/4Gnk+VSGStPnudarf0wDAetan3EN8A43lzarU3HVZV2NB+3qTe5GZq11ef34PXLGtQbaqOs8Nsx1p7poh9SU9A/Ij6k/xtqI9WO4xczFpWqlSS5Rli+EV5/YzWYQyjV28G9rbRa8u4GeJNm1rzNxzms0vLh1UkNpzMu560VIxaM8XDlPLbaCsmXgZG+jA/b1ixILJf+sCDtkiybtLNCNqoaam1FR91z+r17xpJxDMvEgFptA8vucd6FyhBs0P8FmP94U+imrXDfAK51qA9ijzPYta7YpxO0tpqqyD9rUq1Fx9PvGw8kzw7RL1HtVvo1eB5oPVGoKTO3hyBqpO/DpawiphPjliztDbibXRqaaUP3Gp9qR1GOFctHEZj4clIDL5RjySP2E5qkW+O8oj1GpLmEsfBvAGM8klrOSkFqVky9jVpKzRrjyD3XvBMRKUWRuiO2vZL7Fa0bbUkjeoNSy2fXX6GHDlo1fuetO4hviDRS4xbyEhzfvpP7i59aoz9iZ3HCgSDy2NMrVqu/Gww2qdBbTHGgjBT/lr9WEmflKBe7Q1mAg3q03eqK0bUMftZ4iaNtvHw1SWmiCfvJGIjPSPx/2XUe7U2SOskUdhWPULMUbjZcsJiDWqDMXNH/H/MARErXWtvpE72RNrGKtm1UXuQmL0v5b1S+12rx445jrVet3eIWkxqJeExT+rbSn9oU1tGSTHWmJR0tarHoCVE+hJtqh2r8yCqG79U6j3LKEuT2hE8WYXWEhEOjIJUes1Oj7k9CoK8ycinjGJJ7ArPlEpMstY6IWu+9Q4zYaSlk3RILwJ3lh7F7NC7khYFPoRY61Z7WNIWiO2btU/U67Xr1PPBuK60OY1DPxjHdFrPJK7WqYXvtMQj9or5j10qQ5vqO00uP3H86+ZCdOpziUXrU+rQSmHNDolhbjr0i8VjnbWMtW7T4QmlXts7sbCb2hZILA99EIn1Sw1r9KqIQY+pDGFWf6c9lbxaSuUwg0MiWVUqWfl5AunVwC8U/wKzWCV+mCNDndoXrHvX6dXb9Ls884i1BXK/QcY+ENPDM6DiaXd6fazWlNsUiZrlGFG18oennWVmTqethbSOtcNaWpPDmhdSGuRuYhMmh7WNW4cxTplhInayT+nHXITa5fkpnVpsaYEwYjBryyAxeYwRSTRFRr/GFY8Zlki8r1nbPUQSEUHDbBx42eKPSp8QZb9zWNWzc4hpTGrjQUiY1trmYJy6Ui8Sz0vVaoVmzavE33uHta0mpd6pn3DTD9hINhzcZm2HxWpivFzKKCKek4P3jzmqQ/ISpQVEZENqIJ7EEh+p0dYO/SewxwymyiH6WWlty0/pNqm9aLSWSF829yDGVK+lBKF9wPyANqUTkTCMYs7aask8lc5hdij61UJYWoVGey2NwyyQIdWBPBYnHoKMYmHV4Q2H8bkmlgqZKyitZLYkUjalBzBqKUfUfkgpx7MYmK+FWWeNwxq5iI2PLke7kDOh2qSS8Fj/e0NbU5lPMmiJET8Ma0VI5B9WrNHWc9QamK3FqNYCs1YwslA5rIaKMSnM0kKbuP5cNYzryupK6FW3WkY7hxXPZc5ro3lqlBfmnz82V018Z+nFNZpGaefEH5LedeUw03DUEoQ5StcO88Tz8yuj1uncHjdaw/BsvaR8Sv77sFI+pP+ZRzHyHEyJmEvvSEon5jng6UqM0YvnNGr7h5FBrI3aq19WOUSbMdqGNcLm5BmjjyP+9ezWmZWGWdJN8oZkDVhED0WzzeSlDA4RzWzVpLeB3iXmM7UOTwr36gk1KZ/oJWNervhEsH0yFjOpj5mfEpGYQeMqTWevXLE+CCK6s9b2Tv2+1SeBK7VyGDms9b6z1hhpNTG3L/vxncPIeav1GW22+JFCCiubYKZLo+UYtgzPusE3lPyJ79NpXcZK44/NR5OVXVqtBVIy4engSYg6pap1eS7P6PD8icTApAcu7bxY587lVRar1IepUu2ftDXFGofoC2NujvSU8CTmhsP83DGVEGn5OodVFDYcnpCa1fPMs9awGuHSs9Iwf6XXcoDoEmJl0qLPWpdlJoaMIdQur/Yyq28qfkWneZd8iYcjo0Kza1Y8g0l9ofz8HmYwd1oCK21f0F9r1EtGmy82K48OZ39n9U5SAmuH52NlRF4I9NpPwupfGPUWDxHjA1J3J20bMVL++LMYYkUnrY2YByCRdqmLDz2ZUKsFkD6FWEHxAfBc7ePPLoh3P2qrJpHuShXA839SZqT129QzMTaFeGmrRAe19rgubBpKN7RA9EF4YWW5DW2nKvU0MCt/SpYNlrhX7hK9vDkquOGwptnoMBNBat7ksIZrttxD6gNVqkDnMANLeqt9Yis9sUFtKp61fIp/q2MSjZabTfUZYXnFY5y0ncOqmfkPq4E1qlyXON81WvHwH0YKe/XuNhMtRKLX+dtwj0e0Jfe3Y9Q3r/Jbxi9Xr/N43FTyPjrMdMJMGUQTa4cxZInxY7wA9rBXfxOxIJTS5kbqNpw8iSGe4aAtEEbAW7XYs/oU6JGhxXk8gvq4Dg9Hij7v73Ou9ltGk2+WiMeiJb3DKESl/h1iPJ3DHPNK65JEmOQ7nggYteyvkpS5nJV6pWK/8TQjejQSQd90GEXsHHqfKOtSBqUN3lRfWjwo6bWJT9E5zLCR+RKYnwWb+ng05bEysNoT3lB7MiVfFPE+6dHebzFu96hX/9bp60qNe7wnm/9+y6yCVQXW6Un16t2LvcCMMymBQgOzSDFjdHRY4R3z1qXN3HSIXQ0OcWpYAswkmV1+kmRweOIao5itw2xJKX9Y70lmbOH5llX2KEnSi630rPZGP2fDjeo5YSyocXiCB/0YzDN6qDf00N/neGmj/vXay5g076BwP8/173L7zHV8qvD3uDd087rrz2DBU8Di+2FmlYzK5qf3am0F8tgynijCc2kbrlGvT3htahmFz5TX3Rq01W219MKPbT/RBxFGrPoHzy3HLlutTxi5xFgCxgla7X1I72/TYUX+WtsIzNKd1P40Dis1bTg8M9FqfqS3M6g+ed2zRnuBmw5zbPNz4uhjixUV+4JZupi/vM4xubzIHNxeW+pGvfn20V8xU6lR+4UnZYQYVodb5xi0OYN6h5W2J1hz5uFfseaP9GPE+mxqHcCKJ48fIdYYbX2t6t9fR1dtuJQ3jEZuOqxFMjk8Hb3psNbdoG1QpzUDkbONB66zceeVNu651oZ7fMbrQ8/1flrzb9YZzFee1KLIuHheXXJKWkv9kHk1t/0geQYh1wU8LyMea37q6tMaPKjll2NmPX50WEmo1hrTp77xrLZFfG6sITVoSyitNerdp/Ze7jqp9UKUF+ucSI9aajvWZYCPNDrMhZdREvHQZ/WT8VY46ZvKOEynUaLp3r33txmPzS1f7xjEgKvUe8UzyXlF4VmtKyLr8NfwrGajLa6UOUTg0I/Odufh+2yscaeNR++14R6fDQ/KWJFS4q0SC8BM39VVWfPKADKCI1EqrI8r9rJTC9+q3cU7uOBHVuoP4OkXKYESaZa5ebNrXXejRG6k6ID47Vhj+b79UgZlzB4zCeQTRrjbtY749A8rUOO9fnherde2S6wRZrFhVQ5p63ot0ZJnaWkRscJM91FrGdrL26nYUL+oVx8Oqxh2SW3EA/FUQV7jB7OdOi1p0lYPLs99RJQaTw2KRzE7xCFa9Rgxy29IPg5Wid1wWCVLPDmx0XjOB28nkLdAyHharx6IlMzcJm04icm26o10ag16hzla0hJg5letbQVme+DdNY16TvJUtUSBJc6JFeo31HfCjExpU6SHi3F1mWEjcUSJQGxqGcDsAkSRJQ/CEU+gzskjGLSNkFZKnsyc1VuuU9v28DN2G9qijQ6j9cK119KL+ZDSvx615udVusQK1lpWK60FWEUG8xoww2B41BfYSGVKrIeMQGH+dZ+88E2HdZzl995h9miX2jKsIoyn8mWFgk21YqPD+v6rf1AVz3ahjfq05mCtiNGtznNrtS5ifBDv3pJSO6n1XY1x3q8Eanqb6LRqIfCmBYyRycgrZn3VDs/8iv3If5PW0vxU16A9lcblsYVebcLtfNd6b4nRNOoVYz1paR9Gl+cNIWaRVweTOWt4Rh5PVyLOe/e1N9a4+saD18dTJA89lXeX/lhfstU6I2MwjfYnMTOzdeiVbTqsxykjJpPWiNFh3qL0h27qKvNiZMxZbCDWaMFMZonNYF0GjBtfq90QC3bzr3ZYOfnudLR3pAPjSZXDHJDrFYuC9lquhyfCET2Tuaijy2O8g8Nboepk9cWf3NQjZWxfWnN4vKP2tWSeVOWwzuCoNQH2Z1AlsN746DDGLqPQYg3EK/u0HN+s73c/Pf94RPzuP5lngzGUPFKNldM/vf/d65Gt/sms0bwusFjvST2NWfOKOeMytid2oNJ2AeO8lcNqBYO2ho2WJsxImd2nsZv7/aKHvKYN9/jz2+IxPt7urtOm3t9ejsnKPH6nddrvh1vnUevs421vpXQxD75yGDOWNlcIy+yBTls8zP/6tCTJjDaxQI3DPMJJPbL8LHyjVh4RyE7b/E97bRsO88nwBDueN8Y6nfDQJK35yYBGfcbbUWdRScbvMfKT57e3LkclMLqT39CIZ+1bh3mOlcuzuFdbKfAT/VvtWWOdTzyXgBFmeHaz2h6sdbp6xV7/Bo1nIFV5TZ8mnSmjDHiH6qyek8SzRtUTsXXMa0L7jCcHJHerduuutRbP3YXfc+H3nKc1Fq9/9T+xQe1ae//If3/sHfPVH7/P8nm3/O/z1Pj12q1bDpdKz+9Ten5rah/as/5vd+1/Op/+2Bz817n6Q98eK8HlKZcsXb9Ogd+q2x+hu12WFtX69bWr/KeS6VmnfXzMzqzbxn5u7f2c9ns96p/Xjn9u6n99rn6b5frtvs36ftbvUfd+f66/lumv99g+r658Xu36PevuEnR/jb6/tr5+rk3/dbbt80rOr7cfv9+9fuu/dcvFH1+q+Ymf+OmP+fRrW9Rf3y6Uz/Pn6PB0Pq1nd/8rafRHl93f5gfZYP5f5dN/xbL7eb7s5/mr5XP4uam3VmL+u1vW+718lksbrJcpl5/fv/utV1+/t/x5Zffz9titnevXsd9H0c+jaKdG/jEl9vcrV8tbm8+x6et4KL+W/WO17Y9V7I8oseuq8ZjN+2MsrU3drNZy67p9Tp39o/LyW0mWrIPL293/vp/+CB1+7/KyVKrW9RU+p539o8r5H+OJ/f6Wb+nr/NayE+b8fjrH96/uo/8U9n4bf9lzW+7M//3o/4Xff91zC/zjH//4xz/+8Y9//OMf//74v+DjP+zPhyNexSP+lp7/C3tl37/HXsG+P/bYnfrvx/68E3068Nj9v3isrPckvQnsC72IPX9G+PS93/OveK/n/kr7/gqX/hoX7k+u1rUGKvcXn9a7f+3v/RVPVT/0a33Pr50+V373r/ODqZr12ef7fq0fPLd58Nf2wV/vT7M8Wd/ck1+sYHzfuQ/lt1W+9/96f45a5XD/r/fnSJ4Nvv/X5gEKsoJSd8+vovJ952IV84d+bR78tX3k17sZya/3pxmr4N//6/jIr8ODv44P/jrf++v9ZQO/3pdfrCtx969Ybf/uXx8qsfj17vu+cP/p3rvX/lvYG2zjXUe99se999bv2B367XO3E//fXuPYF37/Wfx+4D743x8/4437+pHj30Zb/HiqcdxX7p/+mPDppd/z8LE7fu+V37Y+1d8+eORubB8OohLnMV504f+/64yv/eeLeNx+bDve+zbnF98arHfs1/4+vyQlHz7n7hTj9xe+FduN29DyHcRW7MRrs945lzE6FtR+OJc4I+TxyN/hg//3mDI456VP04E//p/+zLvZ3z7jlftyreNCGVvnuDf++3qKfOXT+UPM255P9b/WOued/3YUlV/n6G3vg6x3XPBfvov6/bxmGcjnoHasc9aOT/vJmsfuxvK790g5x9Ffx2NPHjl2z5ejo0eOCSX0o///4aNuWqXHy0c48nClNr6Nnt/jdfL2edt++3BZeemP2E9l6+FjX/ucnvrjjx9JRbCU5zGte9Fm3m0DcfQ7n6/XjxxxGHO15X7yvwVfOPC+9NtTn+6H0yx1IDNY13rePu+Nv++ep7fOOVtRp3WOlLZIWoF1jpfW6nPzsOtL/fMHj3y8nMgRj5dcHIcSKK3m42cE+/CD/3voSLSWj6Uh2A2U02Bx9mLL87Ad2Yl9rQt/xqX//fFjrz6zZcvnrNuy4YzPadlwzvotG854rGXDcetof7VWy4YjP6dlwznrtWw4+rGWLR+3fsv26TnrtGw4a73WCkev01rhmEBSynsgcP5IefnGXdyy/VvxCPn+J3/eK3+dQPOd+8Jtevbbaxz177GVffy4V740vVnjuNe+/fvbGsf9h//9/I7jXsTW8zxamOfRymzeOvcvMYKSYyV/vbUeE1YWl5VcZUXa1l2nFRLlPc2Vu9bVv2SdaFlJSt5pIO9JknXe+nikrM3d6aq48tZNvPNNVsG9jv0wGV+WtdvwxuH8bqxet/IrVvTEe+sr3coI9RyPuXZYFz5ca3SySqHskf/xhnVZp1jW0ZNfZGUsOR8paJ2sjCnr14WrT07WuJfRblnXWd4XKOvTXTt5Z4K8iS6/IVPeKHetK4nKm1LxzvnWXTu8RU2uLHeUVIpiopPkVY4RhWWlcVFKiEiusZq2vBPk2uGtTJIjeQdp5WSFz3CkvGNTlG6drJUvq5vLqtvXumKlrEcm75jpdR3T1l3runiy1r2s/ijvzx20VEiqJOWSqmvV41rL2XWMB921XtifV2J+N397Hv3TM18XnrkN/y/YhWApnmn/9Dzah2+9DZOW6aN63WH/i3jmafxf2rpnvraEq8OzC0eFNv5K28/Vs8UbPYh1L5z5P/1Z4hk987Xvx3jOmf8V5zzzViPsufI1F9d+5e/1o2/7wj2fxTuFVPwzpedbzdE//Tnnsc7v63liBf/s/leyhP/bH/tjzPm/x6NP43658o8+pdi/7z+987+KMv9csZDPkiLP1JL86I/ec4jNisKvvX29qe7nXwOtyep10NYcRA/lWcxjiBscxLP+l/bzoff//uTO12r3Jcfo31xHD+ksWr+L6OP+EGntxvtcRu8mpE3SIPGIZ7dalHO/ZyceH7yOq3SVsP8wpvqj/yRRjmfR4zvTFEGBn1OJCmcEfaSkfRupSL9JlJGW7tt4pHiEN/P13DPfWSkrZ06iNqfxDrdVyJ7EM/X1z1JpfO2v9OKenK1/lVVv/Tr6T880+nS4ktqrqFX4tn3HUbhm0A51+U0sZdDm03Nu/56vIfXymfrmz9RXv5nSZ550LpMhl59/hV13obX0+tYvX/pPP0S2YI341n3W5Fmszc9iv+9DHOv4NvbIzlLJXOUh/eUNTfGzZImEy7cp5RLNuzv9j6XkP/zZx8r4b/rrZbz+Q+c+j2XoOFpQ1LTP1UBS+WPst4u+4Y6rZfA+i7w+hftK95uo7D+jZmHPx09Uu1kXb1sJ6e1l+3DX8Wex7QrpumnRbh99u6atRxk2We60aidEL7QRN+uPpOVCWyypD+taAMQOYInvKrFS89e1WrfvAKtwfE/axZLdvMZ92txm9FDNelz7XLegwvW917idixfRoznWe8voprT3B7HtEhVhZS7dRTz/X2qxz9WXkByc6TmXesSup7WXauvDv396vb/FvoSU6r177nmzRAjLcL0jLc/H8bibHG56K9faUkKfFzdKRNDrMpaTI1XjWfzlW61HEis71xL3o1qOu/28u+zFM+1/ii+56p/czulX0S79qJ7Cv+6oU9d6rXDly5jSjZj+v63YnPN7jrodZbn7KIkigMZ997vpP30V9drz1zxIub77zE89zLt81bvOfKlxqPMVOlt61MW9Z6E3f77ie4v6991lNd4Tvoezflb/8CHdbmuy/pk3I1nPUi/7MnJ46MxX8Z6XqsaXqssPD56DUgJPPUdQ7j5+tfZ9SmrVot08+9zBh7/PDr+I9fNiJSUov7lUr3PUOmXxsausx/1z0/LrrnJXL+zx9D9WOx67wu2acn</a:t>
            </a:r>
          </a:p>
        </p:txBody>
      </p:sp>
      <p:sp>
        <p:nvSpPr>
          <p:cNvPr id="65" name="WORKBKFUNCTIONCACHE1" hidden="1"/>
          <p:cNvSpPr txBox="1">
            <a:spLocks noChangeArrowheads="1"/>
          </p:cNvSpPr>
          <p:nvPr/>
        </p:nvSpPr>
        <p:spPr bwMode="auto">
          <a:xfrm>
            <a:off x="3197225" y="2944813"/>
            <a:ext cx="638175" cy="457200"/>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Gjrjx29qe25bEzHiqHj517O9L5+BmP1ZTHzscIGvz3h49ev848dKXP73eF8YnVtuv6hjcSUgaPYbWtXIfuTQuVe9I3/aA8qnWgKbjPn/10ZOu2j/qpTmF8MBA8vtXLR+pv30NGu0T3/y9eH6NeuWWGVnkU7C6fcnUcJJ+Tx0MOosWRfNw8czUufKyKPuyLB89C4jkX6nVIL+G2OiFNG75nf6bpwXF3RS9uR3seU+72WOb9R2arsRdtHq58d9ToU1VXR4ouk/V4TCMpn7nPGuj+X7X58m213IPXF/F6B7FM3FVacj2ScccQTflXLOmS1h9cjpSt6vFpv+dmj0AswmU8+jjGW9Y7B30NRIruatlQF296yajl76KGYP5w+fjUa71pI+4+5q6rrZuSm9dHLh+ON65aph817nM70nBT109TeDeRl/Gu2Rq90H7LP93BZ14Z3B735u/WD0o81J+53eP7T3cQU/vszrPvinP/93w+7nNmEt8/a/jP6dzd6FWcxTIjvxzGNirbwhfRMh7F3/9/nCUMKA==&lt;/compressed&gt;</a:t>
            </a:r>
          </a:p>
          <a:p>
            <a:pPr algn="l" rtl="0">
              <a:defRPr sz="1000"/>
            </a:pPr>
            <a:endParaRPr lang="en-US" sz="1000" b="0" i="0" u="none" strike="noStrike" baseline="0">
              <a:solidFill>
                <a:srgbClr val="000000"/>
              </a:solidFill>
              <a:latin typeface="Arial"/>
              <a:cs typeface="Arial"/>
            </a:endParaRPr>
          </a:p>
          <a:p>
            <a:pPr algn="l" rtl="0">
              <a:defRPr sz="1000"/>
            </a:pPr>
            <a:endParaRPr lang="en-US" sz="1000" b="0" i="0" u="none" strike="noStrike" baseline="0">
              <a:solidFill>
                <a:srgbClr val="000000"/>
              </a:solidFill>
              <a:latin typeface="Arial"/>
              <a:cs typeface="Arial"/>
            </a:endParaRPr>
          </a:p>
        </p:txBody>
      </p:sp>
      <p:sp>
        <p:nvSpPr>
          <p:cNvPr id="69" name="WORKBKFUNCTIONCACHE" hidden="1"/>
          <p:cNvSpPr txBox="1">
            <a:spLocks noChangeArrowheads="1"/>
          </p:cNvSpPr>
          <p:nvPr/>
        </p:nvSpPr>
        <p:spPr bwMode="auto">
          <a:xfrm>
            <a:off x="3197225" y="2944813"/>
            <a:ext cx="638175" cy="457200"/>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lt;compressed size="651798"&gt;eJztvQtvHTe2ps2fYkwDgxngk7ruF3TPARwf2fGBYwtS0oODRsOQFamlJFYU3ZIe6Md/JNd6yS1Zl+1cikvnvBDs2rt2Xcj3IRcXF1msv7pDd+lO3L67cMfuR//phdvz347cgfs391f3rf924f/t+t8u3Zn/5cA980ftuY/+0/9x/8O9dK/dW/fc/3vhtvz3Z+5DvML37p/++B/j1b91p/7TVTz+ufvB/73323DPa9e4yv/1/tPf3X/6a+75s/7hv/1Pf9SF+4u/c7jnSdwfUvjM/c1vD9zP/oh/xiPCmW9j2g9unLnl94RcXbh/+bNexPSfxWvt+z33nf13n58XbtufcXPvr/v2P6KKr/y3C5/uPZ+yS1X23Kfs/8XPtevc7Ea/788re//qFd7zuoVP3/s9//K//dsnavxJdbyM1/5LUvBPquvk9237fXL0t37/d5HIX5KKf/oMpW9qGu79yr3xLN+4d+4Ltxl1+8tKPvO1t+NVD+LZmcUz97W/z0U8Pt8j5GhfS86Fv0atean8b8LmTyuUwhVOvdZ/iVc992f86JWr/THbsfx969P37z7FV7eOaPwRku6b+1u/fzfm8MDvu/lb538LOQ6l5r8viZ4kDJBofU5mkjBDoiYJAyR6thMmSHT+jyQskOhji92RRHESo/Z0SMICiZ4kDJCY2bMzRKImCRMkatYJIyQakjBCoiUJIyTYs7NAool5aRh3MkCiZ1TcCImBJIyQYM/OBok29ibYs7NBgj07KyTYs7NCgj07KyTYs7NCguPYNkg09J1MkJhiTmqO2Rkh0bFOFCchMXFaJwskepIwRKIhCSMkWpIwQ4IjRTZI0HeyQmIgCSMkRpIwQ4J9bCskBpIwQmIkCSMkZpIwQILj2JZIsGdXnsTAOmGKBH0nGyQ4G9MCiZGzMY2QCOOnXLfDAgnOULZFgl6sBRI9SRgg8cLn6r1X/iTuDWvtkUhZIkFzUfPQb/M8g/cc1TPK6Lnbif9vk4spLnJu+H7gPsQzSMcOnTf+HLKxyeYrf9xHv/+9e+mvR5+gNJ237iDSgEUL/toVqRihIt7ze3/OnvvFb0Vp8rHEJxx74o8kExtM2MLY5LLt/7ZIwwiNHb/3ym9bf+a3pGKEym487iD2+c/9X9h7TjqF6ewona14jRN/99Dek0tpLnLMe91/Fgn94tUnF2tc0H+R65CPFT5s+e2w+Og/nTnGK60QeeHvthu3e1GnM233yccan6wNfTJrdIJHduTT8CGmg3ys8XkZr3Tsjz9i22OOziv3JZkYYxIYkIktJm/8d3pm1qh85e//Q0xDuOa/yMcYn3f+21HME8nYIrPt70Am1pgEhb+LPvPPjJwZ5oMZACRki9COXodcbHHZjaM0exw5M0fm68jlhFzMcNnzmhyRhxkeQY0wckYiVojwyZinwIVxTJt0juOszHBNxsus0Al15nBlFtNbv//EcS6TZUasQdbonLK2mOHx0h+37zA6w3pihctrr8WpP/aYdcUQkxOvyaVGYkJaScYOmauoz0WK/zOGaYXOzVUYZCYg4wFW6TAaYI2NrJshz2mSjA0y7/x5r0nDDI3D2Offcj/53469/mEs89JvT/357NXY4RTmmeUoJ59tts/ojU/HnvcNyMcWn60YISAVW1Toq9llI9402xy7hFbH09jyWKUkCh+SizEuu/6uz0nFCBWOO9ujweimRSaYqSFrnJKOJTpB3R9iXknFAhWs1kg7ZomJnE8ednhg7kx4BjB8Ih9bfIImZ/6XfXIxxeXKcZ0z+3yyNoxhWqPDdc5s8+E6Z5bpcJ0ze0zY17THhOucWaTCdc5s8+E6Z1bJcJ0zi0y4ztnT4MN1zmwS4siATS5c58wqGa5zZovLbtRj331PIkaIoIaEWJmMbIZYwDkjzcYIhefROW/GCpNv4p25yokNKuc+L33MzRdk8RtY/N2fEcr0x9gO7MVzwxMU/7hD81rTXFHxRRXvqfiCirc+xTMVX1zxmoovqHhPO76o4p3/o+JLKt7HlrOj4ospPsY091R8UcV7Kr6g4jN7QAUUr6n4oorXLOMLK95Q8YUVb6n4woqzB7Sk4k1Mc8O4yoKK94zWLqz4QMUXVpw9oGUVb6M3zh7QsoqzB7S04uwBLa04e0BLK84e0NKKc5xzWcUb+iqLKj7FFNccA1pY8Y5lfDHFJVZLq7Kk4j0VL6B4Q8UXVryl4osrzhGJZRWnr7K04gMVX1jxkYovrjj7nEsrPlDxhRUfqfjCis9UfEHFOc5ZQnH2gJZTfGAZL6I4fZVlFecsuCUVHzkLbmHFw7gbn8tfUnHO9CyjOL3DJRXvqfiCir/wqcd7GkO+D6j8QsoHbUW1Q7/N483vOUpUmMVztxP/36b+RfQPCpzF7wfuQ7w7KSxP4Y3XmAzKMsAq8GG9/gO2zYtReOvPuFixRME/uqL6C6svXml+m7goSg4lOIT1X/nm0OW1ZwtQVv9t/7dF1RdWfcfvDe+OaH06+JaipdXfjecfxD5weAtB2Mt3ESxFYUcpbMUUnDh5Yzf1X0r/oOlFLPth/5mT9z/zvULl9If/L70xcliaA1vg5TX/6D+dOcbdllb+hb/qbtzuRT3OtP0lh1Icsgb0gUpRCB7QkT/+Q7wfOZTi8NKF9zMd+3sfsW0oRuGV+5LaF9I+aE3ty2gf3kpJT6iU+l85vO0wpIhvPCzF4Z3/dhTTTgJlCGz7K1H7UtoHJb+LvujPjAwZ4IARYpIoQ2Inpob6l9J/N44S7HGEphgBvL+e+i+t/57P+xF1X1z3kOswQkPll1aeTwZY0p/xuLIUjuMsuW1/HuNBS1MIdeBwZXbK23gG56hYYMEaUYrCKUv/4rq/9MftO4wOsNwvrf9rf/SpP/aYZb+A9ic+75cagQhpIoHlCVxFHS5SXJqxuKUp3HxaW2ZssX9cmgJ7x6UYyHP08hwZCSxL4J2/zmuqvrjqh7EPvOV+8r8de53D2Nil3576a7FXsDyPME8oR+v4LKUdFm/8OXu+jSaHMhy2Yo+Z6pdRn75ReQbipbJNKE9iddyGLUNpGqLkIfUvpP+uv/pzqr+w+hyvLKc6o3QltceIvaz1RwolKAQVf4h5ovpLqo9Vzmh/SmjPpzZK6Y65EuHZpb14LjmU4BDyfuZ/2af+RfS/clxnyA6HrAFjcaUocJ0hGxy4zpAFClxnqJz27JOV057rDJVUn+sM2eDAdYZKE+A6QyW15zpDtjhwnaGyJBixLqs/1xkqTYDrDJXRfzfme999T+UXVh4lPsSCZKQs9I3PGRktRCI858p5Ektr/008iqsbLKv+uU9zH1P9BTVfW/N/j2si3lQdV9+O1xUv/pmTGednquRFPD7f5TaNWnNTkYURFj1ZmGDR+rzMZGGIRU0WJlj0bC+MsOj8H1nYYNHHtrsjCwMsxpibniyMsOjJwgSLmX09UyxqsjDComa9MMOiIQszLFqyMMOCfT0bLJqYm4bxKBMsesbMzbAYyMIMC/b1rLBoY++CfT0rLNjXs8OCfT07LNjXs8OCfT07LDjebYVFQz/KCIsp5qXmuJ4ZFh3rhQEWEjGnjbLBoicLUywasjDDoiULQyw4lmSFBf0oOywGsjDDYiQLQyzY77bDYiALMyxGsjDDYiYLEyw43m2LBft6FlgMrBfGWNCPssKCczhtsBg5h9MMizDKyvVAbLDg3GZrLOjT2mDRk4UJFi98vvD20aDIAZkUZxJUFz0P/TbPSHjPkT+zlJ67nfj/NskYIyPnhu8H7kM8g3ws8XnjzyEdq3Tw1ovwHpIDegcG+Lz1512s2LXgu12Rixku4kuHFdP33C8Ob5AhIVuEwrF837AlKmxprJLZ9n9b5GGGx47fG94H1Poz+WY4O1x243EHMQ4Q3lET9p6TT3E+O8pnK17jxB3Hlp9kypORY97r/rPI6Be+Yc4kGfRn5DokZIcQfQBLND76T2eOkUw7TF7E64ftXlTqTD0AErJHKKtD/8wen+CdHflUfIgpISF7hF7GKx3744/YBhnk88p9SSrmqAQKpGKNSnjXM700e1y+cngbcbgm30hsj9A7/+0o5opsrLHZ9ncgFXtUgsbfRQ/6Z0bUTBPCTAEyssZoR69DMtbI7MZRnD2OrRlk83Ukc0IyhsjseVWOSMQQkaBHGFsjEztM+GTN0yDDCKdVPsdxJme4JuNodviEenO4Mufprd9/4jjzyTYl1iJ7fE5ZYwwReemP23cYvWFdsUPmtVfj1B97zPpiisqJV+VS4zMhtWRjic1VVOgijQ4wummHz811HWTuIGMEdvkwQmCPjqzFIc97ko0VNu/8ea/JwxCPwxgH2HI/+d+OPYEw3nnpt6f+fPZyLJEK89Jy/JPPST8FSm98Sva8l0BC1ghtxagBuVjjQr/NMh3xrdn2WGa0OuLGFsguJ9H4kGTMkdn193lOLma4cHTaIg/GPW1SwZwOWU2VfGzxCfr+EHNLLja4YE1IWjNbVOR8ErFEBPNswpOE4RMJWSMUVDnzv+yTjDEyV47rqD0FQlkdRjft8eE6atYJcR0123y4jppFKux9WqTCddRscuE6atYJcR01u2y4jppNKlxH7akQ4jpqVhlx3MAqGa6jZpcN11GzRmY3KrLvvicTM0xQS0IMTUY/Q3zgnFFoc4zC0+2cY2OHyjfx3lw7xQqXc5+bPubnC9L4TTT+7s8J5fpjbA/24tnh+Yt/3KF6ramuqPnCmvfUfFHNW5/mmZoX0Lym5otq3tOeL6x55/+o+bKa97EN7aj5gpqPMdU9NV9Y856aL6r5zD5REc1rar6w5jXL+eKaN9R8cc1bar645uwTLat5E1PdMN6yqOY9Y7mLaz5Q88U1Z59oac3b6J2zT7S05uwTLa85+0TLa84+0fKas0+0vOYcD11a84Z+y8KaTzHNNceJFte8YzlfUHOJ5NK2LKt5T82LaN5Q88U1b6l5Ac05ZrG05vRbltd8oOaLaz5S8wKasx+6vOYDNV9c85GaL675TM0X1ZzjoWU0Z59oSc0HlvNCmtNvWVpzzp1bVvORc+cW1zyMzvF5/2U15xzRUprTV1xW856aL6r5C59+vD8y5PyA2i+mfVBXdDv02zwy/Z4jScVpPHc78f9tEihEIGhwFr8fuA/x/uRQgsMbrzIplKaAVejDGwMO2EovyOGtP+NixR4FX+mK+i+uv/io+Z3noilJlCERVp3lW01LqM+WoDSBbf+3Rd0X133H7w1vsGh9SvjOpOX1343nH8R+cXgTQth7Tg6LcdhRDlsxDSdO3itOAssRCKpexPIf9p85eUc133JUkgD6A9I/I4nlSbAtLqH6R//pzDEit7z2L+J1wnYvKnKmLTFJlCORVaA/VI5D8IaO/PEf4h1JohyJly68L+rY3/2IbURBDq/cl1S/mPpBbapfSv3wxkx6ReX0/8rhPYwhTXwXYzkS7/y3o5h6MijFYNtfieqXUz9o+V30TH9mxMgECYwkk0UpFjsxPSRQjsBuHEXY4xhOQQbyHvcTEihAYM/n/ojKF1A+5DuM4VD75bXnkwW2CDBSV5rDcZxZt+3PY5xoeQ6hHhyuzGV5G8/gjBYbNFgrynE4ZQ0ooPxLf9y+w+gBy/7yBF77o0/9sccs/0XUP/G5v9S4REgVGZRgcBWVuEhRa0bpludw8/lvmePFPnN5Duwxl6Mgz+bL82hksDSDdz7/r6l7Ad0PY794y/3kfzv2Sofxs0u/PfXXYi+hBJEwryjH8fhcpiUab/w5e761JolSJLZiL5r6l9KffpIFCuKzsm2wwGJ1ZIctRHkeouUhCRQjsOuv95z6L64/RzVL6s74XVn1MbYvqwqSQxkOQccfYq6o/7L6Yy01WqEy6vO5j3LKY15FeAJqL55LEmVIhNyf+V/2SaAQgSvHdYwskcgqMEpXjgPXMbJCgusY2eDAdYxKqs9eWkn1uY5RWf25jpEVElzHqDwDrmNUVn2uY2SNBNcxKs2C8ezSBLiOUXkGXMeoFIHdmPN99z21X1x7lPoQI5LRtNBfPmfUtBiL8NQs51Qsr/438SiumbC0/uc+1X1M9xdUfW3VX3l93tx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byfTXl+ewon614jRN3HFt+kilPRo55r/vPIqNf+LY5k2TQn5HrkJAdQvQBLNH46D+dOUYy7TB54cKbwMJ2Lyp1ph4ACdkjlNWhf2aPT/DOjnwqPsSUkJA9Qi/jlY798UdsgwzyeeW+JBVzVAIFUrFGJbzxmV6aPS5fObyPOFyT7yS2R+id/3YUc0U21ths+zuQij0qQePvogf9MyNqpglhpgAZWWO0o9chGWtkduMozh7H1gyy+TqSOSEZQ2T2vCpHJGKISNAjjK2RiR0mfLLmaZBhhNMqn+M4kzNck3E0O3xCvTlcmfP01u8/cZz5ZJsSa5E9PqesMYaIvPTH7TuM3rCu2CHz2qtx6o89Zn0xReXEq3Kp8ZmQWrKxxOYqKnSRRgcY3bTD5+a6DjJ3kDECu3wYIbBHR9bikOc9ycYKm3f+vNfkYYjHYYwDbLmf/G/HnkAY77z021N/Pns5lkiFeWk5/snnpJ8CpTc+JXveSyAha4S2YtSAXKxxod9mmY741mx7LDNaHXFjC2SXk2h8SDLmyOz6Oz0nFzNcODptkQfjnjapYE6HrKZKPrb4BH1/iLklFxtcsCYkrZktKnI+iVgignk24UnC8ImErBEKqpz5X/ZJxhiZK8d11J4CoawOo5v2+HAdNeuEuI6abT5cR80iFfY+LVLhOmo2uXAdNeuEuI6aXTZcR80mFa6j9lQIcR01q4w4bmCVDNdRs8uG66hZI7MbFdl335OJGSaoJSGGJqOfIT5wzii0OUbh6XbOsbFD5Zt4b66dYoXLuc9NH/PzBWn8Jhp/9+eEcv0xtgd78ezw/MU/7lC91lRX1HxhzXtqvqjmrU/zTM0LaF5T80U172nPF9a883/UfFnN+9iGdtR8Qc3HmOqemi+seU/NF9V8Zp+oiOY1NV9Y85rlfHHNG2q+uOYtNV9cc/aJltW8ialuGG9ZVPOesdzFNR+o+eKas0+0tOZt9M7ZJ1pac/aJltecfaLlNWefaHnN2SdaXnOOhy6teUO/ZWHNp5jmmuNEi2vesZwvqLlEcmlbltW8p+ZFNG+o+eKat9S8gOYcs1hac/oty2s+UPPFNR+peQHN2Q9dXvOBmi+u+UjNF9d8puaLas7x0DKas0+0pOYDy3khzem3LK05584tq/nIuXOLax5G5/i8/7Kac45oKc3pKy6reU/NF9X8hU8/3h8Zcn5A7RfTPqgruh36bR6Zfs+RpOI0nrud+P82CRQiEDQ4i98P3Id4f3IoweGNV5kUSlPAKvThjQEHbKUX5PDWn3GxYo+Cr3RF/RfXX3zU/M5z0ZQkypAIq87yraYl1GdLUJrAtv/bou6L677j94Y3WLQ+JXxn0vL678bzD2K/OLwJIezl+xCW47CjHLZiGk6cvFecBJYjEFS9iOU/7D9z8o5qvuWoJAH0B6R/RhLLk2BbXEL1j/7TmWNEbnntX/gr7cbtXlTkTFtikihHIqtAf6gch+ANHfnjP8Q7kkQ5Ei9deF/Usb/7EduIghxeuS+pfjH1g9pUv5T64Y2Z9IrK6f+Vw3sYQ5r4LsZyJN75b0cx9WRQisG2vxLVL6d+0PK76Jn+zIiRCRIYSSaLUix2YnpIoByB3TiKsMcxnIIM5D3uJyRQgMCez/0RlS+gfMh3GMOh9strzycLbBFgpK40h+M4s27bn8c40fIcQj04XJnL8jaewRktNmiwVpTjcMoaUED5l/64fYfRA5b95Qm89kef+mOPWf6LqH/ic3+pcYmQKjIoweAqKnGRotaM0i3P4ebz3zLHi33m8hzYYy5HQZ7Nl+fRyGBpBu98/l9T9wK6H8Z+8Zb7yf927JUO42eXfnvqr8VeQgkiYV5RjuPxuUxLNN74c/Z8a00SpUhsxV409S+lP/0kCxTEZ2XbYIHF6sgOW4jyPETLQxIoRmDXX/E59V9cf45qltSd8buy6mNsX1YVJIcyHIKOP8RcUf9l9cdaarRCZdTncx/llMe8ivAE1F48lyTKkAi5P/O/7JNAIQJXjusYWSKRVWCUrhwHrmNkhQTXMbLBgesYlVSfvbSS6nMdo7L6cx0jKyS4jlF5BlzHqKz6XMfIGgmuY1SaBePZpQlwHaPyDLiOUSkCuzHn++57ar+49ij1IUYko2mhv3zOqGkxFuGpWc6pWF79b+JRXDNhaf3Pfar7mO4vqPraqr92b2MkYVV1XH07Xld8+mdOZqufqZIX8fh8l9s0as1NRRZGWPRkYYJF6/Myk4UhFjVZmGDRs70wwqLzf2Rhg0Uf2+6OLAywGGNuerIwwqInCxMsZvb1TLGoycIIi5r1wgyLhizMsGjJwgwL9vVssGhibhrGo0yw6BkzN8NiIAszLNjXs8Kijb0L9vWssGBfzw4L9vXssGBfzw4L9vXssOB4txUWDf0oIyymmJea43pmWHSsFwZYSMScNsoGi54sTLFoyMIMi5YsDLHgWJIVFvSj7LAYyMIMi5EsDLFgv9sOi4EszLAYycIMi5ksTLDgeLctFuzrWWAxsF4YY0E/ygoLzuG0wWLkHE4zLMIoK9cDscGCc5utsaBPa4NFTxYmWLzw+cL7SoMiB2RSnElQXfQ89Ns8I+E9R/7MUnruduL/2yRjjIycG74fuA/xDPKxxOeNP4d0rNLBWzDCm0kO6B0Y4PPWn3exYteC73ZFLma4iC8dVk3fc784vFGGhGwRCsfyrcSWqLClsUpm2/9tkYcZHjt+b3gzUOvP5Lvi7HDZjccdxDhAeFNN2Mv31ZTns6N8tuI1TtxxbPlJpjwZOea97j+LjH7h2+ZMkkF/Rq5DQnYI0QewROOj/3TmGMm0w+SFv99u3O5Fpc7UAyAhe4SyOvTP7PEJ3tmRT8WHmBISskfoZbzSsT/+iG2QQT6v3JekYo5KoEAq1qiENz7TS7PH5SuH9xGHa/KdxPYIvfPfjmKuyMYam+14F1KxRiVo/F30oH9mRM00IcwUICNrjHb0OiRjjcxuHMXZ49iaQTZfRzInJGOIzJ5X5YhEDBEJeoSxNTKxw4RP1jwNMoxwWuVzHGdyhmsyjmaHT6g3hytznt76/SeOM59sU2ItssfnlDXGEJGX/rh9h9Eb1hU7ZF57NU79scesL6aonHhVLjU+E1JLNpbYXEWFLtLoAKObdvjcXNdB5g4yRmCXDyME9ujIWhzyvCfZWGHzzp/3mjwM8TiMcYAt95P/7dgTCOOdl3576s9nL8cSqTAvLcc/+Zz0U6D0xqdkz3sJJGSN0FaMGpCLNS702yzTEd+abY9lRqsjbmyB7HISjQ9JxhyZXX/f5+RihgtHpy3yYNzTJhXM6ZDVVMnHFp+g7w8xt+RigwvWhKQ1s0VFzicRS0QwzyY8SRg+kZA1QkGVM//LPskYI3PluI7aUyCU1WF00x4frqNmnRDXUbPNh+uoWaTC3qdFKlxHzSYXrqNmnRDXUbPLhuuo2aTCddSeCiGuo2aVEccNrJLhOmp22XAdNWtkdqMi++57MjHDBLUkxNBk9DPEB84ZhTbHKDzdzjk2dqh8E+/NtVOscDn3ueljfr4gjd9E4+/+nFCuP8b2YC+eHZ6/+Mcdqtea6oqaL6x5T80X1bz1aZ6peQHNa2q+qOY97fnCmnf+j5ovq3kf29COmi+o+RhT3VPzhTXvqfmims/sExXRvKbmC2tes5wvrnlDzRfXvKXmi2vOPtGymjcx1Q3jLYtq3jOWu7jmAzVfXHP2iZbWvI3eOftES2vOPtHymrNPtLzm7BMtrzn7RMtrzvHQpTVv6LcsrPkU01xznGhxzTuW8wU1l0gubcuymvfUvIjmDTVfXPOWmhfQnGMWS2tOv2V5zQdqvrjmIzUvoDn7octrPlDzxTUfqfnims/UfFHNOR5aRnP2iZbUfGA5L6Q5/ZalNefcuWU1Hzl3bnHNw+gcn/dfVnPOES2lOX3FZTXvqfmimr/w6cf7I0POD6j9YtoHdUW3Q7/NI9PvOZJUnMZztxP/3yaBQgSCBmfx+4H7EO9PDiU4vPEqk0JpCliFPrwx4ICt9IIc3vozLlbsUfCVrqj/4vqLj5rfeS6akkQZEmHVWb7VtIT6bAlKE9j2f1vUfXHdd/ze8AaL1qeE70xaXv/deP5B7BeHNyGEvXwfwnIcdpTDVkzDiZP3ipPAcgSCqhex/If9Z07eUc23HJUkgP6A9M9IYnkSbItLqP7RfzpzjMgtr/0Lf93duN2LipxpS0wS5UhkFegPleMQvKEjf/yHeEeSKEfipQvvizr2dz9iG1GQwyv3JdUvpn5Qm+qXUj+8MZNeUTn9v3J4D2NIE9/FWI7EO//tKKaeDEox2I5Xo/ql1A9afhc9058ZMTJBAiPJZFGKxU5MDwmUI7AbRxH2OIZTkIG8x/2EBAoQ2PO5P6LyBZQP+Q5jONR+ee35ZIEtAozUleZwHGfWbfvzGCdankOoB4crc1nexjM4o8UGDdaKchxOWQMKKP/SH7fvMHrAsr88gdf+6FN/7DHLfxH1T3zuLzUuEVJFBiUYXEUlLlLUmlG65TncfP5b5nixz1yeA3vM5SjIs/nyPBoZLM3gnc//a+peQPfD2C/ecj/534690mH87NJvT/212EsoQSTMK8pxPD6XaYnGG3/Onm+tSaIUia3Yi6b+pfSnn2SBgvisbBsssFgd2WELUZ6HaHlIAsUI7PrrP6f+i+vPUc2SujN+V1Z9jO3LqoLkUIZD0PGHmCvqv6z+WEuNVqiM+nzuo5zymFcRnoDai+eSRBkSIfdn/pd9EihE4MpxHSNLJLIKjNKV48B1jKyQ4DpGNjhwHaOS6rOXVlJ9rmNUVn+uY2SFBNcxKs+A6xiVVZ/rGFkjwXWMSrNgPLs0Aa5jVJ4B1zEqRWA35nzffU/tF9cepT7EiGQ0LfSXzxk1LcYiPDXLORXLq/9NPIprJiyt/7lPdR/T/QVVX1v1//C/n99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aek09xPjvKZyte48Qdx5afZMqTkWPe6/6zyOgXvm3OJBn0Z+Q6JGSHEH0ASzQ++k9njpFMO0xe+Pvtxu1eVOpMPQASskcoq0P/zB6f4J0d+VR8iCkhIXuEXsYrHfvjj9gGGeTzyn1JKuaoBAqkYo1KeOMzvTR7XL5yeB9xuCbfSWyP0Dv/7Sjmimyssdl2fyMVg1SCxt9FD/pnRtRME8JMATKyxmhHr0My1sjsxlGcPY6tGWTzdSRzQjKGyOz56x+RiCEiQY8wtkYmdpjwyZqnQYYRTqt8juNMznBNxtHs8An15nBlztNbv//EceaTbUqsRfb4nLLGGCLy0h+37zB6w7pih8xrr8apP/aY9cUUlRN//UuNz4TUko0lNldRoYs0OsDoph0+N9d1kLmDjBHY5cMIgT06shaHPO9JNlbYvPPnvSYPQzwOYxxgy/3kfzv2BMJ456Xfnvrz2cuxRCrMS8vxTz4n/RQovfEp2fNeAglZI7QVowbkYo0L/TbLdMS3ZttjmdHqiBtbILucRONDkjFHZtff9zm5mOHC0WmLPBj3tEkFczpkNVXyscUn6PtDzC252OCCNSFpzWxRkfNJxBIRzLMJTxKGTyRkjVBQ5cz/sk8yxshcOa6j9hQIZXUY3bTHh+uoWSfEddRs8+E6ahapsPdpkQrXUbPJheuoWSfEddTssuE6ajapcB21p0KI66hZZcRxA6tkuI6aXTZcR80amd2oyL77nkzMMEEtCTE0Gf0M8YFzRqHNMQpPt3OOjR0q38R7c+0UK1zOfW76mJ8vSOM30fi73xfK9cfYHuzFs8PzF/+4Q/VaU11R84U176n5opq3Ps0zNS+geU3NF9W8pz1fWPPO/1HzZTXvYxvaUfMFNR9jqntqvrDmPTVfVPOZfaIimtfUfGHNa5bzxTVvqPnimrfUfHHN2SdaVvMmprphvGVRzXvGchfXfKDmi2vOPtHSmrfRO2efaGnN2SdaXnP2iZbXnH2i5TVnn2h5zTkeurTmDf2WhTWfYpprjhMtrnnHcr6g5hLJpW1ZVvOemhfRvKHmi2veUvMCmnPMYmnN6bcsr/lAzRfXfKTmBTRnP3R5zQdqvrjmIzVfXPOZmi+qOcdDy2jOPtGSmg8s54U0p9+ytOacO7es5iPnzi2ueRid4/P+y2rOOaKlNKevuKzmPTVfVPMXPv14f2TI+QG1X0z7oK7odui3eWT6PUeSitN47nbi/9skUIhA0OAsfj9wH+L9yaEEhzdeZVIoTQGr0Ic3BhywlV6Qw1t/xsWKPQq+0hX1X1x/8VHzO89FU5IoQyKsOsu3mpZQny1BaQLb/m+Lui+u+47fG95g0fqU8J1Jy+u/G88/iP3i8CaEsPecHBbjsKMctmIaTpy8V5wEliMQVL2I5T/sP3Pyjmq+5agkAfQHpH9GEsuTYFtcQvWP/tOZY0Ruee1f+Ovuxu1eVORMW2KSKEciq0B/qByH4A0d+eM/xDuSRDkSL114X9Sxv/sR24iCHF65L6l+MfWD2lS/lPrhjZn0isrp/5XDexhDmvguxnIk3vlvRzH1ZFCKwba/EtUvp37Q8rvomf7MiJEJEhhJJotSLHZiekigHIHdOIqwxzGcggzkPe4nJFCAwJ6/zhGVL6B8yHcYw6H2y2vPJwtsEWCkrjSH4zizbtufxzjR8hxCPThcmcvyNp7BGS02aLBWlONwyhpQQPmX/rh9h9EDlv3lCbz2R5/6Y49Z/ouof+Kvc6lxiZAqMijB4CoqcZGi1ozSLc/h5vPfMseLfebyHNhjLkdBns2X59HIYGkG73z+X1P3Arofxn7xlvvJ/3bslQ7jZ5d+e+qvxV5CCSJhXlGO4/G5TEs03vhz9nxrTRKlSGzFXjT1L6U//SQLFMRnZdtggcXqyA5biPI8RMtDEihGYNdf/zn1X1x/jmqW1J3xu7LqY2xfVhUkhzIcgo4/xFxR/2X1x1pqtEJl1OdzH+WUx7yK8ATUXjyXJMqQCLk/87/sk0AhAleO6xhZIpFVYJSuHAeuY2SFBNcxssGB6xiVVJ+9tJLqcx2jsvpzHSMrJLiOUXkGXMeorPpcx8gaCa5jVJoF49mlCXAdo/IMuI5RKQK7Mef77ntqv7j2KPUhRiSjaaG/fM6oaTEW4alZzqlYXv1v4lFcM2Fp/c99qvuY7i+o+r2qv4j6nbsw4+p5nHW1eYvETQK40+pVnjmZuX6mql7E4/Mdb5OpNWcVuRjk0pOLOS6tz9dMLka51ORijkvP9sUgl87/kYs9Ln1s9ztyMcZljDnrycUgl55czHGZ2a80y6UmF4NcatYXk1wacjHJpSUXk1zYr7THpYk5axgfM8elZ5zfJJeBXExyYb/SIpc29l7Yr7TIhf1Km1zYr7TJhf1Km1zYr7TJheP7Frk09McMcplivmqOV5rk0rG+GOMiUX7aMXtcenIxy6UhF5NcWnIxyoXjYha50B+zyWUgF5NcRnIxyoX9fZtcBnIxyWUkF5NcZnIxx4Xj+3a5sF9pjcvA+mKYC/0xi1w4D9Yel5HzYE1yCSPJXB/GHhfOG7fMhX6yPS49uZjj8sLnEe/EDeockI8pPoGAaHvot3k2xnuOaD4JYs/dTvx/m5QMU5Jzw/cD9yGeQVZWWb3x55DUUyCFt7SEN+cc0LMwxuqtv9LFiu0LPuAVGZlkJP55WO1/z/3i8CYk0rJLKxzLN2tbJcSW6SlQ2vZ/W2Rjks2O3xvegNX6M/lORJuMduNxBzH+EN7OFPbyHU22WO0oq62YzhN3HL0GUrJFSY55r/vPIq9f+OZF85TQX5LrkJZNWvQfrJL56D+dOUZZbfJ54e+zG7d7UbUz9R5IyzatrBT9PNusgpd35K/1IV6PtGzTeunPPPDX+qdnxjbLNqtX7ksSMk0oECEhy4TCW9fp7dlm9JXD+8FDuvmOcNu03vlvRzGH5GSZ07a/AwnZJhT0/i565T8zwvdkaGFmBHlZ5rUT00xKtintxlGoPY4TGuf0daR0QkpGKe35Ox+RjlE6QZswTkg+NvnwyaanR4nR16fA6jjOgN325zGuZ5NVqE+HK/PA3sa0cDbY0yHG2mWb1SlrklE6L/1x+w6jT6xDNim99sqc+mOPWY/MEgp3vtQYUUg5OVnldBXVukgjGoy82mR1cw0PmWfJ2MTTYMXIhG1SsgaLPJ9LThY5vfPnvSYbo2wOY/xhy/3kfzv2NMI47qXfnvrz2YuySi3M28uxWT7v/tSIvfHX2/MeBmlZprUVoxVkZJkR/b+nQkr8dbZVT4XX6ughW6ynwUz0PiQl05R2/f2ek5FJRhyBt86GMVn7hDCfRVbyJSu7rM7ivX8gI5OMsO4oLZ5dQgeOz6ZZpoP5RuFpz/CJtCzTCgqd+V/2SckwpSvHdfieGq2sFCOvtllxHb6nRIvr8D0dVlyHzzoh9nStE+I6fPYZcR2+p0SL6/A9DU5ch88+Ia7D9xRpcR2+p8CLYx1PgRLX4XsanLgOn2VKu1Gdffc9+Zjkg9oTYnoyqhviEueMlpvmFVYs4Fwjm4S+iVfg+jkWGZ37nPUxb18YIvNX92ffPh74/Jy7f/PfrlKuw/faHzn5FF/HT4O/V/jUutmN+mnyf/Jr5X+XfaP/XT71/p98av0R8imoIJ8qvUrjt7V+mvTcZuW+nZ7bpBTU/tOgnyo9Llyt109DPCOUpEa3+N7rdojbOp7baErCNty9i5+uY56muH+K54d01LptdIv9vW6HuG31e6vX66IO4X/8Pup9Wt0Ouh31eDmv13R0ur/X+7YxXeH4Tre9/l7rFtdtVLlW9Wpu6IW71qo0zuuUaruScvDr9VOn1Lqok6gJik26W60pr1XhSVNaJYVDToNOk27xe6vbQfeP+r3Rba/7W93iuE5/x7bW/bOmelJt65WyNKZPvX7q9FOjKZOSNqsWteo26ZUq3dapBlR6TpvKaZ00rbX0Ven8VtNWp7tWeo82/dakWoBaFQhC3UFzixrVpjzNKS29atJqzkG1i0fJFkdUUbVR6UxKZ1K1J1V/SvQa/Y5tpftrvQ7OH3Rb63bU4yr9jnqK8ot0QSnwaTR/nZ4j9mlwsEUgMae81qoDciFscFyb6DTJeuXyPK6UhtbBPuG+qC3NilUaV0pNp7QmTXMo02JXOrVPnea7U/vUaQnptWZ1WnvELkxae0bl0mipn7QmT1rvJy0zk9qHSevlpDpOyn1SOzRpOZq0tk7KYdJaOGn5mlSjScvJpDQmLVmT8po075PW1klrzqSletLaXCcF6lQrRC9cJdsn3D/bp1HvCPs0JOJjynWlaoJnq2WhUcVGtS+N2p9RS/CoJXxUnqNec9QyNGqJHrUmjloDRq0hYW+rWxzX6e/Y1rof9mnWM1By6/RbrXep9Ti0ojiuThRr1W3SK1W6zfapS9eBdUBb0Sa9unR+tk9onSstAdl2gUmjlITgrFcYNLewT12qyXNKS6+8a5ftE1KA63R6hOSo1/2DHjeodoOqPyR6jX7HttL9tV4H5w+6rXU76nGVfkc9RflFupBO5KpNZXZKuRlSGZ0TPVjnLpV7WEdpa+FnoR1pk+Vr9e5in2CVwLhZuW+XWuMhaT2mUoPyU6X7VqpDo2WiUTvSqB1B+4561GiaGrULvV69V50brcm9lqReOfZaLnqtfb3q2Gs56TU3verap+tM6T69bifdhv2DWoxB89ar3oPao15V77VW9lqvBrV3g9qrPtWTJtUT+JKiV6NHoQ708bwh+VitlvNe7YQwhcc8JjUaVTP7T6hLteZUSnKTct4nhWv9LjnqVLle79urMl06r9PtqPt73eK4QX/HttUtyjOYrJalNn2qk13JpRQWptYzJ73mpGkeUl7QLufSiXa5VqskNWvS0jbpeb2DfYJ9AcEp/ZZ90j71E5CSQa/UpxrVpZxkOwxNcsvfpvIDTXCE5KjV/Z3mtNVUtUl9/N7pfmwb3d/qd5w/6Rb7Zz0O90O9hcK1pg9Ko/2Al9OlktmpCnXyvuvkT9cr/nKbNG2T8m2qH20qxW1qG5rUbjXJQjYr9+1T3RoS7SmVLvQrq9QOVZof9Adh1xpND/ywZuW4Ubch17PWnjn1XMTuzFqSZ633s9qHWdM/q52Z9Xqzcp/VDs2a/nnlPr1uJ93K/knPmzQdY9qP+1Z6/KDbUX9vdYvrZvuULQbs+axXQ3+hW7l/tk+zphj2KXvROdeNqpn9J/htjaaoU/s06/XapHCt3yVHjV6z1Ry0qkyTzut0O+r+Xrc4btDfsW11m+1Tr3dGCUJ5rZPnXyd71iZ7LntFi1a3lV4Jecn2CX5+l6wD+mdtajVRGuDr5J52o3VjXrFd2SeFFapW8jJpLrN9gk84p7QgvUOqs10qR7VeZ9AjJEe17m/0OChQJ/Xxe6f7sW10f6vfcf6kW+yf9Tjcb1BlkPta0welYZ/apDW2OU8oy9AN1us6pn/Uba9blOZJvze6rXSLcoPz5HogDDsEa4WWaUjbTre9bnFcpd9H3YoHIukYkqUWT2RIv4/6Xe4zqEUa1CINqtyg1x20Tg6ajkHTMWi+BrUQQ/JMxnTepFvZP6V0DHp8o1vcf9bjcN3st6J9QBmXfMLDHfT8QXXAfcABXm+v+yfVr1bdK93Wet1edZPvTdJz1O+DblvdX+u20/29fq902+p+XA/HNfp7o99n3cKvQT4rTe+o2163KJezpn9S3WbdDnp9pH9WPXB8r1uUn1q3k943RzjkuEb1w36Ud5RflL9O74d0zrqF7ihHaCFGPQ9blAtJR6X7a81PrTrWqmuduFT6vdLzJv0Ozxznd/p91u+9bnE86l2r6UC6Bt22ml/oDwU7rWNSZnNPLPuOsDTZVx8S7aw32r7WIebQJPWaZI2blfvmuANSkLnWKWZXpXMrLf3NSsvb6bbXrViPSf2XUf0b0KxSD6JSMtkPr1KZrFItrpJdrFyOLqLsVEnVKtnJKuWqSja5Sla5Su1xlSx3lcpc5fqVq0zpU47e55QO6dwmfcrpm9MZ+W65FcWnOqVgTvfN/u+wokHuo+UUgHb2jseU5s5hfCB7RvB5m3RXsTltimNVrlqhM6Z9Q/rUpl/r9KlLv/ZpX5U+tenXfI98RpOOa9K+OX1COc3lD30t2C35BD+jT5ogLbWWMiEwp09Dum/OL9qF1VgWvLI8NiT2u1nROo9S5FGNOmmR25/ci85k55WrdCkl6ImgJNepfNQrJSq3cF3a16yUo1wuxfeZ1HcSNWdtqWY3q88zrxCvdE+lZ076HV46rtDp91m/97rF8bASbUpLTl9mCpWzLzUl1XLfG1ohui/2Mo/3oV3oE6t2hRpqUJUs4phoIdbVrNw3j7MMKX3ZSubSnMsB+ni15rpW21in/egDY1Rq1K2MJQgXjBugH9rrcb2W1V7P77Xc9Uq6d4hi1NqXR4SmTr+3eh/ZjxhUpX3yRs9r9L5N2j/p+Z0eX+kW9x91i3xA4TZ9yjV9TEflVqjT89H2IepQrzDNfT/kBmrm2BT68hiVmbWuSsnv3JgU7vV7p9tat7P+3uj3VreT7pfjBj1uTMdV+nul33E/tOFzOgJWK4/E5dhCjofOqaTVSe1Rt51eCXlBDcgxrjzGlq1aLm3IC+pQne6KklCl32D3mpU2F7mcNffwaJpkYWs3p7Qg3od6l8eg57RFDiVHve4fNKe9qj0k9fH7pL9jO+h+jEl3+r3R76N+b3WL41EfkXukq9Mt8tKkPOTo3ZDKMco4xn5F2+z15nGg3IOc06ccQ4RVGldKA/y5fF/4So3LsbMppTS3xbBtlUOktlf71Kud6dU+9Q59YIxKjbqVERVJz+QQ05r1u9TkKVl9tB6Vti+iy6Q6Tsp90jI+aTmaVLVJa+GktXBKsaVKW5dKW58q7Z/0/E6Pr3SL+4+6RT5glXJ9yx4LUjm6bJ+Qr2yfcEdQy5GNMakCNbMHli1Vo/doVUlRsE8K9/q9022t21l/b/R7q9tJ98txGI3t03GV/l7pd9wv26dOj8heVZM+5XF65BeeYK2twqR2aNJyPmntmlZ6KrCGuU9ep7a/VTverOQl26DsL9d6j/wbakH21+ekbqNXgn3KUZw8Htan0pbtE8pJr1uUJ8lRq/s7zSmO75L6+H3S37EddD/GpDv93uj3Ub+3usXxqI+tpgPp6nSb7X4eYc69iNwfhw80rdgseEioFa3LEch2hQ7KfpXqzOiy15R9Kty3S6oPKX0gUaX2rUpeWJV+xbgGrB5YoUahvwgPQq4FrwH9YIwzYiwA8WP0l1otYZgT02pJgH1GH7vVWoM5GRjZR18MerVamzGGjfYYMVmM/8N6IMKNeoF+R7tileAP1yv9BNwlxxl7vS6UbLVE5RG9NvWMupTbPBMtWyW09eiZd1onMbumSQrju9yn1pw0mgPM0mlUgUav1+hxtR7X6HG1KtKkba/bHCuZ9Mo5ptylT7BUea5G7i9Vemav14RabcpLHjOC99Im64BecOvqVAqREtSheoXSrPfAb8hB43IcA+Wj09zndiHfd0pp6VXr7AFD/U63bcqhXLfS/bXmtFK1q6Q+fkf8BdtO9yMqALqVfu/1e61b3G9SZZBSpA9KIy9NykOOguVxhjw2DY8Ls/DEZqF09y57TTnmmeewwSqNK6UBPlW+L9qCxuW5dbmFypEO+G2Vw1gd7EurNahV/wmRc9jrNh0vczGk9owO/UNJ1ag1edR6PzrMbun0PLEzY7qOcB81B6Peb9TaOmotHLUWjlq+RuUyajkZ1W6NWrJG5TWqlqPW1lFrzqilenR5vLpLuuYYEeYXNS7bp0HPz/Zp0JSBGiIi6JONLs88y/ZpTp8qvUetSkrOqqQwvktMGLN0Ks0BZulUqkCl6UFsd9bjpEQODrNoqrTtdZtj6Y1eOc+zy5/ynCbkF1a31tIwaikatXSNWrvGZHfQvtQux9Zrh94vbDD63GOyXJijKJRQMrJ9Qi3oVwgOqm6lVwKBHA+b06c+XTPbJ5STVs+f9AiJoEsdHFSzQb2RwU1Jffw+6H5sO92PkSHQrfR7r99r3eJ+kyrTajpaTR+UznY/98KuVWXR4lp9rmuHGdLSF0XLc73C6XqlRZBvGPO/Ti0jFM32HpYKSqNFQMlBWwc7dq265bnl6MHkuJ9sc/Qa7c918r7kf/hZ1w7jrfI/RtDhs12ntifbyWuHsViMyF67HFlHT0Wufe2k533tchwEcbQ8U/XawR+Qfj1mcl0nm4C5FNcr1lmYiyIYKbx2mFcHS3jthlSKrh3GMjHidu0wv67WknPt8vwDzFWEj4Q6hVp+vWLZrx3mAWC25bXLM2/hZ8HPhT+La2KO67WD/3Xt8jxxePnwoa4d5nzCYl6vlBwZ30bfBn0NzKa9dpi/jllV1w4ztjD36TpFYBD1ul6JuVw7zM3HPK1rhzlcOXp9naIFUo+EZhuf8rj5ZEfY8zE+YXzXUx+1g8crI5ObTua+SGnfcNL7l3kCoeRuOunZIIY3aDxCZixtOuktSJuLVkN6+jLbcYzH9NqLyxERGW+eYwpgwSRiKnGWTSdxUon6YxZvq610FY8QX7TS/myendRoP7z3x8i83Uq9tT7mEWNnXcyBjFjLODPGqqSNFku6qW1xoz3bOV4jKNOpjyKzsiXK1GiqtvwxlUNUf9SjNp3MfJw0jau2ZtZ2XYjMDrPqpTXu434ZBR5SnxezqBAF3dRWR+Jc4Rp4dmRS67jpMPNN/KZADN5ppR6FpEDGCzGT8jqmTI4ST7hLx8OnkzGlTTepjy5jFJKX1fEBmX0l7Cf1R7NPKqNQ0idu4j1lLg0sh8ydCvne1BRK5AD+II6V8bRN12hepfeFGK5YC6nRkq9WW2pEjMTPa2MJaRzmpmHOrZBotNctqRRfA+MJ4sFIfFlqkkT8xYuCJZu1pMrMMdFOoqNSH2XGssTcNtWDEk8YM7s2nMy6bzUdbToTMdCgQqXtuqSgdojXyuxkod7rfTGi1SkbmRUsR0hvEZ6b2AFJk4yXbDqJG2Lu5oaTOLXUgD6WokE9Q8zllFT06klUUYdGy460VOJTNdpXlPzIsyC91sdZLVOld5CoY+Py0x4Sz5DcScnC3A95AmfSs1q1LY1+w+yMWS2dlNBNl+MVEjGTOF8VFZA7YqxH5sDN0RZ2Wntz7FBKukRD2lg/xVYMDjHSKdWITSdz9qVm4RkPieyKtRQ7IbP20DMRGypRAZm3t6n1D1HWQVsDmXU3azpnvVubauagqZ8jIYlvIBIis+hklKCNV5DyLzP9ME4kT5AMqpNY7jqRnlVlpALzIuQ46c22yWpI7KFLNgzP+MhTKY1aMnga4kfLTLkuliCZPYc5tlIKhfOg9U3qImZtSCmetcS32rpMyQZfu9vWWM6flFjrMONdrtGrNZY+ch6VbdWqVaqTjLBMyRNotbWV2aqbDnPXZW546/AcjjyVM2mNGzR3Ui+vtSVsk03adDJ3Sp6NQB9N2iSpz00kgnkvmHNcOTy/iB7SppbqyqFXJCPbndoiGXuZtdXEPK02tbCD1s1GqY0xtY3Wf5kTsan1UGarY0yu07rcrxAWC5xjL5OWa2kboCOeIJBrjtrKSH0cNL1DajtaVWrTybwmKdM5atVr69ConZFYdZ5pJE8btTGVk95pdBjvh42R8YJNtWsy7pOf5Ji1ZrV6jMRd85M8k+ZB2NbauuU5SBtOIi1tTKPUU5RU9CcmbT/EJo9qJyuHOVUbrk75aNRajtriIb6y4WQuMErPqD6KtLjSv9hw4gtKCZ3UPg1agsQz3nAyN1BGjTc1t62y6x1Ggm4fUWnrMjlEQyRSWyu9UWvwrKoIb2ldxEqN6gFizuWs5axX77ZJ3mWeBS/2SeZINPFeMhqPJ4t7bd8mvYvUnkFbKcyEG7SUderBVLrN45nyHGSbLG4+Cv26Xi3zoBZLShcig1J7q+S7jKoBPPxO7VSVSuy4Ql5iXKP6wk2ynJNeeUPLcKWt06bWAukhDElxlHCxZxJhECvU6TEyF0EiQJ2WZ5lri7nKo1oD8d2rmOZalcDTj53WoEm9mVl9jhzrrLTcyW+ttvPi70gplGeQZJ7kppKQGiOeAGpUpT6M9CereKVJW1n8DS4/VTcqA7H+my7HVaWsdOmsTfXaMN43qteHut4qCbF5mGVbaa4GJSrj+PkZpUm167WObmo5z/MMer0L+kWYPb6h5ULiYp22fINDbFH85z55J63WrfxMi1jQUdv/TYe43qzlUSLV4ie0rk7qyPNis+rbaxkRFQf1gWaHkW2ZTyLebq3Wu1X7glhxrcTkCptaCmTuFKL0o5Z8eapW/PrOYeastOSTenzSa+q0Rc5PLjSakl59ukbPz6VMvMRGLafEWCf1JhChqNWioj+U263G4ak7Kat1qsOT2kXE/uBndGqhZaQHURQZkazVZxo0pzIijnG+0eGpH7F0rVootAAgMWirPTiMVmIW8YZau1b9LsxhqrVVmrWfI/0eyanMm5IcIKaJWVpj8sQn7Z1UDk/N/h4xhOxXyZMfs8Ooa6N+QK12alLtRocxuMfjAegrN2ptR61Pcv/c95cew6yWqFH7LXaojWq02qaLnRFPAr3A7CfAOsh8jk3Xa10VTdfrW6HNGVKZblW1/Gxsoz4IogzShmLe64ba7MphroPcRWpFo9apSdZsUosza4mRVGUrLk90SN3Y1LKFWfkbyV5UWlOlLk6qM+K5s3oyvXokiEdhZQQwbjTVjV5doljDSo4kvgrr0DpEJzCvt1ULISqK1ylPjcF3XcfCIRaOHiPs/KDtMmazSHuCXnCt18H4D54DntTSiQWTmf94/kNKjNjrUX1c+EGtWrBarSx4DupD5KeNu9RGwqqL34rnN2WsdtJWqlatpcVD/3lSmy2Rpi6WPTzNIHVO6nuvfhbilZif9Fg8adQWU9pzxCVn9bPQN5HRx059nNrlWBDWSYFXKfMWNvWq0rrmOW6DWqRWy/Sgtqt1iOQ1eo1aa/2gpQIzlh6OW0nb22m+W+2rdQ6j0dWK51Y7RHs7LedV8saEjFgNudegqZAjpK5K7148U9jBPA9MfHOpQ5VqjOuLfZeaPal9kJhx7ntV6fhGlepTOzU7jEd3WvPkuEFz0cTjpFWSyC3GuHvVFF4rfCzQy3NaK62hlZasKXkr93lD9/tQct6gdXnUVq7XtgSzqeF/rqYN5Qotj1iJ2SGKdxdHzMKRtmJys95r+OR4xMtnbX1F9exN3WQkJUmu2uh+rKIgUbBNh0hSrxZycIhF3PSpZRwCFkJS2KmdmbXejWrnpO3b1FrYaxs1aFm+VuvZaHu5+oceEpSq1Ieq1KZJHwtzC+SeldYWmTGO8QvM5lnvbyO2peLnikUQi9xrOz+vjCB8+tckKzdpmzarpZQezZZSu+vcQb0eKeESAZQ5WEL2oftuaM9kdjnKIVamUc1Xz5Yee6vtongfrXpoaEfh6TQOT/ghh31qUzYd1vF4vE/ca/uIlm3W1nlymDfy+X8bTiIAEmGTuGSTPLVVKnelefWvVcvSJ48lq1G5/o57t1qPxP/vtX2VvuBdx9/8u10C7s/J3X+P373XNlW85Vm9ihwLfKgkrqYLs8jv+xPb3mscRfoG0qPCcxiIrkjfFfNosTpLrXWm0folZRjzqMUiSQuX1RDPvlMPE6NoaEvFYvTqGW+qjzUka4D2ZNJ2XsrspL6/PKvX6n0mtUZ9SmXnMNaCVZ6yly/WFzFgRGfQ58AM6lH9FESXZv2lSn7yzRLSq8fTp/4Gnk+VSGStPnudarf0wDAetan3EN8A43lzarU3HVZV2NB+3qTe5GZq11ef34PXLGtQbaqOs8Nsx1p7poh9SU9A/Ij6k/xtqI9WO4xczFpWqlSS5Rli+EV5/YzWYQyjV28G9rbRa8u4GeJNm1rzNxzms0vLh1UkNpzMu560VIxaM8XDlPLbaCsmXgZG+jA/b1ixILJf+sCDtkiybtLNCNqoaam1FR91z+r17xpJxDMvEgFptA8vucd6FyhBs0P8FmP94U+imrXDfAK51qA9ijzPYta7YpxO0tpqqyD9rUq1Fx9PvGw8kzw7RL1HtVvo1eB5oPVGoKTO3hyBqpO/DpawiphPjliztDbibXRqaaUP3Gp9qR1GOFctHEZj4clIDL5RjySP2E5qkW+O8oj1GpLmEsfBvAGM8klrOSkFqVky9jVpKzRrjyD3XvBMRKUWRuiO2vZL7Fa0bbUkjeoNSy2fXX6GHDlo1fuetO4hviDRS4xbyEhzfvpP7i59aoz9iZ3HCgSDy2NMrVqu/Gww2qdBbTHGgjBT/lr9WEmflKBe7Q1mAg3q03eqK0bUMftZ4iaNtvHw1SWmiCfvJGIjPSPx/2XUe7U2SOskUdhWPULMUbjZcsJiDWqDMXNH/H/MARErXWtvpE72RNrGKtm1UXuQmL0v5b1S+12rx445jrVet3eIWkxqJeExT+rbSn9oU1tGSTHWmJR0tarHoCVE+hJtqh2r8yCqG79U6j3LKEuT2hE8WYXWEhEOjIJUes1Oj7k9CoK8ycinjGJJ7ArPlEpMstY6IWu+9Q4zYaSlk3RILwJ3lh7F7NC7khYFPoRY61Z7WNIWiO2btU/U67Xr1PPBuK60OY1DPxjHdFrPJK7WqYXvtMQj9or5j10qQ5vqO00uP3H86+ZCdOpziUXrU+rQSmHNDolhbjr0i8VjnbWMtW7T4QmlXts7sbCb2hZILA99EIn1Sw1r9KqIQY+pDGFWf6c9lbxaSuUwg0MiWVUqWfl5AunVwC8U/wKzWCV+mCNDndoXrHvX6dXb9Ls884i1BXK/QcY+ENPDM6DiaXd6fazWlNsUiZrlGFG18oennWVmTqethbSOtcNaWpPDmhdSGuRuYhMmh7WNW4cxTplhInayT+nHXITa5fkpnVpsaYEwYjBryyAxeYwRSTRFRr/GFY8Zlki8r1nbPUQSEUHDbBx42eKPSp8QZb9zWNWzc4hpTGrjQUiY1trmYJy6Ui8Sz0vVaoVmzavE33uHta0mpd6pn3DTD9hINhzcZm2HxWpivFzKKCKek4P3jzmqQ/ISpQVEZENqIJ7EEh+p0dYO/SewxwymyiH6WWlty0/pNqm9aLSWSF829yDGVK+lBKF9wPyANqUTkTCMYs7aask8lc5hdij61UJYWoVGey2NwyyQIdWBPBYnHoKMYmHV4Q2H8bkmlgqZKyitZLYkUjalBzBqKUfUfkgpx7MYmK+FWWeNwxq5iI2PLke7kDOh2qSS8Fj/e0NbU5lPMmiJET8Ma0VI5B9WrNHWc9QamK3FqNYCs1YwslA5rIaKMSnM0kKbuP5cNYzryupK6FW3WkY7hxXPZc5ro3lqlBfmnz82V018Z+nFNZpGaefEH5LedeUw03DUEoQ5StcO88Tz8yuj1uncHjdaw/BsvaR8Sv77sFI+pP+ZRzHyHEyJmEvvSEon5jng6UqM0YvnNGr7h5FBrI3aq19WOUSbMdqGNcLm5BmjjyP+9ezWmZWGWdJN8oZkDVhED0WzzeSlDA4RzWzVpLeB3iXmM7UOTwr36gk1KZ/oJWNervhEsH0yFjOpj5mfEpGYQeMqTWevXLE+CCK6s9b2Tv2+1SeBK7VyGDms9b6z1hhpNTG3L/vxncPIeav1GW22+JFCCiubYKZLo+UYtgzPusE3lPyJ79NpXcZK44/NR5OVXVqtBVIy4engSYg6pap1eS7P6PD8icTApAcu7bxY587lVRar1IepUu2ftDXFGofoC2NujvSU8CTmhsP83DGVEGn5OodVFDYcnpCa1fPMs9awGuHSs9Iwf6XXcoDoEmJl0qLPWpdlJoaMIdQur/Yyq28qfkWneZd8iYcjo0Kza1Y8g0l9ofz8HmYwd1oCK21f0F9r1EtGmy82K48OZ39n9U5SAmuH52NlRF4I9NpPwupfGPUWDxHjA1J3J20bMVL++LMYYkUnrY2YByCRdqmLDz2ZUKsFkD6FWEHxAfBc7ePPLoh3P2qrJpHuShXA839SZqT129QzMTaFeGmrRAe19rgubBpKN7RA9EF4YWW5DW2nKvU0MCt/SpYNlrhX7hK9vDkquOGwptnoMBNBat7ksIZrttxD6gNVqkDnMANLeqt9Yis9sUFtKp61fIp/q2MSjZabTfUZYXnFY5y0ncOqmfkPq4E1qlyXON81WvHwH0YKe/XuNhMtRKLX+dtwj0e0Jfe3Y9Q3r/Jbxi9Xr/N43FTyPjrMdMJMGUQTa4cxZInxY7wA9rBXfxOxIJTS5kbqNpw8iSGe4aAtEEbAW7XYs/oU6JGhxXk8gvq4Dg9Hij7v73Ou9ltGk2+WiMeiJb3DKESl/h1iPJ3DHPNK65JEmOQ7nggYteyvkpS5nJV6pWK/8TQjejQSQd90GEXsHHqfKOtSBqUN3lRfWjwo6bWJT9E5zLCR+RKYnwWb+ng05bEysNoT3lB7MiVfFPE+6dHebzFu96hX/9bp60qNe7wnm/9+y6yCVQXW6Un16t2LvcCMMymBQgOzSDFjdHRY4R3z1qXN3HSIXQ0OcWpYAswkmV1+kmRweOIao5itw2xJKX9Y70lmbOH5llX2KEnSi630rPZGP2fDjeo5YSyocXiCB/0YzDN6qDf00N/neGmj/vXay5g076BwP8/173L7zHV8qvD3uDd087rrz2DBU8Di+2FmlYzK5qf3am0F8tgynijCc2kbrlGvT3htahmFz5TX3Rq01W219MKPbT/RBxFGrPoHzy3HLlutTxi5xFgCxgla7X1I72/TYUX+WtsIzNKd1P40Dis1bTg8M9FqfqS3M6g+ed2zRnuBmw5zbPNz4uhjixUV+4JZupi/vM4xubzIHNxeW+pGvfn20V8xU6lR+4UnZYQYVodb5xi0OYN6h5W2J1hz5uFfseaP9GPE+mxqHcCKJ48fIdYYbX2t6t9fR1dtuJQ3jEZuOqxFMjk8Hb3psNbdoG1QpzUDkbONB66zceeVNu651oZ7fMbrQ8/1flrzb9YZzFee1KLIuHheXXJKWkv9kHk1t/0geQYh1wU8LyMea37q6tMaPKjll2NmPX50WEmo1hrTp77xrLZFfG6sITVoSyitNerdp/Ze7jqp9UKUF+ucSI9aajvWZYCPNDrMhZdREvHQZ/WT8VY46ZvKOEynUaLp3r33txmPzS1f7xjEgKvUe8UzyXlF4VmtKyLr8NfwrGajLa6UOUTg0I/Odufh+2yscaeNR++14R6fDQ/KWJFS4q0SC8BM39VVWfPKADKCI1EqrI8r9rJTC9+q3cU7uOBHVuoP4OkXKYESaZa5ebNrXXejRG6k6ID47Vhj+b79UgZlzB4zCeQTRrjbtY749A8rUOO9fnherde2S6wRZrFhVQ5p63ot0ZJnaWkRscJM91FrGdrL26nYUL+oVx8Oqxh2SW3EA/FUQV7jB7OdOi1p0lYPLs99RJQaTw2KRzE7xCFa9Rgxy29IPg5Wid1wWCVLPDmx0XjOB28nkLdAyHharx6IlMzcJm04icm26o10ag16hzla0hJg5letbQVme+DdNY16TvJUtUSBJc6JFeo31HfCjExpU6SHi3F1mWEjcUSJQGxqGcDsAkSRJQ/CEU+gzskjGLSNkFZKnsyc1VuuU9v28DN2G9qijQ6j9cK119KL+ZDSvx615udVusQK1lpWK60FWEUG8xoww2B41BfYSGVKrIeMQGH+dZ+88E2HdZzl995h9miX2jKsIoyn8mWFgk21YqPD+v6rf1AVz3ahjfq05mCtiNGtznNrtS5ifBDv3pJSO6n1XY1x3q8Eanqb6LRqIfCmBYyRycgrZn3VDs/8iv3If5PW0vxU16A9lcblsYVebcLtfNd6b4nRNOoVYz1paR9Gl+cNIWaRVweTOWt4Rh5PVyLOe/e1N9a4+saD18dTJA89lXeX/lhfstU6I2MwjfYnMTOzdeiVbTqsxykjJpPWiNFh3qL0h27qKvNiZMxZbCDWaMFMZonNYF0GjBtfq90QC3bzr3ZYOfnudLR3pAPjSZXDHJDrFYuC9lquhyfCET2Tuaijy2O8g8Nboepk9cWf3NQjZWxfWnN4vKP2tWSeVOWwzuCoNQH2Z1AlsN746DDGLqPQYg3EK/u0HN+s73c/Pf94RPzuP5lngzGUPFKNldM/vf/d65Gt/sms0bwusFjvST2NWfOKOeMytid2oNJ2AeO8lcNqBYO2ho2WJsxImd2nsZv7/aKHvKYN9/jz2+IxPt7urtOm3t9ejsnKPH6nddrvh1vnUevs421vpXQxD75yGDOWNlcIy+yBTls8zP/6tCTJjDaxQI3DPMJJPbL8LHyjVh4RyE7b/E97bRsO88nwBDueN8Y6nfDQJK35yYBGfcbbUWdRScbvMfKT57e3LkclMLqT39CIZ+1bh3mOlcuzuFdbKfAT/VvtWWOdTzyXgBFmeHaz2h6sdbp6xV7/Bo1nIFV5TZ8mnSmjDHiH6qyek8SzRtUTsXXMa0L7jCcHJHerduuutRbP3YXfc+H3nKc1Fq9/9T+xQe1ae//If3/sHfPVH7/P8nm3/O/z1Pj12q1bDpdKz+9Ten5rah/as/5vd+1/Op/+2Bz817n6Q98eK8HlKZcsXb9Ogd+q2x+hu12WFtX69bWr/KeS6VmnfXzMzqzbxn5u7f2c9ns96p/Xjn9u6n99rn6b5frtvs36ftbvUfd+f66/lumv99g+r658Xu36PevuEnR/jb6/tr5+rk3/dbbt80rOr7cfv9+9fuu/dcvFH1+q+Ymf+OmP+fRrW9Rf3y6Uz/Pn6PB0Pq1nd/8rafRHl93f5gfZYP5f5dN/xbL7eb7s5/mr5XP4uam3VmL+u1vW+718lksbrJcpl5/fv/utV1+/t/x5Zffz9titnevXsd9H0c+jaKdG/jEl9vcrV8tbm8+x6et4KL+W/WO17Y9V7I8oseuq8ZjN+2MsrU3drNZy67p9Tp39o/LyW0mWrIPL293/vp/+CB1+7/KyVKrW9RU+p539o8r5H+OJ/f6Wb+nr/NayE+b8fjrH96/uo/8U9n4bf9lzW+7M//3o/4Xff91zC/zjH//4xz/+8Y9//OMf//74v+DjP+zPhyNexSP+lp7/C3tl37/HXsG+P/bYnfrvx/68E3068Nj9v3isrPckvQnsC72IPX9G+PS93/OveK/n/kr7/gqX/hoX7k+u1rUGKvcXn9a7f+3v/RVPVT/0a33Pr50+V373r/ODqZr12ef7fq0fPLd58Nf2wV/vT7M8Wd/ck1+sYHzfuQ/lt1W+9/96f45a5XD/r/fnSJ4Nvv/X5gEKsoJSd8+vovJ952IV84d+bR78tX3k17sZya/3pxmr4N//6/jIr8ODv44P/jrf++v9ZQO/3pdfrCtx969Ybf/uXx8qsfj17vu+cP/p3rvX/lvYG2zjXUe99se999bv2B367XO3E//fXuPYF37/Wfx+4D743x8/4437+pHj30Zb/HiqcdxX7p/+mPDppd/z8LE7fu+V37Y+1d8+eORubB8OohLnMV504f+/64yv/eeLeNx+bDve+zbnF98arHfs1/4+vyQlHz7n7hTj9xe+FduN29DyHcRW7MRrs945lzE6FtR+OJc4I+TxyN/hg//3mDI456VP04E//p/+zLvZ3z7jlftyreNCGVvnuDf++3qKfOXT+UPM255P9b/WOued/3YUlV/n6G3vg6x3XPBfvov6/bxmGcjnoHasc9aOT/vJmsfuxvK790g5x9Ffx2NPHjl2z5ejo0eOCSX0o///4aNuWqXHy0c48nClNr6Nnt/jdfL2edt++3BZeemP2E9l6+FjX/ucnvrjjx9JRbCU5zGte9Fm3m0DcfQ7n6/XjxxxGHO15X7yvwVfOPC+9NtTn+6H0yx1IDNY13rePu+Nv++ep7fOOVtRp3WOlLZIWoF1jpfW6nPzsOtL/fMHj3y8nMgRj5dcHIcSKK3m42cE+/CD/3voSLSWj6Uh2A2U02Bx9mLL87Ad2Yl9rQt/xqX//fFjrz6zZcvnrNuy4YzPadlwzvotG854rGXDcetof7VWy4YjP6dlwznrtWw4+rGWLR+3fsv26TnrtGw4a73WCkev01rhmEBSynsgcP5IefnGXdyy/VvxCPn+J3/eK3+dQPOd+8Jtevbbaxz177GVffy4V740vVnjuNe+/fvbGsf9h//9/I7jXsTW8zxamOfRymzeOvcvMYKSYyV/vbUeE1YWl5VcZUXa1l2nFRLlPc2Vu9bVv2SdaFlJSt5pIO9JknXe+nikrM3d6aq48tZNvPNNVsG9jv0wGV+WtdvwxuH8bqxet/IrVvTEe+sr3coI9RyPuXZYFz5ca3SySqHskf/xhnVZp1jW0ZNfZGUsOR8paJ2sjCnr14WrT07WuJfRblnXWd4XKOvTXTt5Z4K8iS6/IVPeKHetK4nKm1LxzvnWXTu8RU2uLHeUVIpiopPkVY4RhWWlcVFKiEiusZq2vBPk2uGtTJIjeQdp5WSFz3CkvGNTlG6drJUvq5vLqtvXumKlrEcm75jpdR3T1l3runiy1r2s/ijvzx20VEiqJOWSqmvV41rL2XWMB921XtifV2J+N397Hv3TM18XnrkN/y/YhWApnmn/9Dzah2+9DZOW6aN63WH/i3jmafxf2rpnvraEq8OzC0eFNv5K28/Vs8UbPYh1L5z5P/1Z4hk987Xvx3jOmf8V5zzzViPsufI1F9d+5e/1o2/7wj2fxTuFVPwzpedbzdE//Tnnsc7v63liBf/s/leyhP/bH/tjzPm/x6NP43658o8+pdi/7z+987+KMv9csZDPkiLP1JL86I/ec4jNisKvvX29qe7nXwOtyep10NYcRA/lWcxjiBscxLP+l/bzoff//uTO12r3Jcfo31xHD+ksWr+L6OP+EGntxvtcRu8mpE3SIPGIZ7dalHO/ZyceH7yOq3SVsP8wpvqj/yRRjmfR4zvTFEGBn1OJCmcEfaSkfRupSL9JlJGW7tt4pHiEN/P13DPfWSkrZ06iNqfxDrdVyJ7EM/X1z1JpfO2v9OKenK1/lVVv/Tr6T880+nS4ktqrqFX4tn3HUbhm0A51+U0sZdDm03Nu/56vIfXymfrmz9RXv5nSZ550LpMhl59/hV13obX0+tYvX/pPP0S2YI341n3W5Fmszc9iv+9DHOv4NvbIzlLJXOUh/eUNTfGzZImEy7cp5RLNuzv9j6XkP/zZx8r4b/rrZbz+Q+c+j2XoOFpQ1LTP1UBS+WPst4u+4Y6rZfA+i7w+hftK95uo7D+jZmHPx09Uu1kXb1sJ6e1l+3DX8Wex7QrpumnRbh99u6atRxk2We60aidEL7QRN+uPpOVCWyypD+taAMQOYInvKrFS89e1WrfvAKtwfE/axZLdvMZ92txm9FDNelz7XLegwvW917idixfRoznWe8voprT3B7HtEhVhZS7dRTz/X2qxz9WXkByc6TmXesSup7WXauvDv396vb/FvoSU6r177nmzRAjLcL0jLc/H8bibHG56K9faUkKfFzdKRNDrMpaTI1XjWfzlW61HEis71xL3o1qOu/28u+zFM+1/ii+56p/czulX0S79qJ7Cv+6oU9d6rXDly5jSjZj+v63YnPN7jrodZbn7KIkigMZ997vpP30V9drz1zxIub77zE89zLt81bvOfKlxqPMVOlt61MW9Z6E3f77ie4v6991lNd4Tvoezflb/8CHdbmuy/pk3I1nPUi/7MnJ46MxX8Z6XqsaXqssPD56DUgJPPUdQ7j5+tfZ9SmrVot08+9zBh7/PDr+I9fNiJSUov7lUr3PUOmXxsausx/1z0/LrrnJXL+zx9D9WOx67wu2acn</a:t>
            </a:r>
          </a:p>
        </p:txBody>
      </p:sp>
      <p:sp>
        <p:nvSpPr>
          <p:cNvPr id="70" name="WORKBKFUNCTIONCACHE1" hidden="1"/>
          <p:cNvSpPr txBox="1">
            <a:spLocks noChangeArrowheads="1"/>
          </p:cNvSpPr>
          <p:nvPr/>
        </p:nvSpPr>
        <p:spPr bwMode="auto">
          <a:xfrm>
            <a:off x="3197225" y="2944813"/>
            <a:ext cx="638175" cy="457200"/>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Gjrjx29qe25bEzHiqHj517O9L5+BmP1ZTHzscIGvz3h49ev848dKXP73eF8YnVtuv6hjcSUgaPYbWtXIfuTQuVe9I3/aA8qnWgKbjPn/10ZOu2j/qpTmF8MBA8vtXLR+pv30NGu0T3/y9eH6NeuWWGVnkU7C6fcnUcJJ+Tx0MOosWRfNw8czUufKyKPuyLB89C4jkX6nVIL+G2OiFNG75nf6bpwXF3RS9uR3seU+72WOb9R2arsRdtHq58d9ToU1VXR4ouk/V4TCMpn7nPGuj+X7X58m213IPXF/F6B7FM3FVacj2ScccQTflXLOmS1h9cjpSt6vFpv+dmj0AswmU8+jjGW9Y7B30NRIruatlQF296yajl76KGYP5w+fjUa71pI+4+5q6rrZuSm9dHLh+ON65aph817nM70nBT109TeDeRl/Gu2Rq90H7LP93BZ14Z3B735u/WD0o81J+53eP7T3cQU/vszrPvinP/93w+7nNmEt8/a/jP6dzd6FWcxTIjvxzGNirbwhfRMh7F3/9/nCUMKA==&lt;/compressed&gt;</a:t>
            </a:r>
          </a:p>
          <a:p>
            <a:pPr algn="l" rtl="0">
              <a:defRPr sz="1000"/>
            </a:pPr>
            <a:endParaRPr lang="en-US" sz="1000" b="0" i="0" u="none" strike="noStrike" baseline="0">
              <a:solidFill>
                <a:srgbClr val="000000"/>
              </a:solidFill>
              <a:latin typeface="Arial"/>
              <a:cs typeface="Arial"/>
            </a:endParaRPr>
          </a:p>
          <a:p>
            <a:pPr algn="l" rtl="0">
              <a:defRPr sz="1000"/>
            </a:pPr>
            <a:endParaRPr lang="en-US" sz="1000" b="0" i="0" u="none" strike="noStrike" baseline="0">
              <a:solidFill>
                <a:srgbClr val="000000"/>
              </a:solidFill>
              <a:latin typeface="Arial"/>
              <a:cs typeface="Arial"/>
            </a:endParaRPr>
          </a:p>
        </p:txBody>
      </p:sp>
      <p:sp>
        <p:nvSpPr>
          <p:cNvPr id="29" name="WORKBKFUNCTIONCACHE" hidden="1">
            <a:extLst>
              <a:ext uri="{FF2B5EF4-FFF2-40B4-BE49-F238E27FC236}">
                <a16:creationId xmlns:a16="http://schemas.microsoft.com/office/drawing/2014/main" id="{43011BB3-2E5A-4FA3-82B1-A2C408DDFC68}"/>
              </a:ext>
            </a:extLst>
          </p:cNvPr>
          <p:cNvSpPr txBox="1">
            <a:spLocks noChangeArrowheads="1"/>
          </p:cNvSpPr>
          <p:nvPr/>
        </p:nvSpPr>
        <p:spPr bwMode="auto">
          <a:xfrm>
            <a:off x="2344277" y="3026851"/>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lt;compressed size="651798"&gt;eJztvQtvHTe2ps2fYkwDgxngk7ruF3TPARwf2fGBYwtS0oODRsOQFamlJFYU3ZIe6Md/JNd6yS1Zl+1cikvnvBDs2rt2Xcj3IRcXF1msv7pDd+lO3L67cMfuR//phdvz347cgfs391f3rf924f/t+t8u3Zn/5cA980ftuY/+0/9x/8O9dK/dW/fc/3vhtvz3Z+5DvML37p/++B/j1b91p/7TVTz+ufvB/73323DPa9e4yv/1/tPf3X/6a+75s/7hv/1Pf9SF+4u/c7jnSdwfUvjM/c1vD9zP/oh/xiPCmW9j2g9unLnl94RcXbh/+bNexPSfxWvt+z33nf13n58XbtufcXPvr/v2P6KKr/y3C5/uPZ+yS1X23Kfs/8XPtevc7Ea/788re//qFd7zuoVP3/s9//K//dsnavxJdbyM1/5LUvBPquvk9237fXL0t37/d5HIX5KKf/oMpW9qGu79yr3xLN+4d+4Ltxl1+8tKPvO1t+NVD+LZmcUz97W/z0U8Pt8j5GhfS86Fv0atean8b8LmTyuUwhVOvdZ/iVc992f86JWr/THbsfx969P37z7FV7eOaPwRku6b+1u/fzfm8MDvu/lb538LOQ6l5r8viZ4kDJBofU5mkjBDoiYJAyR6thMmSHT+jyQskOhji92RRHESo/Z0SMICiZ4kDJCY2bMzRKImCRMkatYJIyQakjBCoiUJIyTYs7NAool5aRh3MkCiZ1TcCImBJIyQYM/OBok29ibYs7NBgj07KyTYs7NCgj07KyTYs7NCguPYNkg09J1MkJhiTmqO2Rkh0bFOFCchMXFaJwskepIwRKIhCSMkWpIwQ4IjRTZI0HeyQmIgCSMkRpIwQ4J9bCskBpIwQmIkCSMkZpIwQILj2JZIsGdXnsTAOmGKBH0nGyQ4G9MCiZGzMY2QCOOnXLfDAgnOULZFgl6sBRI9SRgg8cLn6r1X/iTuDWvtkUhZIkFzUfPQb/M8g/cc1TPK6Lnbif9vk4spLnJu+H7gPsQzSMcOnTf+HLKxyeYrf9xHv/+9e+mvR5+gNJ237iDSgEUL/toVqRihIt7ze3/OnvvFb0Vp8rHEJxx74o8kExtM2MLY5LLt/7ZIwwiNHb/3ym9bf+a3pGKEym487iD2+c/9X9h7TjqF6ewona14jRN/99Dek0tpLnLMe91/Fgn94tUnF2tc0H+R65CPFT5s+e2w+Og/nTnGK60QeeHvthu3e1GnM233yccan6wNfTJrdIJHduTT8CGmg3ys8XkZr3Tsjz9i22OOziv3JZkYYxIYkIktJm/8d3pm1qh85e//Q0xDuOa/yMcYn3f+21HME8nYIrPt70Am1pgEhb+LPvPPjJwZ5oMZACRki9COXodcbHHZjaM0exw5M0fm68jlhFzMcNnzmhyRhxkeQY0wckYiVojwyZinwIVxTJt0juOszHBNxsus0Al15nBlFtNbv//EcS6TZUasQdbonLK2mOHx0h+37zA6w3pihctrr8WpP/aYdcUQkxOvyaVGYkJaScYOmauoz0WK/zOGaYXOzVUYZCYg4wFW6TAaYI2NrJshz2mSjA0y7/x5r0nDDI3D2Offcj/53469/mEs89JvT/357NXY4RTmmeUoJ59tts/ojU/HnvcNyMcWn60YISAVW1Toq9llI9402xy7hFbH09jyWKUkCh+SizEuu/6uz0nFCBWOO9ujweimRSaYqSFrnJKOJTpB3R9iXknFAhWs1kg7ZomJnE8ednhg7kx4BjB8Ih9bfIImZ/6XfXIxxeXKcZ0z+3yyNoxhWqPDdc5s8+E6Z5bpcJ0ze0zY17THhOucWaTCdc5s8+E6Z1bJcJ0zi0y4ztnT4MN1zmwS4siATS5c58wqGa5zZovLbtRj331PIkaIoIaEWJmMbIZYwDkjzcYIhefROW/GCpNv4p25yokNKuc+L33MzRdk8RtY/N2fEcr0x9gO7MVzwxMU/7hD81rTXFHxRRXvqfiCirc+xTMVX1zxmoovqHhPO76o4p3/o+JLKt7HlrOj4ospPsY091R8UcV7Kr6g4jN7QAUUr6n4oorXLOMLK95Q8YUVb6n4woqzB7Sk4k1Mc8O4yoKK94zWLqz4QMUXVpw9oGUVb6M3zh7QsoqzB7S04uwBLa04e0BLK84e0NKKc5xzWcUb+iqLKj7FFNccA1pY8Y5lfDHFJVZLq7Kk4j0VL6B4Q8UXVryl4osrzhGJZRWnr7K04gMVX1jxkYovrjj7nEsrPlDxhRUfqfjCis9UfEHFOc5ZQnH2gJZTfGAZL6I4fZVlFecsuCUVHzkLbmHFw7gbn8tfUnHO9CyjOL3DJRXvqfiCir/wqcd7GkO+D6j8QsoHbUW1Q7/N483vOUpUmMVztxP/36b+RfQPCpzF7wfuQ7w7KSxP4Y3XmAzKMsAq8GG9/gO2zYtReOvPuFixRME/uqL6C6svXml+m7goSg4lOIT1X/nm0OW1ZwtQVv9t/7dF1RdWfcfvDe+OaH06+JaipdXfjecfxD5weAtB2Mt3ESxFYUcpbMUUnDh5Yzf1X0r/oOlFLPth/5mT9z/zvULl9If/L70xcliaA1vg5TX/6D+dOcbdllb+hb/qbtzuRT3OtP0lh1Icsgb0gUpRCB7QkT/+Q7wfOZTi8NKF9zMd+3sfsW0oRuGV+5LaF9I+aE3ty2gf3kpJT6iU+l85vO0wpIhvPCzF4Z3/dhTTTgJlCGz7K1H7UtoHJb+LvujPjAwZ4IARYpIoQ2Inpob6l9J/N44S7HGEphgBvL+e+i+t/57P+xF1X1z3kOswQkPll1aeTwZY0p/xuLIUjuMsuW1/HuNBS1MIdeBwZXbK23gG56hYYMEaUYrCKUv/4rq/9MftO4wOsNwvrf9rf/SpP/aYZb+A9ic+75cagQhpIoHlCVxFHS5SXJqxuKUp3HxaW2ZssX9cmgJ7x6UYyHP08hwZCSxL4J2/zmuqvrjqh7EPvOV+8r8de53D2Nil3576a7FXsDyPME8oR+v4LKUdFm/8OXu+jSaHMhy2Yo+Z6pdRn75ReQbipbJNKE9iddyGLUNpGqLkIfUvpP+uv/pzqr+w+hyvLKc6o3QltceIvaz1RwolKAQVf4h5ovpLqo9Vzmh/SmjPpzZK6Y65EuHZpb14LjmU4BDyfuZ/2af+RfS/clxnyA6HrAFjcaUocJ0hGxy4zpAFClxnqJz27JOV057rDJVUn+sM2eDAdYZKE+A6QyW15zpDtjhwnaGyJBixLqs/1xkqTYDrDJXRfzfme999T+UXVh4lPsSCZKQs9I3PGRktRCI858p5Ektr/008iqsbLKv+uU9zH1P9BTVfW/N/j2si3lQdV9+O1xUv/pmTGednquRFPD7f5TaNWnNTkYURFj1ZmGDR+rzMZGGIRU0WJlj0bC+MsOj8H1nYYNHHtrsjCwMsxpibniyMsOjJwgSLmX09UyxqsjDComa9MMOiIQszLFqyMMOCfT0bLJqYm4bxKBMsesbMzbAYyMIMC/b1rLBoY++CfT0rLNjXs8OCfT07LNjXs8OCfT07LDjebYVFQz/KCIsp5qXmuJ4ZFh3rhQEWEjGnjbLBoicLUywasjDDoiULQyw4lmSFBf0oOywGsjDDYiQLQyzY77bDYiALMyxGsjDDYiYLEyw43m2LBft6FlgMrBfGWNCPssKCczhtsBg5h9MMizDKyvVAbLDg3GZrLOjT2mDRk4UJFi98vvD20aDIAZkUZxJUFz0P/TbPSHjPkT+zlJ67nfj/NskYIyPnhu8H7kM8g3ws8XnjzyEdq3Tw1ovwHpIDegcG+Lz1512s2LXgu12Rixku4kuHFdP33C8Ob5AhIVuEwrF837AlKmxprJLZ9n9b5GGGx47fG94H1Poz+WY4O1x243EHMQ4Q3lET9p6TT3E+O8pnK17jxB3Hlp9kypORY97r/rPI6Be+Yc4kGfRn5DokZIcQfQBLND76T2eOkUw7TF7E64ftXlTqTD0AErJHKKtD/8wen+CdHflUfIgpISF7hF7GKx3744/YBhnk88p9SSrmqAQKpGKNSnjXM700e1y+cngbcbgm30hsj9A7/+0o5opsrLHZ9ncgFXtUgsbfRQ/6Z0bUTBPCTAEyssZoR69DMtbI7MZRnD2OrRlk83Ukc0IyhsjseVWOSMQQkaBHGFsjEztM+GTN0yDDCKdVPsdxJme4JuNodviEenO4Mufprd9/4jjzyTYl1iJ7fE5ZYwwReemP23cYvWFdsUPmtVfj1B97zPpiisqJV+VS4zMhtWRjic1VVOgijQ4wummHz811HWTuIGMEdvkwQmCPjqzFIc97ko0VNu/8ea/JwxCPwxgH2HI/+d+OPYEw3nnpt6f+fPZyLJEK89Jy/JPPST8FSm98Sva8l0BC1ghtxagBuVjjQr/NMh3xrdn2WGa0OuLGFsguJ9H4kGTMkdn193lOLma4cHTaIg/GPW1SwZwOWU2VfGzxCfr+EHNLLja4YE1IWjNbVOR8ErFEBPNswpOE4RMJWSMUVDnzv+yTjDEyV47rqD0FQlkdRjft8eE6atYJcR0123y4jppFKux9WqTCddRscuE6atYJcR01u2y4jppNKlxH7akQ4jpqVhlx3MAqGa6jZpcN11GzRmY3KrLvvicTM0xQS0IMTUY/Q3zgnFFoc4zC0+2cY2OHyjfx3lw7xQqXc5+bPubnC9L4TTT+7s8J5fpjbA/24tnh+Yt/3KF6ramuqPnCmvfUfFHNW5/mmZoX0Lym5otq3tOeL6x55/+o+bKa97EN7aj5gpqPMdU9NV9Y856aL6r5zD5REc1rar6w5jXL+eKaN9R8cc1bar645uwTLat5E1PdMN6yqOY9Y7mLaz5Q88U1Z59oac3b6J2zT7S05uwTLa85+0TLa84+0fKas0+0vOYcD11a84Z+y8KaTzHNNceJFte8YzlfUHOJ5NK2LKt5T82LaN5Q88U1b6l5Ac05ZrG05vRbltd8oOaLaz5S8wKasx+6vOYDNV9c85GaL675TM0X1ZzjoWU0Z59oSc0HlvNCmtNvWVpzzp1bVvORc+cW1zyMzvF5/2U15xzRUprTV1xW856aL6r5C59+vD8y5PyA2i+mfVBXdDv02zwy/Z4jScVpPHc78f9tEihEIGhwFr8fuA/x/uRQgsMbrzIplKaAVejDGwMO2EovyOGtP+NixR4FX+mK+i+uv/io+Z3noilJlCERVp3lW01LqM+WoDSBbf+3Rd0X133H7w1vsGh9SvjOpOX1343nH8R+cXgTQth7Tg6LcdhRDlsxDSdO3itOAssRCKpexPIf9p85eUc133JUkgD6A9I/I4nlSbAtLqH6R//pzDEit7z2L+J1wnYvKnKmLTFJlCORVaA/VI5D8IaO/PEf4h1JohyJly68L+rY3/2IbURBDq/cl1S/mPpBbapfSv3wxkx6ReX0/8rhPYwhTXwXYzkS7/y3o5h6MijFYNtfieqXUz9o+V30TH9mxMgECYwkk0UpFjsxPSRQjsBuHEXY4xhOQQbyHvcTEihAYM/n/ojKF1A+5DuM4VD75bXnkwW2CDBSV5rDcZxZt+3PY5xoeQ6hHhyuzGV5G8/gjBYbNFgrynE4ZQ0ooPxLf9y+w+gBy/7yBF77o0/9sccs/0XUP/G5v9S4REgVGZRgcBWVuEhRa0bpludw8/lvmePFPnN5Duwxl6Mgz+bL82hksDSDdz7/r6l7Ad0PY794y/3kfzv2Sofxs0u/PfXXYi+hBJEwryjH8fhcpiUab/w5e761JolSJLZiL5r6l9KffpIFCuKzsm2wwGJ1ZIctRHkeouUhCRQjsOuv95z6L64/RzVL6s74XVn1MbYvqwqSQxkOQccfYq6o/7L6Yy01WqEy6vO5j3LKY15FeAJqL55LEmVIhNyf+V/2SaAQgSvHdYwskcgqMEpXjgPXMbJCgusY2eDAdYxKqs9eWkn1uY5RWf25jpEVElzHqDwDrmNUVn2uY2SNBNcxKs2C8ezSBLiOUXkGXMeoFIHdmPN99z21X1x7lPoQI5LRtNBfPmfUtBiL8NQs51Qsr/438SiumbC0/uc+1X1M9xdUfW3VX3l93tx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byfTXl+ewon614jRN3HFt+kilPRo55r/vPIqNf+LY5k2TQn5HrkJAdQvQBLNH46D+dOUYy7TB54cKbwMJ2Lyp1ph4ACdkjlNWhf2aPT/DOjnwqPsSUkJA9Qi/jlY798UdsgwzyeeW+JBVzVAIFUrFGJbzxmV6aPS5fObyPOFyT7yS2R+id/3YUc0U21ths+zuQij0qQePvogf9MyNqpglhpgAZWWO0o9chGWtkduMozh7H1gyy+TqSOSEZQ2T2vCpHJGKISNAjjK2RiR0mfLLmaZBhhNMqn+M4kzNck3E0O3xCvTlcmfP01u8/cZz5ZJsSa5E9PqesMYaIvPTH7TuM3rCu2CHz2qtx6o89Zn0xReXEq3Kp8ZmQWrKxxOYqKnSRRgcY3bTD5+a6DjJ3kDECu3wYIbBHR9bikOc9ycYKm3f+vNfkYYjHYYwDbLmf/G/HnkAY77z021N/Pns5lkiFeWk5/snnpJ8CpTc+JXveSyAha4S2YtSAXKxxod9mmY741mx7LDNaHXFjC2SXk2h8SDLmyOz6Oz0nFzNcODptkQfjnjapYE6HrKZKPrb4BH1/iLklFxtcsCYkrZktKnI+iVgignk24UnC8ImErBEKqpz5X/ZJxhiZK8d11J4CoawOo5v2+HAdNeuEuI6abT5cR80iFfY+LVLhOmo2uXAdNeuEuI6aXTZcR80mFa6j9lQIcR01q4w4bmCVDNdRs8uG66hZI7MbFdl335OJGSaoJSGGJqOfIT5wzii0OUbh6XbOsbFD5Zt4b66dYoXLuc9NH/PzBWn8Jhp/9+eEcv0xtgd78ezw/MU/7lC91lRX1HxhzXtqvqjmrU/zTM0LaF5T80U172nPF9a883/UfFnN+9iGdtR8Qc3HmOqemi+seU/NF9V8Zp+oiOY1NV9Y85rlfHHNG2q+uOYtNV9cc/aJltW8ialuGG9ZVPOesdzFNR+o+eKas0+0tOZt9M7ZJ1pac/aJltecfaLlNWefaHnN2SdaXnOOhy6teUO/ZWHNp5jmmuNEi2vesZwvqLlEcmlbltW8p+ZFNG+o+eKat9S8gOYcs1hac/oty2s+UPPFNR+peQHN2Q9dXvOBmi+u+UjNF9d8puaLas7x0DKas0+0pOYDy3khzem3LK05584tq/nIuXOLax5G5/i8/7Kac45oKc3pKy6reU/NF9X8hU8/3h8Zcn5A7RfTPqgruh36bR6Zfs+RpOI0nrud+P82CRQiEDQ4i98P3Id4f3IoweGNV5kUSlPAKvThjQEHbKUX5PDWn3GxYo+Cr3RF/RfXX3zU/M5z0ZQkypAIq87yraYl1GdLUJrAtv/bou6L677j94Y3WLQ+JXxn0vL678bzD2K/OLwJIezl+xCW47CjHLZiGk6cvFecBJYjEFS9iOU/7D9z8o5qvuWoJAH0B6R/RhLLk2BbXEL1j/7TmWNEbnntX/gr7cbtXlTkTFtikihHIqtAf6gch+ANHfnjP8Q7kkQ5Ei9deF/Usb/7EduIghxeuS+pfjH1g9pUv5T64Y2Z9IrK6f+Vw3sYQ5r4LsZyJN75b0cx9WRQisG2vxLVL6d+0PK76Jn+zIiRCRIYSSaLUix2YnpIoByB3TiKsMcxnIIM5D3uJyRQgMCez/0RlS+gfMh3GMOh9strzycLbBFgpK40h+M4s27bn8c40fIcQj04XJnL8jaewRktNmiwVpTjcMoaUED5l/64fYfRA5b95Qm89kef+mOPWf6LqH/ic3+pcYmQKjIoweAqKnGRotaM0i3P4ebz3zLHi33m8hzYYy5HQZ7Nl+fRyGBpBu98/l9T9wK6H8Z+8Zb7yf927JUO42eXfnvqr8VeQgkiYV5RjuPxuUxLNN74c/Z8a00SpUhsxV409S+lP/0kCxTEZ2XbYIHF6sgOW4jyPETLQxIoRmDXX/E59V9cf45qltSd8buy6mNsX1YVJIcyHIKOP8RcUf9l9cdaarRCZdTncx/llMe8ivAE1F48lyTKkAi5P/O/7JNAIQJXjusYWSKRVWCUrhwHrmNkhQTXMbLBgesYlVSfvbSS6nMdo7L6cx0jKyS4jlF5BlzHqKz6XMfIGgmuY1SaBePZpQlwHaPyDLiOUSkCuzHn++57ar+49ij1IUYko2mhv3zOqGkxFuGpWc6pWF79b+JRXDNhaf3Pfar7mO4vqPraqr92b2MkYVV1XH07Xld8+mdOZqufqZIX8fh8l9s0as1NRRZGWPRkYYJF6/Myk4UhFjVZmGDRs70wwqLzf2Rhg0Uf2+6OLAywGGNuerIwwqInCxMsZvb1TLGoycIIi5r1wgyLhizMsGjJwgwL9vVssGhibhrGo0yw6BkzN8NiIAszLNjXs8Kijb0L9vWssGBfzw4L9vXssGBfzw4L9vXssOB4txUWDf0oIyymmJea43pmWHSsFwZYSMScNsoGi54sTLFoyMIMi5YsDLHgWJIVFvSj7LAYyMIMi5EsDLFgv9sOi4EszLAYycIMi5ksTLDgeLctFuzrWWAxsF4YY0E/ygoLzuG0wWLkHE4zLMIoK9cDscGCc5utsaBPa4NFTxYmWLzw+cL7SoMiB2RSnElQXfQ89Ns8I+E9R/7MUnruduL/2yRjjIycG74fuA/xDPKxxOeNP4d0rNLBWzDCm0kO6B0Y4PPWn3exYteC73ZFLma4iC8dVk3fc784vFGGhGwRCsfyrcSWqLClsUpm2/9tkYcZHjt+b3gzUOvP5Lvi7HDZjccdxDhAeFNN2Mv31ZTns6N8tuI1TtxxbPlJpjwZOea97j+LjH7h2+ZMkkF/Rq5DQnYI0QewROOj/3TmGMm0w+SFv99u3O5Fpc7UAyAhe4SyOvTP7PEJ3tmRT8WHmBISskfoZbzSsT/+iG2QQT6v3JekYo5KoEAq1qiENz7TS7PH5SuH9xGHa/KdxPYIvfPfjmKuyMYam+14F1KxRiVo/F30oH9mRM00IcwUICNrjHb0OiRjjcxuHMXZ49iaQTZfRzInJGOIzJ5X5YhEDBEJeoSxNTKxw4RP1jwNMoxwWuVzHGdyhmsyjmaHT6g3hytznt76/SeOM59sU2ItssfnlDXGEJGX/rh9h9Eb1hU7ZF57NU79scesL6aonHhVLjU+E1JLNpbYXEWFLtLoAKObdvjcXNdB5g4yRmCXDyME9ujIWhzyvCfZWGHzzp/3mjwM8TiMcYAt95P/7dgTCOOdl3576s9nL8cSqTAvLcc/+Zz0U6D0xqdkz3sJJGSN0FaMGpCLNS702yzTEd+abY9lRqsjbmyB7HISjQ9JxhyZXX/f5+RihgtHpy3yYNzTJhXM6ZDVVMnHFp+g7w8xt+RigwvWhKQ1s0VFzicRS0QwzyY8SRg+kZA1QkGVM//LPskYI3PluI7aUyCU1WF00x4frqNmnRDXUbPNh+uoWaTC3qdFKlxHzSYXrqNmnRDXUbPLhuuo2aTCddSeCiGuo2aVEccNrJLhOmp22XAdNWtkdqMi++57MjHDBLUkxNBk9DPEB84ZhTbHKDzdzjk2dqh8E+/NtVOscDn3ueljfr4gjd9E4+/+nFCuP8b2YC+eHZ6/+Mcdqtea6oqaL6x5T80X1bz1aZ6peQHNa2q+qOY97fnCmnf+j5ovq3kf29COmi+o+RhT3VPzhTXvqfmims/sExXRvKbmC2tes5wvrnlDzRfXvKXmi2vOPtGymjcx1Q3jLYtq3jOWu7jmAzVfXHP2iZbWvI3eOftES2vOPtHymrNPtLzm7BMtrzn7RMtrzvHQpTVv6LcsrPkU01xznGhxzTuW8wU1l0gubcuymvfUvIjmDTVfXPOWmhfQnGMWS2tOv2V5zQdqvrjmIzUvoDn7octrPlDzxTUfqfnims/UfFHNOR5aRnP2iZbUfGA5L6Q5/ZalNefcuWU1Hzl3bnHNw+gcn/dfVnPOES2lOX3FZTXvqfmimr/w6cf7I0POD6j9YtoHdUW3Q7/NI9PvOZJUnMZztxP/3yaBQgSCBmfx+4H7EO9PDiU4vPEqk0JpCliFPrwx4ICt9IIc3vozLlbsUfCVrqj/4vqLj5rfeS6akkQZEmHVWb7VtIT6bAlKE9j2f1vUfXHdd/ze8AaL1qeE70xaXv/deP5B7BeHNyGEvXwfwnIcdpTDVkzDiZP3ipPAcgSCqhex/If9Z07eUc23HJUkgP6A9M9IYnkSbItLqP7RfzpzjMgtr/0Lf93duN2LipxpS0wS5UhkFegPleMQvKEjf/yHeEeSKEfipQvvizr2dz9iG1GQwyv3JdUvpn5Qm+qXUj+8MZNeUTn9v3J4D2NIE9/FWI7EO//tKKaeDEox2I5Xo/ql1A9afhc9058ZMTJBAiPJZFGKxU5MDwmUI7AbRxH2OIZTkIG8x/2EBAoQ2PO5P6LyBZQP+Q5jONR+ee35ZIEtAozUleZwHGfWbfvzGCdankOoB4crc1nexjM4o8UGDdaKchxOWQMKKP/SH7fvMHrAsr88gdf+6FN/7DHLfxH1T3zuLzUuEVJFBiUYXEUlLlLUmlG65TncfP5b5nixz1yeA3vM5SjIs/nyPBoZLM3gnc//a+peQPfD2C/ecj/534690mH87NJvT/212EsoQSTMK8pxPD6XaYnGG3/Onm+tSaIUia3Yi6b+pfSnn2SBgvisbBsssFgd2WELUZ6HaHlIAsUI7PrrP6f+i+vPUc2SujN+V1Z9jO3LqoLkUIZD0PGHmCvqv6z+WEuNVqiM+nzuo5zymFcRnoDai+eSRBkSIfdn/pd9EihE4MpxHSNLJLIKjNKV48B1jKyQ4DpGNjhwHaOS6rOXVlJ9rmNUVn+uY2SFBNcxKs+A6xiVVZ/rGFkjwXWMSrNgPLs0Aa5jVJ4B1zEqRWA35nzffU/tF9cepT7EiGQ0LfSXzxk1LcYiPDXLORXLq/9NPIprJiyt/7lPdR/T/QVVX1v1//C/n99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aek09xPjvKZyte48Qdx5afZMqTkWPe6/6zyOgXvm3OJBn0Z+Q6JGSHEH0ASzQ++k9njpFMO0xe+Pvtxu1eVOpMPQASskcoq0P/zB6f4J0d+VR8iCkhIXuEXsYrHfvjj9gGGeTzyn1JKuaoBAqkYo1KeOMzvTR7XL5yeB9xuCbfSWyP0Dv/7Sjmimyssdl2fyMVg1SCxt9FD/pnRtRME8JMATKyxmhHr0My1sjsxlGcPY6tGWTzdSRzQjKGyOz56x+RiCEiQY8wtkYmdpjwyZqnQYYRTqt8juNMznBNxtHs8An15nBlztNbv//EceaTbUqsRfb4nLLGGCLy0h+37zB6w7pih8xrr8apP/aY9cUUlRN//UuNz4TUko0lNldRoYs0OsDoph0+N9d1kLmDjBHY5cMIgT06shaHPO9JNlbYvPPnvSYPQzwOYxxgy/3kfzv2BMJ456Xfnvrz2cuxRCrMS8vxTz4n/RQovfEp2fNeAglZI7QVowbkYo0L/TbLdMS3ZttjmdHqiBtbILucRONDkjFHZtff9zm5mOHC0WmLPBj3tEkFczpkNVXyscUn6PtDzC252OCCNSFpzWxRkfNJxBIRzLMJTxKGTyRkjVBQ5cz/sk8yxshcOa6j9hQIZXUY3bTHh+uoWSfEddRs8+E6ahapsPdpkQrXUbPJheuoWSfEddTssuE6ajapcB21p0KI66hZZcRxA6tkuI6aXTZcR80amd2oyL77nkzMMEEtCTE0Gf0M8YFzRqHNMQpPt3OOjR0q38R7c+0UK1zOfW76mJ8vSOM30fi73xfK9cfYHuzFs8PzF/+4Q/VaU11R84U176n5opq3Ps0zNS+geU3NF9W8pz1fWPPO/1HzZTXvYxvaUfMFNR9jqntqvrDmPTVfVPOZfaIimtfUfGHNa5bzxTVvqPnimrfUfHHN2SdaVvMmprphvGVRzXvGchfXfKDmi2vOPtHSmrfRO2efaGnN2SdaXnP2iZbXnH2i5TVnn2h5zTkeurTmDf2WhTWfYpprjhMtrnnHcr6g5hLJpW1ZVvOemhfRvKHmi2veUvMCmnPMYmnN6bcsr/lAzRfXfKTmBTRnP3R5zQdqvrjmIzVfXPOZmi+qOcdDy2jOPtGSmg8s54U0p9+ytOacO7es5iPnzi2ueRid4/P+y2rOOaKlNKevuKzmPTVfVPMXPv14f2TI+QG1X0z7oK7odui3eWT6PUeSitN47nbi/9skUIhA0OAsfj9wH+L9yaEEhzdeZVIoTQGr0Ic3BhywlV6Qw1t/xsWKPQq+0hX1X1x/8VHzO89FU5IoQyKsOsu3mpZQny1BaQLb/m+Lui+u+47fG95g0fqU8J1Jy+u/G88/iP3i8CaEsPecHBbjsKMctmIaTpy8V5wEliMQVL2I5T/sP3Pyjmq+5agkAfQHpH9GEsuTYFtcQvWP/tOZY0Ruee1f+Ovuxu1eVORMW2KSKEciq0B/qByH4A0d+eM/xDuSRDkSL114X9Sxv/sR24iCHF65L6l+MfWD2lS/lPrhjZn0isrp/5XDexhDmvguxnIk3vlvRzH1ZFCKwba/EtUvp37Q8rvomf7MiJEJEhhJJotSLHZiekigHIHdOIqwxzGcggzkPe4nJFCAwJ6/zhGVL6B8yHcYw6H2y2vPJwtsEWCkrjSH4zizbtufxzjR8hxCPThcmcvyNp7BGS02aLBWlONwyhpQQPmX/rh9h9EDlv3lCbz2R5/6Y49Z/ouof+Kvc6lxiZAqMijB4CoqcZGi1ozSLc/h5vPfMseLfebyHNhjLkdBns2X59HIYGkG73z+X1P3Arofxn7xlvvJ/3bslQ7jZ5d+e+qvxV5CCSJhXlGO4/G5TEs03vhz9nxrTRKlSGzFXjT1L6U//SQLFMRnZdtggcXqyA5biPI8RMtDEihGYNdf/zn1X1x/jmqW1J3xu7LqY2xfVhUkhzIcgo4/xFxR/2X1x1pqtEJl1OdzH+WUx7yK8ATUXjyXJMqQCLk/87/sk0AhAleO6xhZIpFVYJSuHAeuY2SFBNcxssGB6xiVVJ+9tJLqcx2jsvpzHSMrJLiOUXkGXMeorPpcx8gaCa5jVJoF49mlCXAdo/IMuI5RKQK7Mef77ntqv7j2KPUhRiSjaaG/fM6oaTEW4alZzqlYXv1v4lFcM2Fp/c99qvuY7i+o+r2qv4j6nbsw4+p5nHW1eYvETQK40+pVnjmZuX6mql7E4/Mdb5OpNWcVuRjk0pOLOS6tz9dMLka51ORijkvP9sUgl87/kYs9Ln1s9ztyMcZljDnrycUgl55czHGZ2a80y6UmF4NcatYXk1wacjHJpSUXk1zYr7THpYk5axgfM8elZ5zfJJeBXExyYb/SIpc29l7Yr7TIhf1Km1zYr7TJhf1Km1zYr7TJheP7Frk09McMcplivmqOV5rk0rG+GOMiUX7aMXtcenIxy6UhF5NcWnIxyoXjYha50B+zyWUgF5NcRnIxyoX9fZtcBnIxyWUkF5NcZnIxx4Xj+3a5sF9pjcvA+mKYC/0xi1w4D9Yel5HzYE1yCSPJXB/GHhfOG7fMhX6yPS49uZjj8sLnEe/EDeockI8pPoGAaHvot3k2xnuOaD4JYs/dTvx/m5QMU5Jzw/cD9yGeQVZWWb3x55DUUyCFt7SEN+cc0LMwxuqtv9LFiu0LPuAVGZlkJP55WO1/z/3i8CYk0rJLKxzLN2tbJcSW6SlQ2vZ/W2Rjks2O3xvegNX6M/lORJuMduNxBzH+EN7OFPbyHU22WO0oq62YzhN3HL0GUrJFSY55r/vPIq9f+OZF85TQX5LrkJZNWvQfrJL56D+dOUZZbfJ54e+zG7d7UbUz9R5IyzatrBT9PNusgpd35K/1IV6PtGzTeunPPPDX+qdnxjbLNqtX7ksSMk0oECEhy4TCW9fp7dlm9JXD+8FDuvmOcNu03vlvRzGH5GSZ07a/AwnZJhT0/i565T8zwvdkaGFmBHlZ5rUT00xKtintxlGoPY4TGuf0daR0QkpGKe35Ox+RjlE6QZswTkg+NvnwyaanR4nR16fA6jjOgN325zGuZ5NVqE+HK/PA3sa0cDbY0yHG2mWb1SlrklE6L/1x+w6jT6xDNim99sqc+mOPWY/MEgp3vtQYUUg5OVnldBXVukgjGoy82mR1cw0PmWfJ2MTTYMXIhG1SsgaLPJ9LThY5vfPnvSYbo2wOY/xhy/3kfzv2NMI47qXfnvrz2YuySi3M28uxWT7v/tSIvfHX2/MeBmlZprUVoxVkZJkR/b+nQkr8dbZVT4XX6ughW6ynwUz0PiQl05R2/f2ek5FJRhyBt86GMVn7hDCfRVbyJSu7rM7ivX8gI5OMsO4oLZ5dQgeOz6ZZpoP5RuFpz/CJtCzTCgqd+V/2SckwpSvHdfieGq2sFCOvtllxHb6nRIvr8D0dVlyHzzoh9nStE+I6fPYZcR2+p0SL6/A9DU5ch88+Ia7D9xRpcR2+p8CLYx1PgRLX4XsanLgOn2VKu1Gdffc9+Zjkg9oTYnoyqhviEueMlpvmFVYs4Fwjm4S+iVfg+jkWGZ37nPUxb18YIvNX92ffPh74/Jy7f/PfrlKuw/faHzn5FF/HT4O/V/jUutmN+mnyf/Jr5X+XfaP/XT71/p98av0R8imoIJ8qvUrjt7V+mvTcZuW+nZ7bpBTU/tOgnyo9Llyt109DPCOUpEa3+N7rdojbOp7baErCNty9i5+uY56muH+K54d01LptdIv9vW6HuG31e6vX66IO4X/8Pup9Wt0Ouh31eDmv13R0ur/X+7YxXeH4Tre9/l7rFtdtVLlW9Wpu6IW71qo0zuuUaruScvDr9VOn1Lqok6gJik26W60pr1XhSVNaJYVDToNOk27xe6vbQfeP+r3Rba/7W93iuE5/x7bW/bOmelJt65WyNKZPvX7q9FOjKZOSNqsWteo26ZUq3dapBlR6TpvKaZ00rbX0Ven8VtNWp7tWeo82/dakWoBaFQhC3UFzixrVpjzNKS29atJqzkG1i0fJFkdUUbVR6UxKZ1K1J1V/SvQa/Y5tpftrvQ7OH3Rb63bU4yr9jnqK8ot0QSnwaTR/nZ4j9mlwsEUgMae81qoDciFscFyb6DTJeuXyPK6UhtbBPuG+qC3NilUaV0pNp7QmTXMo02JXOrVPnea7U/vUaQnptWZ1WnvELkxae0bl0mipn7QmT1rvJy0zk9qHSevlpDpOyn1SOzRpOZq0tk7KYdJaOGn5mlSjScvJpDQmLVmT8po075PW1klrzqSletLaXCcF6lQrRC9cJdsn3D/bp1HvCPs0JOJjynWlaoJnq2WhUcVGtS+N2p9RS/CoJXxUnqNec9QyNGqJHrUmjloDRq0hYW+rWxzX6e/Y1rof9mnWM1By6/RbrXep9Ti0ojiuThRr1W3SK1W6zfapS9eBdUBb0Sa9unR+tk9onSstAdl2gUmjlITgrFcYNLewT12qyXNKS6+8a5ftE1KA63R6hOSo1/2DHjeodoOqPyR6jX7HttL9tV4H5w+6rXU76nGVfkc9RflFupBO5KpNZXZKuRlSGZ0TPVjnLpV7WEdpa+FnoR1pk+Vr9e5in2CVwLhZuW+XWuMhaT2mUoPyU6X7VqpDo2WiUTvSqB1B+4561GiaGrULvV69V50brcm9lqReOfZaLnqtfb3q2Gs56TU3verap+tM6T69bifdhv2DWoxB89ar3oPao15V77VW9lqvBrV3g9qrPtWTJtUT+JKiV6NHoQ708bwh+VitlvNe7YQwhcc8JjUaVTP7T6hLteZUSnKTct4nhWv9LjnqVLle79urMl06r9PtqPt73eK4QX/HttUtyjOYrJalNn2qk13JpRQWptYzJ73mpGkeUl7QLufSiXa5VqskNWvS0jbpeb2DfYJ9AcEp/ZZ90j71E5CSQa/UpxrVpZxkOwxNcsvfpvIDTXCE5KjV/Z3mtNVUtUl9/N7pfmwb3d/qd5w/6Rb7Zz0O90O9hcK1pg9Ko/2Al9OlktmpCnXyvuvkT9cr/nKbNG2T8m2qH20qxW1qG5rUbjXJQjYr9+1T3RoS7SmVLvQrq9QOVZof9Adh1xpND/ywZuW4Ubch17PWnjn1XMTuzFqSZ633s9qHWdM/q52Z9Xqzcp/VDs2a/nnlPr1uJ93K/knPmzQdY9qP+1Z6/KDbUX9vdYvrZvuULQbs+axXQ3+hW7l/tk+zphj2KXvROdeNqpn9J/htjaaoU/s06/XapHCt3yVHjV6z1Ry0qkyTzut0O+r+Xrc4btDfsW11m+1Tr3dGCUJ5rZPnXyd71iZ7LntFi1a3lV4Jecn2CX5+l6wD+mdtajVRGuDr5J52o3VjXrFd2SeFFapW8jJpLrN9gk84p7QgvUOqs10qR7VeZ9AjJEe17m/0OChQJ/Xxe6f7sW10f6vfcf6kW+yf9Tjcb1BlkPta0welYZ/apDW2OU8oy9AN1us6pn/Uba9blOZJvze6rXSLcoPz5HogDDsEa4WWaUjbTre9bnFcpd9H3YoHIukYkqUWT2RIv4/6Xe4zqEUa1CINqtyg1x20Tg6ajkHTMWi+BrUQQ/JMxnTepFvZP6V0DHp8o1vcf9bjcN3st6J9QBmXfMLDHfT8QXXAfcABXm+v+yfVr1bdK93Wet1edZPvTdJz1O+DblvdX+u20/29fq902+p+XA/HNfp7o99n3cKvQT4rTe+o2163KJezpn9S3WbdDnp9pH9WPXB8r1uUn1q3k943RzjkuEb1w36Ud5RflL9O74d0zrqF7ihHaCFGPQ9blAtJR6X7a81PrTrWqmuduFT6vdLzJv0Ozxznd/p91u+9bnE86l2r6UC6Bt22ml/oDwU7rWNSZnNPLPuOsDTZVx8S7aw32r7WIebQJPWaZI2blfvmuANSkLnWKWZXpXMrLf3NSsvb6bbXrViPSf2XUf0b0KxSD6JSMtkPr1KZrFItrpJdrFyOLqLsVEnVKtnJKuWqSja5Sla5Su1xlSx3lcpc5fqVq0zpU47e55QO6dwmfcrpm9MZ+W65FcWnOqVgTvfN/u+wokHuo+UUgHb2jseU5s5hfCB7RvB5m3RXsTltimNVrlqhM6Z9Q/rUpl/r9KlLv/ZpX5U+tenXfI98RpOOa9K+OX1COc3lD30t2C35BD+jT5ogLbWWMiEwp09Dum/OL9qF1VgWvLI8NiT2u1nROo9S5FGNOmmR25/ci85k55WrdCkl6ImgJNepfNQrJSq3cF3a16yUo1wuxfeZ1HcSNWdtqWY3q88zrxCvdE+lZ076HV46rtDp91m/97rF8bASbUpLTl9mCpWzLzUl1XLfG1ohui/2Mo/3oV3oE6t2hRpqUJUs4phoIdbVrNw3j7MMKX3ZSubSnMsB+ni15rpW21in/egDY1Rq1K2MJQgXjBugH9rrcb2W1V7P77Xc9Uq6d4hi1NqXR4SmTr+3eh/ZjxhUpX3yRs9r9L5N2j/p+Z0eX+kW9x91i3xA4TZ9yjV9TEflVqjT89H2IepQrzDNfT/kBmrm2BT68hiVmbWuSsnv3JgU7vV7p9tat7P+3uj3VreT7pfjBj1uTMdV+nul33E/tOFzOgJWK4/E5dhCjofOqaTVSe1Rt51eCXlBDcgxrjzGlq1aLm3IC+pQne6KklCl32D3mpU2F7mcNffwaJpkYWs3p7Qg3od6l8eg57RFDiVHve4fNKe9qj0k9fH7pL9jO+h+jEl3+r3R76N+b3WL41EfkXukq9Mt8tKkPOTo3ZDKMco4xn5F2+z15nGg3IOc06ccQ4RVGldKA/y5fF/4So3LsbMppTS3xbBtlUOktlf71Kud6dU+9Q59YIxKjbqVERVJz+QQ05r1u9TkKVl9tB6Vti+iy6Q6Tsp90jI+aTmaVLVJa+GktXBKsaVKW5dKW58q7Z/0/E6Pr3SL+4+6RT5glXJ9yx4LUjm6bJ+Qr2yfcEdQy5GNMakCNbMHli1Vo/doVUlRsE8K9/q9022t21l/b/R7q9tJ98txGI3t03GV/l7pd9wv26dOj8heVZM+5XF65BeeYK2twqR2aNJyPmntmlZ6KrCGuU9ep7a/VTverOQl26DsL9d6j/wbakH21+ekbqNXgn3KUZw8Htan0pbtE8pJr1uUJ8lRq/s7zSmO75L6+H3S37EddD/GpDv93uj3Ub+3usXxqI+tpgPp6nSb7X4eYc69iNwfhw80rdgseEioFa3LEch2hQ7KfpXqzOiy15R9Kty3S6oPKX0gUaX2rUpeWJV+xbgGrB5YoUahvwgPQq4FrwH9YIwzYiwA8WP0l1otYZgT02pJgH1GH7vVWoM5GRjZR18MerVamzGGjfYYMVmM/8N6IMKNeoF+R7tileAP1yv9BNwlxxl7vS6UbLVE5RG9NvWMupTbPBMtWyW09eiZd1onMbumSQrju9yn1pw0mgPM0mlUgUav1+hxtR7X6HG1KtKkba/bHCuZ9Mo5ptylT7BUea5G7i9Vemav14RabcpLHjOC99Im64BecOvqVAqREtSheoXSrPfAb8hB43IcA+Wj09zndiHfd0pp6VXr7AFD/U63bcqhXLfS/bXmtFK1q6Q+fkf8BdtO9yMqALqVfu/1e61b3G9SZZBSpA9KIy9NykOOguVxhjw2DY8Ls/DEZqF09y57TTnmmeewwSqNK6UBPlW+L9qCxuW5dbmFypEO+G2Vw1gd7EurNahV/wmRc9jrNh0vczGk9owO/UNJ1ag1edR6PzrMbun0PLEzY7qOcB81B6Peb9TaOmotHLUWjlq+RuUyajkZ1W6NWrJG5TWqlqPW1lFrzqilenR5vLpLuuYYEeYXNS7bp0HPz/Zp0JSBGiIi6JONLs88y/ZpTp8qvUetSkrOqqQwvktMGLN0Ks0BZulUqkCl6UFsd9bjpEQODrNoqrTtdZtj6Y1eOc+zy5/ynCbkF1a31tIwaikatXSNWrvGZHfQvtQux9Zrh94vbDD63GOyXJijKJRQMrJ9Qi3oVwgOqm6lVwKBHA+b06c+XTPbJ5STVs+f9AiJoEsdHFSzQb2RwU1Jffw+6H5sO92PkSHQrfR7r99r3eJ+kyrTajpaTR+UznY/98KuVWXR4lp9rmuHGdLSF0XLc73C6XqlRZBvGPO/Ti0jFM32HpYKSqNFQMlBWwc7dq265bnl6MHkuJ9sc/Qa7c918r7kf/hZ1w7jrfI/RtDhs12ntifbyWuHsViMyF67HFlHT0Wufe2k533tchwEcbQ8U/XawR+Qfj1mcl0nm4C5FNcr1lmYiyIYKbx2mFcHS3jthlSKrh3GMjHidu0wv67WknPt8vwDzFWEj4Q6hVp+vWLZrx3mAWC25bXLM2/hZ8HPhT+La2KO67WD/3Xt8jxxePnwoa4d5nzCYl6vlBwZ30bfBn0NzKa9dpi/jllV1w4ztjD36TpFYBD1ul6JuVw7zM3HPK1rhzlcOXp9naIFUo+EZhuf8rj5ZEfY8zE+YXzXUx+1g8crI5ObTua+SGnfcNL7l3kCoeRuOunZIIY3aDxCZixtOuktSJuLVkN6+jLbcYzH9NqLyxERGW+eYwpgwSRiKnGWTSdxUon6YxZvq610FY8QX7TS/myendRoP7z3x8i83Uq9tT7mEWNnXcyBjFjLODPGqqSNFku6qW1xoz3bOV4jKNOpjyKzsiXK1GiqtvwxlUNUf9SjNp3MfJw0jau2ZtZ2XYjMDrPqpTXu434ZBR5SnxezqBAF3dRWR+Jc4Rp4dmRS67jpMPNN/KZADN5ppR6FpEDGCzGT8jqmTI4ST7hLx8OnkzGlTTepjy5jFJKX1fEBmX0l7Cf1R7NPKqNQ0idu4j1lLg0sh8ydCvne1BRK5AD+II6V8bRN12hepfeFGK5YC6nRkq9WW2pEjMTPa2MJaRzmpmHOrZBotNctqRRfA+MJ4sFIfFlqkkT8xYuCJZu1pMrMMdFOoqNSH2XGssTcNtWDEk8YM7s2nMy6bzUdbToTMdCgQqXtuqSgdojXyuxkod7rfTGi1SkbmRUsR0hvEZ6b2AFJk4yXbDqJG2Lu5oaTOLXUgD6WokE9Q8zllFT06klUUYdGy460VOJTNdpXlPzIsyC91sdZLVOld5CoY+Py0x4Sz5DcScnC3A95AmfSs1q1LY1+w+yMWS2dlNBNl+MVEjGTOF8VFZA7YqxH5sDN0RZ2Wntz7FBKukRD2lg/xVYMDjHSKdWITSdz9qVm4RkPieyKtRQ7IbP20DMRGypRAZm3t6n1D1HWQVsDmXU3azpnvVubauagqZ8jIYlvIBIis+hklKCNV5DyLzP9ME4kT5AMqpNY7jqRnlVlpALzIuQ46c22yWpI7KFLNgzP+MhTKY1aMnga4kfLTLkuliCZPYc5tlIKhfOg9U3qImZtSCmetcS32rpMyQZfu9vWWM6flFjrMONdrtGrNZY+ch6VbdWqVaqTjLBMyRNotbWV2aqbDnPXZW546/AcjjyVM2mNGzR3Ui+vtSVsk03adDJ3Sp6NQB9N2iSpz00kgnkvmHNcOTy/iB7SppbqyqFXJCPbndoiGXuZtdXEPK02tbCD1s1GqY0xtY3Wf5kTsan1UGarY0yu07rcrxAWC5xjL5OWa2kboCOeIJBrjtrKSH0cNL1DajtaVWrTybwmKdM5atVr69ConZFYdZ5pJE8btTGVk95pdBjvh42R8YJNtWsy7pOf5Ji1ZrV6jMRd85M8k+ZB2NbauuU5SBtOIi1tTKPUU5RU9CcmbT/EJo9qJyuHOVUbrk75aNRajtriIb6y4WQuMErPqD6KtLjSv9hw4gtKCZ3UPg1agsQz3nAyN1BGjTc1t62y6x1Ggm4fUWnrMjlEQyRSWyu9UWvwrKoIb2ldxEqN6gFizuWs5axX77ZJ3mWeBS/2SeZINPFeMhqPJ4t7bd8mvYvUnkFbKcyEG7SUderBVLrN45nyHGSbLG4+Cv26Xi3zoBZLShcig1J7q+S7jKoBPPxO7VSVSuy4Ql5iXKP6wk2ynJNeeUPLcKWt06bWAukhDElxlHCxZxJhECvU6TEyF0EiQJ2WZ5lri7nKo1oD8d2rmOZalcDTj53WoEm9mVl9jhzrrLTcyW+ttvPi70gplGeQZJ7kppKQGiOeAGpUpT6M9CereKVJW1n8DS4/VTcqA7H+my7HVaWsdOmsTfXaMN43qteHut4qCbF5mGVbaa4GJSrj+PkZpUm167WObmo5z/MMer0L+kWYPb6h5ULiYp22fINDbFH85z55J63WrfxMi1jQUdv/TYe43qzlUSLV4ie0rk7qyPNis+rbaxkRFQf1gWaHkW2ZTyLebq3Wu1X7glhxrcTkCptaCmTuFKL0o5Z8eapW/PrOYeastOSTenzSa+q0Rc5PLjSakl59ukbPz6VMvMRGLafEWCf1JhChqNWioj+U263G4ak7Kat1qsOT2kXE/uBndGqhZaQHURQZkazVZxo0pzIijnG+0eGpH7F0rVootAAgMWirPTiMVmIW8YZau1b9LsxhqrVVmrWfI/0eyanMm5IcIKaJWVpj8sQn7Z1UDk/N/h4xhOxXyZMfs8Ooa6N+QK12alLtRocxuMfjAegrN2ptR61Pcv/c95cew6yWqFH7LXaojWq02qaLnRFPAr3A7CfAOsh8jk3Xa10VTdfrW6HNGVKZblW1/Gxsoz4IogzShmLe64ba7MphroPcRWpFo9apSdZsUosza4mRVGUrLk90SN3Y1LKFWfkbyV5UWlOlLk6qM+K5s3oyvXokiEdhZQQwbjTVjV5doljDSo4kvgrr0DpEJzCvt1ULISqK1ylPjcF3XcfCIRaOHiPs/KDtMmazSHuCXnCt18H4D54DntTSiQWTmf94/kNKjNjrUX1c+EGtWrBarSx4DupD5KeNu9RGwqqL34rnN2WsdtJWqlatpcVD/3lSmy2Rpi6WPTzNIHVO6nuvfhbilZif9Fg8adQWU9pzxCVn9bPQN5HRx059nNrlWBDWSYFXKfMWNvWq0rrmOW6DWqRWy/Sgtqt1iOQ1eo1aa/2gpQIzlh6OW0nb22m+W+2rdQ6j0dWK51Y7RHs7LedV8saEjFgNudegqZAjpK5K7148U9jBPA9MfHOpQ5VqjOuLfZeaPal9kJhx7ntV6fhGlepTOzU7jEd3WvPkuEFz0cTjpFWSyC3GuHvVFF4rfCzQy3NaK62hlZasKXkr93lD9/tQct6gdXnUVq7XtgSzqeF/rqYN5Qotj1iJ2SGKdxdHzMKRtmJys95r+OR4xMtnbX1F9exN3WQkJUmu2uh+rKIgUbBNh0hSrxZycIhF3PSpZRwCFkJS2KmdmbXejWrnpO3b1FrYaxs1aFm+VuvZaHu5+oceEpSq1Ieq1KZJHwtzC+SeldYWmTGO8QvM5lnvbyO2peLnikUQi9xrOz+vjCB8+tckKzdpmzarpZQezZZSu+vcQb0eKeESAZQ5WEL2oftuaM9kdjnKIVamUc1Xz5Yee6vtongfrXpoaEfh6TQOT/ghh31qUzYd1vF4vE/ca/uIlm3W1nlymDfy+X8bTiIAEmGTuGSTPLVVKnelefWvVcvSJ48lq1G5/o57t1qPxP/vtX2VvuBdx9/8u10C7s/J3X+P373XNlW85Vm9ihwLfKgkrqYLs8jv+xPb3mscRfoG0qPCcxiIrkjfFfNosTpLrXWm0folZRjzqMUiSQuX1RDPvlMPE6NoaEvFYvTqGW+qjzUka4D2ZNJ2XsrspL6/PKvX6n0mtUZ9SmXnMNaCVZ6yly/WFzFgRGfQ58AM6lH9FESXZv2lSn7yzRLSq8fTp/4Gnk+VSGStPnudarf0wDAetan3EN8A43lzarU3HVZV2NB+3qTe5GZq11ef34PXLGtQbaqOs8Nsx1p7poh9SU9A/Ij6k/xtqI9WO4xczFpWqlSS5Rli+EV5/YzWYQyjV28G9rbRa8u4GeJNm1rzNxzms0vLh1UkNpzMu560VIxaM8XDlPLbaCsmXgZG+jA/b1ixILJf+sCDtkiybtLNCNqoaam1FR91z+r17xpJxDMvEgFptA8vucd6FyhBs0P8FmP94U+imrXDfAK51qA9ijzPYta7YpxO0tpqqyD9rUq1Fx9PvGw8kzw7RL1HtVvo1eB5oPVGoKTO3hyBqpO/DpawiphPjliztDbibXRqaaUP3Gp9qR1GOFctHEZj4clIDL5RjySP2E5qkW+O8oj1GpLmEsfBvAGM8klrOSkFqVky9jVpKzRrjyD3XvBMRKUWRuiO2vZL7Fa0bbUkjeoNSy2fXX6GHDlo1fuetO4hviDRS4xbyEhzfvpP7i59aoz9iZ3HCgSDy2NMrVqu/Gww2qdBbTHGgjBT/lr9WEmflKBe7Q1mAg3q03eqK0bUMftZ4iaNtvHw1SWmiCfvJGIjPSPx/2XUe7U2SOskUdhWPULMUbjZcsJiDWqDMXNH/H/MARErXWtvpE72RNrGKtm1UXuQmL0v5b1S+12rx445jrVet3eIWkxqJeExT+rbSn9oU1tGSTHWmJR0tarHoCVE+hJtqh2r8yCqG79U6j3LKEuT2hE8WYXWEhEOjIJUes1Oj7k9CoK8ycinjGJJ7ArPlEpMstY6IWu+9Q4zYaSlk3RILwJ3lh7F7NC7khYFPoRY61Z7WNIWiO2btU/U67Xr1PPBuK60OY1DPxjHdFrPJK7WqYXvtMQj9or5j10qQ5vqO00uP3H86+ZCdOpziUXrU+rQSmHNDolhbjr0i8VjnbWMtW7T4QmlXts7sbCb2hZILA99EIn1Sw1r9KqIQY+pDGFWf6c9lbxaSuUwg0MiWVUqWfl5AunVwC8U/wKzWCV+mCNDndoXrHvX6dXb9Ls884i1BXK/QcY+ENPDM6DiaXd6fazWlNsUiZrlGFG18oennWVmTqethbSOtcNaWpPDmhdSGuRuYhMmh7WNW4cxTplhInayT+nHXITa5fkpnVpsaYEwYjBryyAxeYwRSTRFRr/GFY8Zlki8r1nbPUQSEUHDbBx42eKPSp8QZb9zWNWzc4hpTGrjQUiY1trmYJy6Ui8Sz0vVaoVmzavE33uHta0mpd6pn3DTD9hINhzcZm2HxWpivFzKKCKek4P3jzmqQ/ISpQVEZENqIJ7EEh+p0dYO/SewxwymyiH6WWlty0/pNqm9aLSWSF829yDGVK+lBKF9wPyANqUTkTCMYs7aask8lc5hdij61UJYWoVGey2NwyyQIdWBPBYnHoKMYmHV4Q2H8bkmlgqZKyitZLYkUjalBzBqKUfUfkgpx7MYmK+FWWeNwxq5iI2PLke7kDOh2qSS8Fj/e0NbU5lPMmiJET8Ma0VI5B9WrNHWc9QamK3FqNYCs1YwslA5rIaKMSnM0kKbuP5cNYzryupK6FW3WkY7hxXPZc5ro3lqlBfmnz82V018Z+nFNZpGaefEH5LedeUw03DUEoQ5StcO88Tz8yuj1uncHjdaw/BsvaR8Sv77sFI+pP+ZRzHyHEyJmEvvSEon5jng6UqM0YvnNGr7h5FBrI3aq19WOUSbMdqGNcLm5BmjjyP+9ezWmZWGWdJN8oZkDVhED0WzzeSlDA4RzWzVpLeB3iXmM7UOTwr36gk1KZ/oJWNervhEsH0yFjOpj5mfEpGYQeMqTWevXLE+CCK6s9b2Tv2+1SeBK7VyGDms9b6z1hhpNTG3L/vxncPIeav1GW22+JFCCiubYKZLo+UYtgzPusE3lPyJ79NpXcZK44/NR5OVXVqtBVIy4engSYg6pap1eS7P6PD8icTApAcu7bxY587lVRar1IepUu2ftDXFGofoC2NujvSU8CTmhsP83DGVEGn5OodVFDYcnpCa1fPMs9awGuHSs9Iwf6XXcoDoEmJl0qLPWpdlJoaMIdQur/Yyq28qfkWneZd8iYcjo0Kza1Y8g0l9ofz8HmYwd1oCK21f0F9r1EtGmy82K48OZ39n9U5SAmuH52NlRF4I9NpPwupfGPUWDxHjA1J3J20bMVL++LMYYkUnrY2YByCRdqmLDz2ZUKsFkD6FWEHxAfBc7ePPLoh3P2qrJpHuShXA839SZqT129QzMTaFeGmrRAe19rgubBpKN7RA9EF4YWW5DW2nKvU0MCt/SpYNlrhX7hK9vDkquOGwptnoMBNBat7ksIZrttxD6gNVqkDnMANLeqt9Yis9sUFtKp61fIp/q2MSjZabTfUZYXnFY5y0ncOqmfkPq4E1qlyXON81WvHwH0YKe/XuNhMtRKLX+dtwj0e0Jfe3Y9Q3r/Jbxi9Xr/N43FTyPjrMdMJMGUQTa4cxZInxY7wA9rBXfxOxIJTS5kbqNpw8iSGe4aAtEEbAW7XYs/oU6JGhxXk8gvq4Dg9Hij7v73Ou9ltGk2+WiMeiJb3DKESl/h1iPJ3DHPNK65JEmOQ7nggYteyvkpS5nJV6pWK/8TQjejQSQd90GEXsHHqfKOtSBqUN3lRfWjwo6bWJT9E5zLCR+RKYnwWb+ng05bEysNoT3lB7MiVfFPE+6dHebzFu96hX/9bp60qNe7wnm/9+y6yCVQXW6Un16t2LvcCMMymBQgOzSDFjdHRY4R3z1qXN3HSIXQ0OcWpYAswkmV1+kmRweOIao5itw2xJKX9Y70lmbOH5llX2KEnSi630rPZGP2fDjeo5YSyocXiCB/0YzDN6qDf00N/neGmj/vXay5g076BwP8/173L7zHV8qvD3uDd087rrz2DBU8Di+2FmlYzK5qf3am0F8tgynijCc2kbrlGvT3htahmFz5TX3Rq01W219MKPbT/RBxFGrPoHzy3HLlutTxi5xFgCxgla7X1I72/TYUX+WtsIzNKd1P40Dis1bTg8M9FqfqS3M6g+ed2zRnuBmw5zbPNz4uhjixUV+4JZupi/vM4xubzIHNxeW+pGvfn20V8xU6lR+4UnZYQYVodb5xi0OYN6h5W2J1hz5uFfseaP9GPE+mxqHcCKJ48fIdYYbX2t6t9fR1dtuJQ3jEZuOqxFMjk8Hb3psNbdoG1QpzUDkbONB66zceeVNu651oZ7fMbrQ8/1flrzb9YZzFee1KLIuHheXXJKWkv9kHk1t/0geQYh1wU8LyMea37q6tMaPKjll2NmPX50WEmo1hrTp77xrLZFfG6sITVoSyitNerdp/Ze7jqp9UKUF+ucSI9aajvWZYCPNDrMhZdREvHQZ/WT8VY46ZvKOEynUaLp3r33txmPzS1f7xjEgKvUe8UzyXlF4VmtKyLr8NfwrGajLa6UOUTg0I/Odufh+2yscaeNR++14R6fDQ/KWJFS4q0SC8BM39VVWfPKADKCI1EqrI8r9rJTC9+q3cU7uOBHVuoP4OkXKYESaZa5ebNrXXejRG6k6ID47Vhj+b79UgZlzB4zCeQTRrjbtY749A8rUOO9fnherde2S6wRZrFhVQ5p63ot0ZJnaWkRscJM91FrGdrL26nYUL+oVx8Oqxh2SW3EA/FUQV7jB7OdOi1p0lYPLs99RJQaTw2KRzE7xCFa9Rgxy29IPg5Wid1wWCVLPDmx0XjOB28nkLdAyHharx6IlMzcJm04icm26o10ag16hzla0hJg5letbQVme+DdNY16TvJUtUSBJc6JFeo31HfCjExpU6SHi3F1mWEjcUSJQGxqGcDsAkSRJQ/CEU+gzskjGLSNkFZKnsyc1VuuU9v28DN2G9qijQ6j9cK119KL+ZDSvx615udVusQK1lpWK60FWEUG8xoww2B41BfYSGVKrIeMQGH+dZ+88E2HdZzl995h9miX2jKsIoyn8mWFgk21YqPD+v6rf1AVz3ahjfq05mCtiNGtznNrtS5ifBDv3pJSO6n1XY1x3q8Eanqb6LRqIfCmBYyRycgrZn3VDs/8iv3If5PW0vxU16A9lcblsYVebcLtfNd6b4nRNOoVYz1paR9Gl+cNIWaRVweTOWt4Rh5PVyLOe/e1N9a4+saD18dTJA89lXeX/lhfstU6I2MwjfYnMTOzdeiVbTqsxykjJpPWiNFh3qL0h27qKvNiZMxZbCDWaMFMZonNYF0GjBtfq90QC3bzr3ZYOfnudLR3pAPjSZXDHJDrFYuC9lquhyfCET2Tuaijy2O8g8Nboepk9cWf3NQjZWxfWnN4vKP2tWSeVOWwzuCoNQH2Z1AlsN746DDGLqPQYg3EK/u0HN+s73c/Pf94RPzuP5lngzGUPFKNldM/vf/d65Gt/sms0bwusFjvST2NWfOKOeMytid2oNJ2AeO8lcNqBYO2ho2WJsxImd2nsZv7/aKHvKYN9/jz2+IxPt7urtOm3t9ejsnKPH6nddrvh1vnUevs421vpXQxD75yGDOWNlcIy+yBTls8zP/6tCTJjDaxQI3DPMJJPbL8LHyjVh4RyE7b/E97bRsO88nwBDueN8Y6nfDQJK35yYBGfcbbUWdRScbvMfKT57e3LkclMLqT39CIZ+1bh3mOlcuzuFdbKfAT/VvtWWOdTzyXgBFmeHaz2h6sdbp6xV7/Bo1nIFV5TZ8mnSmjDHiH6qyek8SzRtUTsXXMa0L7jCcHJHerduuutRbP3YXfc+H3nKc1Fq9/9T+xQe1ae//If3/sHfPVH7/P8nm3/O/z1Pj12q1bDpdKz+9Ten5rah/as/5vd+1/Op/+2Bz817n6Q98eK8HlKZcsXb9Ogd+q2x+hu12WFtX69bWr/KeS6VmnfXzMzqzbxn5u7f2c9ns96p/Xjn9u6n99rn6b5frtvs36ftbvUfd+f66/lumv99g+r658Xu36PevuEnR/jb6/tr5+rk3/dbbt80rOr7cfv9+9fuu/dcvFH1+q+Ymf+OmP+fRrW9Rf3y6Uz/Pn6PB0Pq1nd/8rafRHl93f5gfZYP5f5dN/xbL7eb7s5/mr5XP4uam3VmL+u1vW+718lksbrJcpl5/fv/utV1+/t/x5Zffz9titnevXsd9H0c+jaKdG/jEl9vcrV8tbm8+x6et4KL+W/WO17Y9V7I8oseuq8ZjN+2MsrU3drNZy67p9Tp39o/LyW0mWrIPL293/vp/+CB1+7/KyVKrW9RU+p539o8r5H+OJ/f6Wb+nr/NayE+b8fjrH96/uo/8U9n4bf9lzW+7M//3o/4Xff91zC/zjH//4xz/+8Y9//OMf//74v+DjP+zPhyNexSP+lp7/C3tl37/HXsG+P/bYnfrvx/68E3068Nj9v3isrPckvQnsC72IPX9G+PS93/OveK/n/kr7/gqX/hoX7k+u1rUGKvcXn9a7f+3v/RVPVT/0a33Pr50+V373r/ODqZr12ef7fq0fPLd58Nf2wV/vT7M8Wd/ck1+sYHzfuQ/lt1W+9/96f45a5XD/r/fnSJ4Nvv/X5gEKsoJSd8+vovJ952IV84d+bR78tX3k17sZya/3pxmr4N//6/jIr8ODv44P/jrf++v9ZQO/3pdfrCtx969Ybf/uXx8qsfj17vu+cP/p3rvX/lvYG2zjXUe99se999bv2B367XO3E//fXuPYF37/Wfx+4D743x8/4437+pHj30Zb/HiqcdxX7p/+mPDppd/z8LE7fu+V37Y+1d8+eORubB8OohLnMV504f+/64yv/eeLeNx+bDve+zbnF98arHfs1/4+vyQlHz7n7hTj9xe+FduN29DyHcRW7MRrs945lzE6FtR+OJc4I+TxyN/hg//3mDI456VP04E//p/+zLvZ3z7jlftyreNCGVvnuDf++3qKfOXT+UPM255P9b/WOued/3YUlV/n6G3vg6x3XPBfvov6/bxmGcjnoHasc9aOT/vJmsfuxvK790g5x9Ffx2NPHjl2z5ejo0eOCSX0o///4aNuWqXHy0c48nClNr6Nnt/jdfL2edt++3BZeemP2E9l6+FjX/ucnvrjjx9JRbCU5zGte9Fm3m0DcfQ7n6/XjxxxGHO15X7yvwVfOPC+9NtTn+6H0yx1IDNY13rePu+Nv++ep7fOOVtRp3WOlLZIWoF1jpfW6nPzsOtL/fMHj3y8nMgRj5dcHIcSKK3m42cE+/CD/3voSLSWj6Uh2A2U02Bx9mLL87Ad2Yl9rQt/xqX//fFjrz6zZcvnrNuy4YzPadlwzvotG854rGXDcetof7VWy4YjP6dlwznrtWw4+rGWLR+3fsv26TnrtGw4a73WCkev01rhmEBSynsgcP5IefnGXdyy/VvxCPn+J3/eK3+dQPOd+8Jtevbbaxz177GVffy4V740vVnjuNe+/fvbGsf9h//9/I7jXsTW8zxamOfRymzeOvcvMYKSYyV/vbUeE1YWl5VcZUXa1l2nFRLlPc2Vu9bVv2SdaFlJSt5pIO9JknXe+nikrM3d6aq48tZNvPNNVsG9jv0wGV+WtdvwxuH8bqxet/IrVvTEe+sr3coI9RyPuXZYFz5ca3SySqHskf/xhnVZp1jW0ZNfZGUsOR8paJ2sjCnr14WrT07WuJfRblnXWd4XKOvTXTt5Z4K8iS6/IVPeKHetK4nKm1LxzvnWXTu8RU2uLHeUVIpiopPkVY4RhWWlcVFKiEiusZq2vBPk2uGtTJIjeQdp5WSFz3CkvGNTlG6drJUvq5vLqtvXumKlrEcm75jpdR3T1l3runiy1r2s/ijvzx20VEiqJOWSqmvV41rL2XWMB921XtifV2J+N397Hv3TM18XnrkN/y/YhWApnmn/9Dzah2+9DZOW6aN63WH/i3jmafxf2rpnvraEq8OzC0eFNv5K28/Vs8UbPYh1L5z5P/1Z4hk987Xvx3jOmf8V5zzzViPsufI1F9d+5e/1o2/7wj2fxTuFVPwzpedbzdE//Tnnsc7v63liBf/s/leyhP/bH/tjzPm/x6NP43658o8+pdi/7z+987+KMv9csZDPkiLP1JL86I/ec4jNisKvvX29qe7nXwOtyep10NYcRA/lWcxjiBscxLP+l/bzoff//uTO12r3Jcfo31xHD+ksWr+L6OP+EGntxvtcRu8mpE3SIPGIZ7dalHO/ZyceH7yOq3SVsP8wpvqj/yRRjmfR4zvTFEGBn1OJCmcEfaSkfRupSL9JlJGW7tt4pHiEN/P13DPfWSkrZ06iNqfxDrdVyJ7EM/X1z1JpfO2v9OKenK1/lVVv/Tr6T880+nS4ktqrqFX4tn3HUbhm0A51+U0sZdDm03Nu/56vIfXymfrmz9RXv5nSZ550LpMhl59/hV13obX0+tYvX/pPP0S2YI341n3W5Fmszc9iv+9DHOv4NvbIzlLJXOUh/eUNTfGzZImEy7cp5RLNuzv9j6XkP/zZx8r4b/rrZbz+Q+c+j2XoOFpQ1LTP1UBS+WPst4u+4Y6rZfA+i7w+hftK95uo7D+jZmHPx09Uu1kXb1sJ6e1l+3DX8Wex7QrpumnRbh99u6atRxk2We60aidEL7QRN+uPpOVCWyypD+taAMQOYInvKrFS89e1WrfvAKtwfE/axZLdvMZ92txm9FDNelz7XLegwvW917idixfRoznWe8voprT3B7HtEhVhZS7dRTz/X2qxz9WXkByc6TmXesSup7WXauvDv396vb/FvoSU6r177nmzRAjLcL0jLc/H8bibHG56K9faUkKfFzdKRNDrMpaTI1XjWfzlW61HEis71xL3o1qOu/28u+zFM+1/ii+56p/czulX0S79qJ7Cv+6oU9d6rXDly5jSjZj+v63YnPN7jrodZbn7KIkigMZ997vpP30V9drz1zxIub77zE89zLt81bvOfKlxqPMVOlt61MW9Z6E3f77ie4v6991lNd4Tvoezflb/8CHdbmuy/pk3I1nPUi/7MnJ46MxX8Z6XqsaXqssPD56DUgJPPUdQ7j5+tfZ9SmrVot08+9zBh7/PDr+I9fNiJSUov7lUr3PUOmXxsausx/1z0/LrrnJXL+zx9D9WOx67wu2acn</a:t>
            </a:r>
          </a:p>
        </p:txBody>
      </p:sp>
      <p:sp>
        <p:nvSpPr>
          <p:cNvPr id="30" name="WORKBKFUNCTIONCACHE1" hidden="1">
            <a:extLst>
              <a:ext uri="{FF2B5EF4-FFF2-40B4-BE49-F238E27FC236}">
                <a16:creationId xmlns:a16="http://schemas.microsoft.com/office/drawing/2014/main" id="{7310C003-084B-4170-A082-4F8D9C925316}"/>
              </a:ext>
            </a:extLst>
          </p:cNvPr>
          <p:cNvSpPr txBox="1">
            <a:spLocks noChangeArrowheads="1"/>
          </p:cNvSpPr>
          <p:nvPr/>
        </p:nvSpPr>
        <p:spPr bwMode="auto">
          <a:xfrm>
            <a:off x="2344277" y="3026851"/>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Gjrjx29qe25bEzHiqHj517O9L5+BmP1ZTHzscIGvz3h49ev848dKXP73eF8YnVtuv6hjcSUgaPYbWtXIfuTQuVe9I3/aA8qnWgKbjPn/10ZOu2j/qpTmF8MBA8vtXLR+pv30NGu0T3/y9eH6NeuWWGVnkU7C6fcnUcJJ+Tx0MOosWRfNw8czUufKyKPuyLB89C4jkX6nVIL+G2OiFNG75nf6bpwXF3RS9uR3seU+72WOb9R2arsRdtHq58d9ToU1VXR4ouk/V4TCMpn7nPGuj+X7X58m213IPXF/F6B7FM3FVacj2ScccQTflXLOmS1h9cjpSt6vFpv+dmj0AswmU8+jjGW9Y7B30NRIruatlQF296yajl76KGYP5w+fjUa71pI+4+5q6rrZuSm9dHLh+ON65aph817nM70nBT109TeDeRl/Gu2Rq90H7LP93BZ14Z3B735u/WD0o81J+53eP7T3cQU/vszrPvinP/93w+7nNmEt8/a/jP6dzd6FWcxTIjvxzGNirbwhfRMh7F3/9/nCUMKA==&lt;/compressed&gt;</a:t>
            </a:r>
          </a:p>
          <a:p>
            <a:pPr algn="l" rtl="0">
              <a:defRPr sz="1000"/>
            </a:pPr>
            <a:endParaRPr lang="en-US" sz="1000" b="0" i="0" u="none" strike="noStrike" baseline="0">
              <a:solidFill>
                <a:srgbClr val="000000"/>
              </a:solidFill>
              <a:latin typeface="Arial"/>
              <a:cs typeface="Arial"/>
            </a:endParaRPr>
          </a:p>
          <a:p>
            <a:pPr algn="l" rtl="0">
              <a:defRPr sz="1000"/>
            </a:pPr>
            <a:endParaRPr lang="en-US" sz="1000" b="0" i="0" u="none" strike="noStrike" baseline="0">
              <a:solidFill>
                <a:srgbClr val="000000"/>
              </a:solidFill>
              <a:latin typeface="Arial"/>
              <a:cs typeface="Arial"/>
            </a:endParaRPr>
          </a:p>
        </p:txBody>
      </p:sp>
      <p:sp>
        <p:nvSpPr>
          <p:cNvPr id="31" name="WORKBKFUNCTIONCACHE" hidden="1">
            <a:extLst>
              <a:ext uri="{FF2B5EF4-FFF2-40B4-BE49-F238E27FC236}">
                <a16:creationId xmlns:a16="http://schemas.microsoft.com/office/drawing/2014/main" id="{720078BC-5008-446D-B98C-CD755D76094A}"/>
              </a:ext>
            </a:extLst>
          </p:cNvPr>
          <p:cNvSpPr txBox="1">
            <a:spLocks noChangeArrowheads="1"/>
          </p:cNvSpPr>
          <p:nvPr/>
        </p:nvSpPr>
        <p:spPr bwMode="auto">
          <a:xfrm>
            <a:off x="2344277" y="3026851"/>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lt;compressed size="651798"&gt;eJztvQtvHTe2ps2fYkwDgxngk7ruF3TPARwf2fGBYwtS0oODRsOQFamlJFYU3ZIe6Md/JNd6yS1Zl+1cikvnvBDs2rt2Xcj3IRcXF1msv7pDd+lO3L67cMfuR//phdvz347cgfs391f3rf924f/t+t8u3Zn/5cA980ftuY/+0/9x/8O9dK/dW/fc/3vhtvz3Z+5DvML37p/++B/j1b91p/7TVTz+ufvB/73323DPa9e4yv/1/tPf3X/6a+75s/7hv/1Pf9SF+4u/c7jnSdwfUvjM/c1vD9zP/oh/xiPCmW9j2g9unLnl94RcXbh/+bNexPSfxWvt+z33nf13n58XbtufcXPvr/v2P6KKr/y3C5/uPZ+yS1X23Kfs/8XPtevc7Ea/788re//qFd7zuoVP3/s9//K//dsnavxJdbyM1/5LUvBPquvk9237fXL0t37/d5HIX5KKf/oMpW9qGu79yr3xLN+4d+4Ltxl1+8tKPvO1t+NVD+LZmcUz97W/z0U8Pt8j5GhfS86Fv0atean8b8LmTyuUwhVOvdZ/iVc992f86JWr/THbsfx969P37z7FV7eOaPwRku6b+1u/fzfm8MDvu/lb538LOQ6l5r8viZ4kDJBofU5mkjBDoiYJAyR6thMmSHT+jyQskOhji92RRHESo/Z0SMICiZ4kDJCY2bMzRKImCRMkatYJIyQakjBCoiUJIyTYs7NAool5aRh3MkCiZ1TcCImBJIyQYM/OBok29ibYs7NBgj07KyTYs7NCgj07KyTYs7NCguPYNkg09J1MkJhiTmqO2Rkh0bFOFCchMXFaJwskepIwRKIhCSMkWpIwQ4IjRTZI0HeyQmIgCSMkRpIwQ4J9bCskBpIwQmIkCSMkZpIwQILj2JZIsGdXnsTAOmGKBH0nGyQ4G9MCiZGzMY2QCOOnXLfDAgnOULZFgl6sBRI9SRgg8cLn6r1X/iTuDWvtkUhZIkFzUfPQb/M8g/cc1TPK6Lnbif9vk4spLnJu+H7gPsQzSMcOnTf+HLKxyeYrf9xHv/+9e+mvR5+gNJ237iDSgEUL/toVqRihIt7ze3/OnvvFb0Vp8rHEJxx74o8kExtM2MLY5LLt/7ZIwwiNHb/3ym9bf+a3pGKEym487iD2+c/9X9h7TjqF6ewona14jRN/99Dek0tpLnLMe91/Fgn94tUnF2tc0H+R65CPFT5s+e2w+Og/nTnGK60QeeHvthu3e1GnM233yccan6wNfTJrdIJHduTT8CGmg3ys8XkZr3Tsjz9i22OOziv3JZkYYxIYkIktJm/8d3pm1qh85e//Q0xDuOa/yMcYn3f+21HME8nYIrPt70Am1pgEhb+LPvPPjJwZ5oMZACRki9COXodcbHHZjaM0exw5M0fm68jlhFzMcNnzmhyRhxkeQY0wckYiVojwyZinwIVxTJt0juOszHBNxsus0Al15nBlFtNbv//EcS6TZUasQdbonLK2mOHx0h+37zA6w3pihctrr8WpP/aYdcUQkxOvyaVGYkJaScYOmauoz0WK/zOGaYXOzVUYZCYg4wFW6TAaYI2NrJshz2mSjA0y7/x5r0nDDI3D2Offcj/53469/mEs89JvT/357NXY4RTmmeUoJ59tts/ojU/HnvcNyMcWn60YISAVW1Toq9llI9402xy7hFbH09jyWKUkCh+SizEuu/6uz0nFCBWOO9ujweimRSaYqSFrnJKOJTpB3R9iXknFAhWs1kg7ZomJnE8ednhg7kx4BjB8Ih9bfIImZ/6XfXIxxeXKcZ0z+3yyNoxhWqPDdc5s8+E6Z5bpcJ0ze0zY17THhOucWaTCdc5s8+E6Z1bJcJ0zi0y4ztnT4MN1zmwS4siATS5c58wqGa5zZovLbtRj331PIkaIoIaEWJmMbIZYwDkjzcYIhefROW/GCpNv4p25yokNKuc+L33MzRdk8RtY/N2fEcr0x9gO7MVzwxMU/7hD81rTXFHxRRXvqfiCirc+xTMVX1zxmoovqHhPO76o4p3/o+JLKt7HlrOj4ospPsY091R8UcV7Kr6g4jN7QAUUr6n4oorXLOMLK95Q8YUVb6n4woqzB7Sk4k1Mc8O4yoKK94zWLqz4QMUXVpw9oGUVb6M3zh7QsoqzB7S04uwBLa04e0BLK84e0NKKc5xzWcUb+iqLKj7FFNccA1pY8Y5lfDHFJVZLq7Kk4j0VL6B4Q8UXVryl4osrzhGJZRWnr7K04gMVX1jxkYovrjj7nEsrPlDxhRUfqfjCis9UfEHFOc5ZQnH2gJZTfGAZL6I4fZVlFecsuCUVHzkLbmHFw7gbn8tfUnHO9CyjOL3DJRXvqfiCir/wqcd7GkO+D6j8QsoHbUW1Q7/N483vOUpUmMVztxP/36b+RfQPCpzF7wfuQ7w7KSxP4Y3XmAzKMsAq8GG9/gO2zYtReOvPuFixRME/uqL6C6svXml+m7goSg4lOIT1X/nm0OW1ZwtQVv9t/7dF1RdWfcfvDe+OaH06+JaipdXfjecfxD5weAtB2Mt3ESxFYUcpbMUUnDh5Yzf1X0r/oOlFLPth/5mT9z/zvULl9If/L70xcliaA1vg5TX/6D+dOcbdllb+hb/qbtzuRT3OtP0lh1Icsgb0gUpRCB7QkT/+Q7wfOZTi8NKF9zMd+3sfsW0oRuGV+5LaF9I+aE3ty2gf3kpJT6iU+l85vO0wpIhvPCzF4Z3/dhTTTgJlCGz7K1H7UtoHJb+LvujPjAwZ4IARYpIoQ2Inpob6l9J/N44S7HGEphgBvL+e+i+t/57P+xF1X1z3kOswQkPll1aeTwZY0p/xuLIUjuMsuW1/HuNBS1MIdeBwZXbK23gG56hYYMEaUYrCKUv/4rq/9MftO4wOsNwvrf9rf/SpP/aYZb+A9ic+75cagQhpIoHlCVxFHS5SXJqxuKUp3HxaW2ZssX9cmgJ7x6UYyHP08hwZCSxL4J2/zmuqvrjqh7EPvOV+8r8de53D2Nil3576a7FXsDyPME8oR+v4LKUdFm/8OXu+jSaHMhy2Yo+Z6pdRn75ReQbipbJNKE9iddyGLUNpGqLkIfUvpP+uv/pzqr+w+hyvLKc6o3QltceIvaz1RwolKAQVf4h5ovpLqo9Vzmh/SmjPpzZK6Y65EuHZpb14LjmU4BDyfuZ/2af+RfS/clxnyA6HrAFjcaUocJ0hGxy4zpAFClxnqJz27JOV057rDJVUn+sM2eDAdYZKE+A6QyW15zpDtjhwnaGyJBixLqs/1xkqTYDrDJXRfzfme999T+UXVh4lPsSCZKQs9I3PGRktRCI858p5Ektr/008iqsbLKv+uU9zH1P9BTVfW/N/j2si3lQdV9+O1xUv/pmTGednquRFPD7f5TaNWnNTkYURFj1ZmGDR+rzMZGGIRU0WJlj0bC+MsOj8H1nYYNHHtrsjCwMsxpibniyMsOjJwgSLmX09UyxqsjDComa9MMOiIQszLFqyMMOCfT0bLJqYm4bxKBMsesbMzbAYyMIMC/b1rLBoY++CfT0rLNjXs8OCfT07LNjXs8OCfT07LDjebYVFQz/KCIsp5qXmuJ4ZFh3rhQEWEjGnjbLBoicLUywasjDDoiULQyw4lmSFBf0oOywGsjDDYiQLQyzY77bDYiALMyxGsjDDYiYLEyw43m2LBft6FlgMrBfGWNCPssKCczhtsBg5h9MMizDKyvVAbLDg3GZrLOjT2mDRk4UJFi98vvD20aDIAZkUZxJUFz0P/TbPSHjPkT+zlJ67nfj/NskYIyPnhu8H7kM8g3ws8XnjzyEdq3Tw1ovwHpIDegcG+Lz1512s2LXgu12Rixku4kuHFdP33C8Ob5AhIVuEwrF837AlKmxprJLZ9n9b5GGGx47fG94H1Poz+WY4O1x243EHMQ4Q3lET9p6TT3E+O8pnK17jxB3Hlp9kypORY97r/rPI6Be+Yc4kGfRn5DokZIcQfQBLND76T2eOkUw7TF7E64ftXlTqTD0AErJHKKtD/8wen+CdHflUfIgpISF7hF7GKx3744/YBhnk88p9SSrmqAQKpGKNSnjXM700e1y+cngbcbgm30hsj9A7/+0o5opsrLHZ9ncgFXtUgsbfRQ/6Z0bUTBPCTAEyssZoR69DMtbI7MZRnD2OrRlk83Ukc0IyhsjseVWOSMQQkaBHGFsjEztM+GTN0yDDCKdVPsdxJme4JuNodviEenO4Mufprd9/4jjzyTYl1iJ7fE5ZYwwReemP23cYvWFdsUPmtVfj1B97zPpiisqJV+VS4zMhtWRjic1VVOgijQ4wummHz811HWTuIGMEdvkwQmCPjqzFIc97ko0VNu/8ea/JwxCPwxgH2HI/+d+OPYEw3nnpt6f+fPZyLJEK89Jy/JPPST8FSm98Sva8l0BC1ghtxagBuVjjQr/NMh3xrdn2WGa0OuLGFsguJ9H4kGTMkdn193lOLma4cHTaIg/GPW1SwZwOWU2VfGzxCfr+EHNLLja4YE1IWjNbVOR8ErFEBPNswpOE4RMJWSMUVDnzv+yTjDEyV47rqD0FQlkdRjft8eE6atYJcR0123y4jppFKux9WqTCddRscuE6atYJcR01u2y4jppNKlxH7akQ4jpqVhlx3MAqGa6jZpcN11GzRmY3KrLvvicTM0xQS0IMTUY/Q3zgnFFoc4zC0+2cY2OHyjfx3lw7xQqXc5+bPubnC9L4TTT+7s8J5fpjbA/24tnh+Yt/3KF6ramuqPnCmvfUfFHNW5/mmZoX0Lym5otq3tOeL6x55/+o+bKa97EN7aj5gpqPMdU9NV9Y856aL6r5zD5REc1rar6w5jXL+eKaN9R8cc1bar645uwTLat5E1PdMN6yqOY9Y7mLaz5Q88U1Z59oac3b6J2zT7S05uwTLa85+0TLa84+0fKas0+0vOYcD11a84Z+y8KaTzHNNceJFte8YzlfUHOJ5NK2LKt5T82LaN5Q88U1b6l5Ac05ZrG05vRbltd8oOaLaz5S8wKasx+6vOYDNV9c85GaL675TM0X1ZzjoWU0Z59oSc0HlvNCmtNvWVpzzp1bVvORc+cW1zyMzvF5/2U15xzRUprTV1xW856aL6r5C59+vD8y5PyA2i+mfVBXdDv02zwy/Z4jScVpPHc78f9tEihEIGhwFr8fuA/x/uRQgsMbrzIplKaAVejDGwMO2EovyOGtP+NixR4FX+mK+i+uv/io+Z3noilJlCERVp3lW01LqM+WoDSBbf+3Rd0X133H7w1vsGh9SvjOpOX1343nH8R+cXgTQth7Tg6LcdhRDlsxDSdO3itOAssRCKpexPIf9p85eUc133JUkgD6A9I/I4nlSbAtLqH6R//pzDEit7z2L+J1wnYvKnKmLTFJlCORVaA/VI5D8IaO/PEf4h1JohyJly68L+rY3/2IbURBDq/cl1S/mPpBbapfSv3wxkx6ReX0/8rhPYwhTXwXYzkS7/y3o5h6MijFYNtfieqXUz9o+V30TH9mxMgECYwkk0UpFjsxPSRQjsBuHEXY4xhOQQbyHvcTEihAYM/n/ojKF1A+5DuM4VD75bXnkwW2CDBSV5rDcZxZt+3PY5xoeQ6hHhyuzGV5G8/gjBYbNFgrynE4ZQ0ooPxLf9y+w+gBy/7yBF77o0/9sccs/0XUP/G5v9S4REgVGZRgcBWVuEhRa0bpludw8/lvmePFPnN5Duwxl6Mgz+bL82hksDSDdz7/r6l7Ad0PY794y/3kfzv2Sofxs0u/PfXXYi+hBJEwryjH8fhcpiUab/w5e761JolSJLZiL5r6l9KffpIFCuKzsm2wwGJ1ZIctRHkeouUhCRQjsOuv95z6L64/RzVL6s74XVn1MbYvqwqSQxkOQccfYq6o/7L6Yy01WqEy6vO5j3LKY15FeAJqL55LEmVIhNyf+V/2SaAQgSvHdYwskcgqMEpXjgPXMbJCgusY2eDAdYxKqs9eWkn1uY5RWf25jpEVElzHqDwDrmNUVn2uY2SNBNcxKs2C8ezSBLiOUXkGXMeoFIHdmPN99z21X1x7lPoQI5LRtNBfPmfUtBiL8NQs51Qsr/438SiumbC0/uc+1X1M9xdUfW3VX3l93tx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byfTXl+ewon614jRN3HFt+kilPRo55r/vPIqNf+LY5k2TQn5HrkJAdQvQBLNH46D+dOUYy7TB54cKbwMJ2Lyp1ph4ACdkjlNWhf2aPT/DOjnwqPsSUkJA9Qi/jlY798UdsgwzyeeW+JBVzVAIFUrFGJbzxmV6aPS5fObyPOFyT7yS2R+id/3YUc0U21ths+zuQij0qQePvogf9MyNqpglhpgAZWWO0o9chGWtkduMozh7H1gyy+TqSOSEZQ2T2vCpHJGKISNAjjK2RiR0mfLLmaZBhhNMqn+M4kzNck3E0O3xCvTlcmfP01u8/cZz5ZJsSa5E9PqesMYaIvPTH7TuM3rCu2CHz2qtx6o89Zn0xReXEq3Kp8ZmQWrKxxOYqKnSRRgcY3bTD5+a6DjJ3kDECu3wYIbBHR9bikOc9ycYKm3f+vNfkYYjHYYwDbLmf/G/HnkAY77z021N/Pns5lkiFeWk5/snnpJ8CpTc+JXveSyAha4S2YtSAXKxxod9mmY741mx7LDNaHXFjC2SXk2h8SDLmyOz6Oz0nFzNcODptkQfjnjapYE6HrKZKPrb4BH1/iLklFxtcsCYkrZktKnI+iVgignk24UnC8ImErBEKqpz5X/ZJxhiZK8d11J4CoawOo5v2+HAdNeuEuI6abT5cR80iFfY+LVLhOmo2uXAdNeuEuI6aXTZcR80mFa6j9lQIcR01q4w4bmCVDNdRs8uG66hZI7MbFdl335OJGSaoJSGGJqOfIT5wzii0OUbh6XbOsbFD5Zt4b66dYoXLuc9NH/PzBWn8Jhp/9+eEcv0xtgd78ezw/MU/7lC91lRX1HxhzXtqvqjmrU/zTM0LaF5T80U172nPF9a883/UfFnN+9iGdtR8Qc3HmOqemi+seU/NF9V8Zp+oiOY1NV9Y85rlfHHNG2q+uOYtNV9cc/aJltW8ialuGG9ZVPOesdzFNR+o+eKas0+0tOZt9M7ZJ1pac/aJltecfaLlNWefaHnN2SdaXnOOhy6teUO/ZWHNp5jmmuNEi2vesZwvqLlEcmlbltW8p+ZFNG+o+eKat9S8gOYcs1hac/oty2s+UPPFNR+peQHN2Q9dXvOBmi+u+UjNF9d8puaLas7x0DKas0+0pOYDy3khzem3LK05584tq/nIuXOLax5G5/i8/7Kac45oKc3pKy6reU/NF9X8hU8/3h8Zcn5A7RfTPqgruh36bR6Zfs+RpOI0nrud+P82CRQiEDQ4i98P3Id4f3IoweGNV5kUSlPAKvThjQEHbKUX5PDWn3GxYo+Cr3RF/RfXX3zU/M5z0ZQkypAIq87yraYl1GdLUJrAtv/bou6L677j94Y3WLQ+JXxn0vL678bzD2K/OLwJIezl+xCW47CjHLZiGk6cvFecBJYjEFS9iOU/7D9z8o5qvuWoJAH0B6R/RhLLk2BbXEL1j/7TmWNEbnntX/gr7cbtXlTkTFtikihHIqtAf6gch+ANHfnjP8Q7kkQ5Ei9deF/Usb/7EduIghxeuS+pfjH1g9pUv5T64Y2Z9IrK6f+Vw3sYQ5r4LsZyJN75b0cx9WRQisG2vxLVL6d+0PK76Jn+zIiRCRIYSSaLUix2YnpIoByB3TiKsMcxnIIM5D3uJyRQgMCez/0RlS+gfMh3GMOh9strzycLbBFgpK40h+M4s27bn8c40fIcQj04XJnL8jaewRktNmiwVpTjcMoaUED5l/64fYfRA5b95Qm89kef+mOPWf6LqH/ic3+pcYmQKjIoweAqKnGRotaM0i3P4ebz3zLHi33m8hzYYy5HQZ7Nl+fRyGBpBu98/l9T9wK6H8Z+8Zb7yf927JUO42eXfnvqr8VeQgkiYV5RjuPxuUxLNN74c/Z8a00SpUhsxV409S+lP/0kCxTEZ2XbYIHF6sgOW4jyPETLQxIoRmDXX/E59V9cf45qltSd8buy6mNsX1YVJIcyHIKOP8RcUf9l9cdaarRCZdTncx/llMe8ivAE1F48lyTKkAi5P/O/7JNAIQJXjusYWSKRVWCUrhwHrmNkhQTXMbLBgesYlVSfvbSS6nMdo7L6cx0jKyS4jlF5BlzHqKz6XMfIGgmuY1SaBePZpQlwHaPyDLiOUSkCuzHn++57ar+49ij1IUYko2mhv3zOqGkxFuGpWc6pWF79b+JRXDNhaf3Pfar7mO4vqPraqr92b2MkYVV1XH07Xld8+mdOZqufqZIX8fh8l9s0as1NRRZGWPRkYYJF6/Myk4UhFjVZmGDRs70wwqLzf2Rhg0Uf2+6OLAywGGNuerIwwqInCxMsZvb1TLGoycIIi5r1wgyLhizMsGjJwgwL9vVssGhibhrGo0yw6BkzN8NiIAszLNjXs8Kijb0L9vWssGBfzw4L9vXssGBfzw4L9vXssOB4txUWDf0oIyymmJea43pmWHSsFwZYSMScNsoGi54sTLFoyMIMi5YsDLHgWJIVFvSj7LAYyMIMi5EsDLFgv9sOi4EszLAYycIMi5ksTLDgeLctFuzrWWAxsF4YY0E/ygoLzuG0wWLkHE4zLMIoK9cDscGCc5utsaBPa4NFTxYmWLzw+cL7SoMiB2RSnElQXfQ89Ns8I+E9R/7MUnruduL/2yRjjIycG74fuA/xDPKxxOeNP4d0rNLBWzDCm0kO6B0Y4PPWn3exYteC73ZFLma4iC8dVk3fc784vFGGhGwRCsfyrcSWqLClsUpm2/9tkYcZHjt+b3gzUOvP5Lvi7HDZjccdxDhAeFNN2Mv31ZTns6N8tuI1TtxxbPlJpjwZOea97j+LjH7h2+ZMkkF/Rq5DQnYI0QewROOj/3TmGMm0w+SFv99u3O5Fpc7UAyAhe4SyOvTP7PEJ3tmRT8WHmBISskfoZbzSsT/+iG2QQT6v3JekYo5KoEAq1qiENz7TS7PH5SuH9xGHa/KdxPYIvfPfjmKuyMYam+14F1KxRiVo/F30oH9mRM00IcwUICNrjHb0OiRjjcxuHMXZ49iaQTZfRzInJGOIzJ5X5YhEDBEJeoSxNTKxw4RP1jwNMoxwWuVzHGdyhmsyjmaHT6g3hytznt76/SeOM59sU2ItssfnlDXGEJGX/rh9h9Eb1hU7ZF57NU79scesL6aonHhVLjU+E1JLNpbYXEWFLtLoAKObdvjcXNdB5g4yRmCXDyME9ujIWhzyvCfZWGHzzp/3mjwM8TiMcYAt95P/7dgTCOOdl3576s9nL8cSqTAvLcc/+Zz0U6D0xqdkz3sJJGSN0FaMGpCLNS702yzTEd+abY9lRqsjbmyB7HISjQ9JxhyZXX/f5+RihgtHpy3yYNzTJhXM6ZDVVMnHFp+g7w8xt+RigwvWhKQ1s0VFzicRS0QwzyY8SRg+kZA1QkGVM//LPskYI3PluI7aUyCU1WF00x4frqNmnRDXUbPNh+uoWaTC3qdFKlxHzSYXrqNmnRDXUbPLhuuo2aTCddSeCiGuo2aVEccNrJLhOmp22XAdNWtkdqMi++57MjHDBLUkxNBk9DPEB84ZhTbHKDzdzjk2dqh8E+/NtVOscDn3ueljfr4gjd9E4+/+nFCuP8b2YC+eHZ6/+Mcdqtea6oqaL6x5T80X1bz1aZ6peQHNa2q+qOY97fnCmnf+j5ovq3kf29COmi+o+RhT3VPzhTXvqfmims/sExXRvKbmC2tes5wvrnlDzRfXvKXmi2vOPtGymjcx1Q3jLYtq3jOWu7jmAzVfXHP2iZbWvI3eOftES2vOPtHymrNPtLzm7BMtrzn7RMtrzvHQpTVv6LcsrPkU01xznGhxzTuW8wU1l0gubcuymvfUvIjmDTVfXPOWmhfQnGMWS2tOv2V5zQdqvrjmIzUvoDn7octrPlDzxTUfqfnims/UfFHNOR5aRnP2iZbUfGA5L6Q5/ZalNefcuWU1Hzl3bnHNw+gcn/dfVnPOES2lOX3FZTXvqfmimr/w6cf7I0POD6j9YtoHdUW3Q7/NI9PvOZJUnMZztxP/3yaBQgSCBmfx+4H7EO9PDiU4vPEqk0JpCliFPrwx4ICt9IIc3vozLlbsUfCVrqj/4vqLj5rfeS6akkQZEmHVWb7VtIT6bAlKE9j2f1vUfXHdd/ze8AaL1qeE70xaXv/deP5B7BeHNyGEvXwfwnIcdpTDVkzDiZP3ipPAcgSCqhex/If9Z07eUc23HJUkgP6A9M9IYnkSbItLqP7RfzpzjMgtr/0Lf93duN2LipxpS0wS5UhkFegPleMQvKEjf/yHeEeSKEfipQvvizr2dz9iG1GQwyv3JdUvpn5Qm+qXUj+8MZNeUTn9v3J4D2NIE9/FWI7EO//tKKaeDEox2I5Xo/ql1A9afhc9058ZMTJBAiPJZFGKxU5MDwmUI7AbRxH2OIZTkIG8x/2EBAoQ2PO5P6LyBZQP+Q5jONR+ee35ZIEtAozUleZwHGfWbfvzGCdankOoB4crc1nexjM4o8UGDdaKchxOWQMKKP/SH7fvMHrAsr88gdf+6FN/7DHLfxH1T3zuLzUuEVJFBiUYXEUlLlLUmlG65TncfP5b5nixz1yeA3vM5SjIs/nyPBoZLM3gnc//a+peQPfD2C/ecj/534690mH87NJvT/212EsoQSTMK8pxPD6XaYnGG3/Onm+tSaIUia3Yi6b+pfSnn2SBgvisbBsssFgd2WELUZ6HaHlIAsUI7PrrP6f+i+vPUc2SujN+V1Z9jO3LqoLkUIZD0PGHmCvqv6z+WEuNVqiM+nzuo5zymFcRnoDai+eSRBkSIfdn/pd9EihE4MpxHSNLJLIKjNKV48B1jKyQ4DpGNjhwHaOS6rOXVlJ9rmNUVn+uY2SFBNcxKs+A6xiVVZ/rGFkjwXWMSrNgPLs0Aa5jVJ4B1zEqRWA35nzffU/tF9cepT7EiGQ0LfSXzxk1LcYiPDXLORXLq/9NPIprJiyt/7lPdR/T/QVVX1v1//C/n99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aek09xPjvKZyte48Qdx5afZMqTkWPe6/6zyOgXvm3OJBn0Z+Q6JGSHEH0ASzQ++k9njpFMO0xe+Pvtxu1eVOpMPQASskcoq0P/zB6f4J0d+VR8iCkhIXuEXsYrHfvjj9gGGeTzyn1JKuaoBAqkYo1KeOMzvTR7XL5yeB9xuCbfSWyP0Dv/7Sjmimyssdl2fyMVg1SCxt9FD/pnRtRME8JMATKyxmhHr0My1sjsxlGcPY6tGWTzdSRzQjKGyOz56x+RiCEiQY8wtkYmdpjwyZqnQYYRTqt8juNMznBNxtHs8An15nBlztNbv//EceaTbUqsRfb4nLLGGCLy0h+37zB6w7pih8xrr8apP/aY9cUUlRN//UuNz4TUko0lNldRoYs0OsDoph0+N9d1kLmDjBHY5cMIgT06shaHPO9JNlbYvPPnvSYPQzwOYxxgy/3kfzv2BMJ456Xfnvrz2cuxRCrMS8vxTz4n/RQovfEp2fNeAglZI7QVowbkYo0L/TbLdMS3ZttjmdHqiBtbILucRONDkjFHZtff9zm5mOHC0WmLPBj3tEkFczpkNVXyscUn6PtDzC252OCCNSFpzWxRkfNJxBIRzLMJTxKGTyRkjVBQ5cz/sk8yxshcOa6j9hQIZXUY3bTHh+uoWSfEddRs8+E6ahapsPdpkQrXUbPJheuoWSfEddTssuE6ajapcB21p0KI66hZZcRxA6tkuI6aXTZcR80amd2oyL77nkzMMEEtCTE0Gf0M8YFzRqHNMQpPt3OOjR0q38R7c+0UK1zOfW76mJ8vSOM30fi73xfK9cfYHuzFs8PzF/+4Q/VaU11R84U176n5opq3Ps0zNS+geU3NF9W8pz1fWPPO/1HzZTXvYxvaUfMFNR9jqntqvrDmPTVfVPOZfaIimtfUfGHNa5bzxTVvqPnimrfUfHHN2SdaVvMmprphvGVRzXvGchfXfKDmi2vOPtHSmrfRO2efaGnN2SdaXnP2iZbXnH2i5TVnn2h5zTkeurTmDf2WhTWfYpprjhMtrnnHcr6g5hLJpW1ZVvOemhfRvKHmi2veUvMCmnPMYmnN6bcsr/lAzRfXfKTmBTRnP3R5zQdqvrjmIzVfXPOZmi+qOcdDy2jOPtGSmg8s54U0p9+ytOacO7es5iPnzi2ueRid4/P+y2rOOaKlNKevuKzmPTVfVPMXPv14f2TI+QG1X0z7oK7odui3eWT6PUeSitN47nbi/9skUIhA0OAsfj9wH+L9yaEEhzdeZVIoTQGr0Ic3BhywlV6Qw1t/xsWKPQq+0hX1X1x/8VHzO89FU5IoQyKsOsu3mpZQny1BaQLb/m+Lui+u+47fG95g0fqU8J1Jy+u/G88/iP3i8CaEsPecHBbjsKMctmIaTpy8V5wEliMQVL2I5T/sP3Pyjmq+5agkAfQHpH9GEsuTYFtcQvWP/tOZY0Ruee1f+Ovuxu1eVORMW2KSKEciq0B/qByH4A0d+eM/xDuSRDkSL114X9Sxv/sR24iCHF65L6l+MfWD2lS/lPrhjZn0isrp/5XDexhDmvguxnIk3vlvRzH1ZFCKwba/EtUvp37Q8rvomf7MiJEJEhhJJotSLHZiekigHIHdOIqwxzGcggzkPe4nJFCAwJ6/zhGVL6B8yHcYw6H2y2vPJwtsEWCkrjSH4zizbtufxzjR8hxCPThcmcvyNp7BGS02aLBWlONwyhpQQPmX/rh9h9EDlv3lCbz2R5/6Y49Z/ouof+Kvc6lxiZAqMijB4CoqcZGi1ozSLc/h5vPfMseLfebyHNhjLkdBns2X59HIYGkG73z+X1P3Arofxn7xlvvJ/3bslQ7jZ5d+e+qvxV5CCSJhXlGO4/G5TEs03vhz9nxrTRKlSGzFXjT1L6U//SQLFMRnZdtggcXqyA5biPI8RMtDEihGYNdf/zn1X1x/jmqW1J3xu7LqY2xfVhUkhzIcgo4/xFxR/2X1x1pqtEJl1OdzH+WUx7yK8ATUXjyXJMqQCLk/87/sk0AhAleO6xhZIpFVYJSuHAeuY2SFBNcxssGB6xiVVJ+9tJLqcx2jsvpzHSMrJLiOUXkGXMeorPpcx8gaCa5jVJoF49mlCXAdo/IMuI5RKQK7Mef77ntqv7j2KPUhRiSjaaG/fM6oaTEW4alZzqlYXv1v4lFcM2Fp/c99qvuY7i+o+r2qv4j6nbsw4+p5nHW1eYvETQK40+pVnjmZuX6mql7E4/Mdb5OpNWcVuRjk0pOLOS6tz9dMLka51ORijkvP9sUgl87/kYs9Ln1s9ztyMcZljDnrycUgl55czHGZ2a80y6UmF4NcatYXk1wacjHJpSUXk1zYr7THpYk5axgfM8elZ5zfJJeBXExyYb/SIpc29l7Yr7TIhf1Km1zYr7TJhf1Km1zYr7TJheP7Frk09McMcplivmqOV5rk0rG+GOMiUX7aMXtcenIxy6UhF5NcWnIxyoXjYha50B+zyWUgF5NcRnIxyoX9fZtcBnIxyWUkF5NcZnIxx4Xj+3a5sF9pjcvA+mKYC/0xi1w4D9Yel5HzYE1yCSPJXB/GHhfOG7fMhX6yPS49uZjj8sLnEe/EDeockI8pPoGAaHvot3k2xnuOaD4JYs/dTvx/m5QMU5Jzw/cD9yGeQVZWWb3x55DUUyCFt7SEN+cc0LMwxuqtv9LFiu0LPuAVGZlkJP55WO1/z/3i8CYk0rJLKxzLN2tbJcSW6SlQ2vZ/W2Rjks2O3xvegNX6M/lORJuMduNxBzH+EN7OFPbyHU22WO0oq62YzhN3HL0GUrJFSY55r/vPIq9f+OZF85TQX5LrkJZNWvQfrJL56D+dOUZZbfJ54e+zG7d7UbUz9R5IyzatrBT9PNusgpd35K/1IV6PtGzTeunPPPDX+qdnxjbLNqtX7ksSMk0oECEhy4TCW9fp7dlm9JXD+8FDuvmOcNu03vlvRzGH5GSZ07a/AwnZJhT0/i565T8zwvdkaGFmBHlZ5rUT00xKtintxlGoPY4TGuf0daR0QkpGKe35Ox+RjlE6QZswTkg+NvnwyaanR4nR16fA6jjOgN325zGuZ5NVqE+HK/PA3sa0cDbY0yHG2mWb1SlrklE6L/1x+w6jT6xDNim99sqc+mOPWY/MEgp3vtQYUUg5OVnldBXVukgjGoy82mR1cw0PmWfJ2MTTYMXIhG1SsgaLPJ9LThY5vfPnvSYbo2wOY/xhy/3kfzv2NMI47qXfnvrz2YuySi3M28uxWT7v/tSIvfHX2/MeBmlZprUVoxVkZJkR/b+nQkr8dbZVT4XX6ughW6ynwUz0PiQl05R2/f2ek5FJRhyBt86GMVn7hDCfRVbyJSu7rM7ivX8gI5OMsO4oLZ5dQgeOz6ZZpoP5RuFpz/CJtCzTCgqd+V/2SckwpSvHdfieGq2sFCOvtllxHb6nRIvr8D0dVlyHzzoh9nStE+I6fPYZcR2+p0SL6/A9DU5ch88+Ia7D9xRpcR2+p8CLYx1PgRLX4XsanLgOn2VKu1Gdffc9+Zjkg9oTYnoyqhviEueMlpvmFVYs4Fwjm4S+iVfg+jkWGZ37nPUxb18YIvNX92ffPh74/Jy7f/PfrlKuw/faHzn5FF/HT4O/V/jUutmN+mnyf/Jr5X+XfaP/XT71/p98av0R8imoIJ8qvUrjt7V+mvTcZuW+nZ7bpBTU/tOgnyo9Llyt109DPCOUpEa3+N7rdojbOp7baErCNty9i5+uY56muH+K54d01LptdIv9vW6HuG31e6vX66IO4X/8Pup9Wt0Ouh31eDmv13R0ur/X+7YxXeH4Tre9/l7rFtdtVLlW9Wpu6IW71qo0zuuUaruScvDr9VOn1Lqok6gJik26W60pr1XhSVNaJYVDToNOk27xe6vbQfeP+r3Rba/7W93iuE5/x7bW/bOmelJt65WyNKZPvX7q9FOjKZOSNqsWteo26ZUq3dapBlR6TpvKaZ00rbX0Ven8VtNWp7tWeo82/dakWoBaFQhC3UFzixrVpjzNKS29atJqzkG1i0fJFkdUUbVR6UxKZ1K1J1V/SvQa/Y5tpftrvQ7OH3Rb63bU4yr9jnqK8ot0QSnwaTR/nZ4j9mlwsEUgMae81qoDciFscFyb6DTJeuXyPK6UhtbBPuG+qC3NilUaV0pNp7QmTXMo02JXOrVPnea7U/vUaQnptWZ1WnvELkxae0bl0mipn7QmT1rvJy0zk9qHSevlpDpOyn1SOzRpOZq0tk7KYdJaOGn5mlSjScvJpDQmLVmT8po075PW1klrzqSletLaXCcF6lQrRC9cJdsn3D/bp1HvCPs0JOJjynWlaoJnq2WhUcVGtS+N2p9RS/CoJXxUnqNec9QyNGqJHrUmjloDRq0hYW+rWxzX6e/Y1rof9mnWM1By6/RbrXep9Ti0ojiuThRr1W3SK1W6zfapS9eBdUBb0Sa9unR+tk9onSstAdl2gUmjlITgrFcYNLewT12qyXNKS6+8a5ftE1KA63R6hOSo1/2DHjeodoOqPyR6jX7HttL9tV4H5w+6rXU76nGVfkc9RflFupBO5KpNZXZKuRlSGZ0TPVjnLpV7WEdpa+FnoR1pk+Vr9e5in2CVwLhZuW+XWuMhaT2mUoPyU6X7VqpDo2WiUTvSqB1B+4561GiaGrULvV69V50brcm9lqReOfZaLnqtfb3q2Gs56TU3verap+tM6T69bifdhv2DWoxB89ar3oPao15V77VW9lqvBrV3g9qrPtWTJtUT+JKiV6NHoQ708bwh+VitlvNe7YQwhcc8JjUaVTP7T6hLteZUSnKTct4nhWv9LjnqVLle79urMl06r9PtqPt73eK4QX/HttUtyjOYrJalNn2qk13JpRQWptYzJ73mpGkeUl7QLufSiXa5VqskNWvS0jbpeb2DfYJ9AcEp/ZZ90j71E5CSQa/UpxrVpZxkOwxNcsvfpvIDTXCE5KjV/Z3mtNVUtUl9/N7pfmwb3d/qd5w/6Rb7Zz0O90O9hcK1pg9Ko/2Al9OlktmpCnXyvuvkT9cr/nKbNG2T8m2qH20qxW1qG5rUbjXJQjYr9+1T3RoS7SmVLvQrq9QOVZof9Adh1xpND/ywZuW4Ubch17PWnjn1XMTuzFqSZ633s9qHWdM/q52Z9Xqzcp/VDs2a/nnlPr1uJ93K/knPmzQdY9qP+1Z6/KDbUX9vdYvrZvuULQbs+axXQ3+hW7l/tk+zphj2KXvROdeNqpn9J/htjaaoU/s06/XapHCt3yVHjV6z1Ry0qkyTzut0O+r+Xrc4btDfsW11m+1Tr3dGCUJ5rZPnXyd71iZ7LntFi1a3lV4Jecn2CX5+l6wD+mdtajVRGuDr5J52o3VjXrFd2SeFFapW8jJpLrN9gk84p7QgvUOqs10qR7VeZ9AjJEe17m/0OChQJ/Xxe6f7sW10f6vfcf6kW+yf9Tjcb1BlkPta0welYZ/apDW2OU8oy9AN1us6pn/Uba9blOZJvze6rXSLcoPz5HogDDsEa4WWaUjbTre9bnFcpd9H3YoHIukYkqUWT2RIv4/6Xe4zqEUa1CINqtyg1x20Tg6ajkHTMWi+BrUQQ/JMxnTepFvZP6V0DHp8o1vcf9bjcN3st6J9QBmXfMLDHfT8QXXAfcABXm+v+yfVr1bdK93Wet1edZPvTdJz1O+DblvdX+u20/29fq902+p+XA/HNfp7o99n3cKvQT4rTe+o2163KJezpn9S3WbdDnp9pH9WPXB8r1uUn1q3k943RzjkuEb1w36Ud5RflL9O74d0zrqF7ihHaCFGPQ9blAtJR6X7a81PrTrWqmuduFT6vdLzJv0Ozxznd/p91u+9bnE86l2r6UC6Bt22ml/oDwU7rWNSZnNPLPuOsDTZVx8S7aw32r7WIebQJPWaZI2blfvmuANSkLnWKWZXpXMrLf3NSsvb6bbXrViPSf2XUf0b0KxSD6JSMtkPr1KZrFItrpJdrFyOLqLsVEnVKtnJKuWqSja5Sla5Su1xlSx3lcpc5fqVq0zpU47e55QO6dwmfcrpm9MZ+W65FcWnOqVgTvfN/u+wokHuo+UUgHb2jseU5s5hfCB7RvB5m3RXsTltimNVrlqhM6Z9Q/rUpl/r9KlLv/ZpX5U+tenXfI98RpOOa9K+OX1COc3lD30t2C35BD+jT5ogLbWWMiEwp09Dum/OL9qF1VgWvLI8NiT2u1nROo9S5FGNOmmR25/ci85k55WrdCkl6ImgJNepfNQrJSq3cF3a16yUo1wuxfeZ1HcSNWdtqWY3q88zrxCvdE+lZ076HV46rtDp91m/97rF8bASbUpLTl9mCpWzLzUl1XLfG1ohui/2Mo/3oV3oE6t2hRpqUJUs4phoIdbVrNw3j7MMKX3ZSubSnMsB+ni15rpW21in/egDY1Rq1K2MJQgXjBugH9rrcb2W1V7P77Xc9Uq6d4hi1NqXR4SmTr+3eh/ZjxhUpX3yRs9r9L5N2j/p+Z0eX+kW9x91i3xA4TZ9yjV9TEflVqjT89H2IepQrzDNfT/kBmrm2BT68hiVmbWuSsnv3JgU7vV7p9tat7P+3uj3VreT7pfjBj1uTMdV+nul33E/tOFzOgJWK4/E5dhCjofOqaTVSe1Rt51eCXlBDcgxrjzGlq1aLm3IC+pQne6KklCl32D3mpU2F7mcNffwaJpkYWs3p7Qg3od6l8eg57RFDiVHve4fNKe9qj0k9fH7pL9jO+h+jEl3+r3R76N+b3WL41EfkXukq9Mt8tKkPOTo3ZDKMco4xn5F2+z15nGg3IOc06ccQ4RVGldKA/y5fF/4So3LsbMppTS3xbBtlUOktlf71Kud6dU+9Q59YIxKjbqVERVJz+QQ05r1u9TkKVl9tB6Vti+iy6Q6Tsp90jI+aTmaVLVJa+GktXBKsaVKW5dKW58q7Z/0/E6Pr3SL+4+6RT5glXJ9yx4LUjm6bJ+Qr2yfcEdQy5GNMakCNbMHli1Vo/doVUlRsE8K9/q9022t21l/b/R7q9tJ98txGI3t03GV/l7pd9wv26dOj8heVZM+5XF65BeeYK2twqR2aNJyPmntmlZ6KrCGuU9ep7a/VTverOQl26DsL9d6j/wbakH21+ekbqNXgn3KUZw8Htan0pbtE8pJr1uUJ8lRq/s7zSmO75L6+H3S37EddD/GpDv93uj3Ub+3usXxqI+tpgPp6nSb7X4eYc69iNwfhw80rdgseEioFa3LEch2hQ7KfpXqzOiy15R9Kty3S6oPKX0gUaX2rUpeWJV+xbgGrB5YoUahvwgPQq4FrwH9YIwzYiwA8WP0l1otYZgT02pJgH1GH7vVWoM5GRjZR18MerVamzGGjfYYMVmM/8N6IMKNeoF+R7tileAP1yv9BNwlxxl7vS6UbLVE5RG9NvWMupTbPBMtWyW09eiZd1onMbumSQrju9yn1pw0mgPM0mlUgUav1+hxtR7X6HG1KtKkba/bHCuZ9Mo5ptylT7BUea5G7i9Vemav14RabcpLHjOC99Im64BecOvqVAqREtSheoXSrPfAb8hB43IcA+Wj09zndiHfd0pp6VXr7AFD/U63bcqhXLfS/bXmtFK1q6Q+fkf8BdtO9yMqALqVfu/1e61b3G9SZZBSpA9KIy9NykOOguVxhjw2DY8Ls/DEZqF09y57TTnmmeewwSqNK6UBPlW+L9qCxuW5dbmFypEO+G2Vw1gd7EurNahV/wmRc9jrNh0vczGk9owO/UNJ1ag1edR6PzrMbun0PLEzY7qOcB81B6Peb9TaOmotHLUWjlq+RuUyajkZ1W6NWrJG5TWqlqPW1lFrzqilenR5vLpLuuYYEeYXNS7bp0HPz/Zp0JSBGiIi6JONLs88y/ZpTp8qvUetSkrOqqQwvktMGLN0Ks0BZulUqkCl6UFsd9bjpEQODrNoqrTtdZtj6Y1eOc+zy5/ynCbkF1a31tIwaikatXSNWrvGZHfQvtQux9Zrh94vbDD63GOyXJijKJRQMrJ9Qi3oVwgOqm6lVwKBHA+b06c+XTPbJ5STVs+f9AiJoEsdHFSzQb2RwU1Jffw+6H5sO92PkSHQrfR7r99r3eJ+kyrTajpaTR+UznY/98KuVWXR4lp9rmuHGdLSF0XLc73C6XqlRZBvGPO/Ti0jFM32HpYKSqNFQMlBWwc7dq265bnl6MHkuJ9sc/Qa7c918r7kf/hZ1w7jrfI/RtDhs12ntifbyWuHsViMyF67HFlHT0Wufe2k533tchwEcbQ8U/XawR+Qfj1mcl0nm4C5FNcr1lmYiyIYKbx2mFcHS3jthlSKrh3GMjHidu0wv67WknPt8vwDzFWEj4Q6hVp+vWLZrx3mAWC25bXLM2/hZ8HPhT+La2KO67WD/3Xt8jxxePnwoa4d5nzCYl6vlBwZ30bfBn0NzKa9dpi/jllV1w4ztjD36TpFYBD1ul6JuVw7zM3HPK1rhzlcOXp9naIFUo+EZhuf8rj5ZEfY8zE+YXzXUx+1g8crI5ObTua+SGnfcNL7l3kCoeRuOunZIIY3aDxCZixtOuktSJuLVkN6+jLbcYzH9NqLyxERGW+eYwpgwSRiKnGWTSdxUon6YxZvq610FY8QX7TS/myendRoP7z3x8i83Uq9tT7mEWNnXcyBjFjLODPGqqSNFku6qW1xoz3bOV4jKNOpjyKzsiXK1GiqtvwxlUNUf9SjNp3MfJw0jau2ZtZ2XYjMDrPqpTXu434ZBR5SnxezqBAF3dRWR+Jc4Rp4dmRS67jpMPNN/KZADN5ppR6FpEDGCzGT8jqmTI4ST7hLx8OnkzGlTTepjy5jFJKX1fEBmX0l7Cf1R7NPKqNQ0idu4j1lLg0sh8ydCvne1BRK5AD+II6V8bRN12hepfeFGK5YC6nRkq9WW2pEjMTPa2MJaRzmpmHOrZBotNctqRRfA+MJ4sFIfFlqkkT8xYuCJZu1pMrMMdFOoqNSH2XGssTcNtWDEk8YM7s2nMy6bzUdbToTMdCgQqXtuqSgdojXyuxkod7rfTGi1SkbmRUsR0hvEZ6b2AFJk4yXbDqJG2Lu5oaTOLXUgD6WokE9Q8zllFT06klUUYdGy460VOJTNdpXlPzIsyC91sdZLVOld5CoY+Py0x4Sz5DcScnC3A95AmfSs1q1LY1+w+yMWS2dlNBNl+MVEjGTOF8VFZA7YqxH5sDN0RZ2Wntz7FBKukRD2lg/xVYMDjHSKdWITSdz9qVm4RkPieyKtRQ7IbP20DMRGypRAZm3t6n1D1HWQVsDmXU3azpnvVubauagqZ8jIYlvIBIis+hklKCNV5DyLzP9ME4kT5AMqpNY7jqRnlVlpALzIuQ46c22yWpI7KFLNgzP+MhTKY1aMnga4kfLTLkuliCZPYc5tlIKhfOg9U3qImZtSCmetcS32rpMyQZfu9vWWM6flFjrMONdrtGrNZY+ch6VbdWqVaqTjLBMyRNotbWV2aqbDnPXZW546/AcjjyVM2mNGzR3Ui+vtSVsk03adDJ3Sp6NQB9N2iSpz00kgnkvmHNcOTy/iB7SppbqyqFXJCPbndoiGXuZtdXEPK02tbCD1s1GqY0xtY3Wf5kTsan1UGarY0yu07rcrxAWC5xjL5OWa2kboCOeIJBrjtrKSH0cNL1DajtaVWrTybwmKdM5atVr69ConZFYdZ5pJE8btTGVk95pdBjvh42R8YJNtWsy7pOf5Ji1ZrV6jMRd85M8k+ZB2NbauuU5SBtOIi1tTKPUU5RU9CcmbT/EJo9qJyuHOVUbrk75aNRajtriIb6y4WQuMErPqD6KtLjSv9hw4gtKCZ3UPg1agsQz3nAyN1BGjTc1t62y6x1Ggm4fUWnrMjlEQyRSWyu9UWvwrKoIb2ldxEqN6gFizuWs5axX77ZJ3mWeBS/2SeZINPFeMhqPJ4t7bd8mvYvUnkFbKcyEG7SUderBVLrN45nyHGSbLG4+Cv26Xi3zoBZLShcig1J7q+S7jKoBPPxO7VSVSuy4Ql5iXKP6wk2ynJNeeUPLcKWt06bWAukhDElxlHCxZxJhECvU6TEyF0EiQJ2WZ5lri7nKo1oD8d2rmOZalcDTj53WoEm9mVl9jhzrrLTcyW+ttvPi70gplGeQZJ7kppKQGiOeAGpUpT6M9CereKVJW1n8DS4/VTcqA7H+my7HVaWsdOmsTfXaMN43qteHut4qCbF5mGVbaa4GJSrj+PkZpUm167WObmo5z/MMer0L+kWYPb6h5ULiYp22fINDbFH85z55J63WrfxMi1jQUdv/TYe43qzlUSLV4ie0rk7qyPNis+rbaxkRFQf1gWaHkW2ZTyLebq3Wu1X7glhxrcTkCptaCmTuFKL0o5Z8eapW/PrOYeastOSTenzSa+q0Rc5PLjSakl59ukbPz6VMvMRGLafEWCf1JhChqNWioj+U263G4ak7Kat1qsOT2kXE/uBndGqhZaQHURQZkazVZxo0pzIijnG+0eGpH7F0rVootAAgMWirPTiMVmIW8YZau1b9LsxhqrVVmrWfI/0eyanMm5IcIKaJWVpj8sQn7Z1UDk/N/h4xhOxXyZMfs8Ooa6N+QK12alLtRocxuMfjAegrN2ptR61Pcv/c95cew6yWqFH7LXaojWq02qaLnRFPAr3A7CfAOsh8jk3Xa10VTdfrW6HNGVKZblW1/Gxsoz4IogzShmLe64ba7MphroPcRWpFo9apSdZsUosza4mRVGUrLk90SN3Y1LKFWfkbyV5UWlOlLk6qM+K5s3oyvXokiEdhZQQwbjTVjV5doljDSo4kvgrr0DpEJzCvt1ULISqK1ylPjcF3XcfCIRaOHiPs/KDtMmazSHuCXnCt18H4D54DntTSiQWTmf94/kNKjNjrUX1c+EGtWrBarSx4DupD5KeNu9RGwqqL34rnN2WsdtJWqlatpcVD/3lSmy2Rpi6WPTzNIHVO6nuvfhbilZif9Fg8adQWU9pzxCVn9bPQN5HRx059nNrlWBDWSYFXKfMWNvWq0rrmOW6DWqRWy/Sgtqt1iOQ1eo1aa/2gpQIzlh6OW0nb22m+W+2rdQ6j0dWK51Y7RHs7LedV8saEjFgNudegqZAjpK5K7148U9jBPA9MfHOpQ5VqjOuLfZeaPal9kJhx7ntV6fhGlepTOzU7jEd3WvPkuEFz0cTjpFWSyC3GuHvVFF4rfCzQy3NaK62hlZasKXkr93lD9/tQct6gdXnUVq7XtgSzqeF/rqYN5Qotj1iJ2SGKdxdHzMKRtmJys95r+OR4xMtnbX1F9exN3WQkJUmu2uh+rKIgUbBNh0hSrxZycIhF3PSpZRwCFkJS2KmdmbXejWrnpO3b1FrYaxs1aFm+VuvZaHu5+oceEpSq1Ieq1KZJHwtzC+SeldYWmTGO8QvM5lnvbyO2peLnikUQi9xrOz+vjCB8+tckKzdpmzarpZQezZZSu+vcQb0eKeESAZQ5WEL2oftuaM9kdjnKIVamUc1Xz5Yee6vtongfrXpoaEfh6TQOT/ghh31qUzYd1vF4vE/ca/uIlm3W1nlymDfy+X8bTiIAEmGTuGSTPLVVKnelefWvVcvSJ48lq1G5/o57t1qPxP/vtX2VvuBdx9/8u10C7s/J3X+P373XNlW85Vm9ihwLfKgkrqYLs8jv+xPb3mscRfoG0qPCcxiIrkjfFfNosTpLrXWm0folZRjzqMUiSQuX1RDPvlMPE6NoaEvFYvTqGW+qjzUka4D2ZNJ2XsrspL6/PKvX6n0mtUZ9SmXnMNaCVZ6yly/WFzFgRGfQ58AM6lH9FESXZv2lSn7yzRLSq8fTp/4Gnk+VSGStPnudarf0wDAetan3EN8A43lzarU3HVZV2NB+3qTe5GZq11ef34PXLGtQbaqOs8Nsx1p7poh9SU9A/Ij6k/xtqI9WO4xczFpWqlSS5Rli+EV5/YzWYQyjV28G9rbRa8u4GeJNm1rzNxzms0vLh1UkNpzMu560VIxaM8XDlPLbaCsmXgZG+jA/b1ixILJf+sCDtkiybtLNCNqoaam1FR91z+r17xpJxDMvEgFptA8vucd6FyhBs0P8FmP94U+imrXDfAK51qA9ijzPYta7YpxO0tpqqyD9rUq1Fx9PvGw8kzw7RL1HtVvo1eB5oPVGoKTO3hyBqpO/DpawiphPjliztDbibXRqaaUP3Gp9qR1GOFctHEZj4clIDL5RjySP2E5qkW+O8oj1GpLmEsfBvAGM8klrOSkFqVky9jVpKzRrjyD3XvBMRKUWRuiO2vZL7Fa0bbUkjeoNSy2fXX6GHDlo1fuetO4hviDRS4xbyEhzfvpP7i59aoz9iZ3HCgSDy2NMrVqu/Gww2qdBbTHGgjBT/lr9WEmflKBe7Q1mAg3q03eqK0bUMftZ4iaNtvHw1SWmiCfvJGIjPSPx/2XUe7U2SOskUdhWPULMUbjZcsJiDWqDMXNH/H/MARErXWtvpE72RNrGKtm1UXuQmL0v5b1S+12rx445jrVet3eIWkxqJeExT+rbSn9oU1tGSTHWmJR0tarHoCVE+hJtqh2r8yCqG79U6j3LKEuT2hE8WYXWEhEOjIJUes1Oj7k9CoK8ycinjGJJ7ArPlEpMstY6IWu+9Q4zYaSlk3RILwJ3lh7F7NC7khYFPoRY61Z7WNIWiO2btU/U67Xr1PPBuK60OY1DPxjHdFrPJK7WqYXvtMQj9or5j10qQ5vqO00uP3H86+ZCdOpziUXrU+rQSmHNDolhbjr0i8VjnbWMtW7T4QmlXts7sbCb2hZILA99EIn1Sw1r9KqIQY+pDGFWf6c9lbxaSuUwg0MiWVUqWfl5AunVwC8U/wKzWCV+mCNDndoXrHvX6dXb9Ls884i1BXK/QcY+ENPDM6DiaXd6fazWlNsUiZrlGFG18oennWVmTqethbSOtcNaWpPDmhdSGuRuYhMmh7WNW4cxTplhInayT+nHXITa5fkpnVpsaYEwYjBryyAxeYwRSTRFRr/GFY8Zlki8r1nbPUQSEUHDbBx42eKPSp8QZb9zWNWzc4hpTGrjQUiY1trmYJy6Ui8Sz0vVaoVmzavE33uHta0mpd6pn3DTD9hINhzcZm2HxWpivFzKKCKek4P3jzmqQ/ISpQVEZENqIJ7EEh+p0dYO/SewxwymyiH6WWlty0/pNqm9aLSWSF829yDGVK+lBKF9wPyANqUTkTCMYs7aask8lc5hdij61UJYWoVGey2NwyyQIdWBPBYnHoKMYmHV4Q2H8bkmlgqZKyitZLYkUjalBzBqKUfUfkgpx7MYmK+FWWeNwxq5iI2PLke7kDOh2qSS8Fj/e0NbU5lPMmiJET8Ma0VI5B9WrNHWc9QamK3FqNYCs1YwslA5rIaKMSnM0kKbuP5cNYzryupK6FW3WkY7hxXPZc5ro3lqlBfmnz82V018Z+nFNZpGaefEH5LedeUw03DUEoQ5StcO88Tz8yuj1uncHjdaw/BsvaR8Sv77sFI+pP+ZRzHyHEyJmEvvSEon5jng6UqM0YvnNGr7h5FBrI3aq19WOUSbMdqGNcLm5BmjjyP+9ezWmZWGWdJN8oZkDVhED0WzzeSlDA4RzWzVpLeB3iXmM7UOTwr36gk1KZ/oJWNervhEsH0yFjOpj5mfEpGYQeMqTWevXLE+CCK6s9b2Tv2+1SeBK7VyGDms9b6z1hhpNTG3L/vxncPIeav1GW22+JFCCiubYKZLo+UYtgzPusE3lPyJ79NpXcZK44/NR5OVXVqtBVIy4engSYg6pap1eS7P6PD8icTApAcu7bxY587lVRar1IepUu2ftDXFGofoC2NujvSU8CTmhsP83DGVEGn5OodVFDYcnpCa1fPMs9awGuHSs9Iwf6XXcoDoEmJl0qLPWpdlJoaMIdQur/Yyq28qfkWneZd8iYcjo0Kza1Y8g0l9ofz8HmYwd1oCK21f0F9r1EtGmy82K48OZ39n9U5SAmuH52NlRF4I9NpPwupfGPUWDxHjA1J3J20bMVL++LMYYkUnrY2YByCRdqmLDz2ZUKsFkD6FWEHxAfBc7ePPLoh3P2qrJpHuShXA839SZqT129QzMTaFeGmrRAe19rgubBpKN7RA9EF4YWW5DW2nKvU0MCt/SpYNlrhX7hK9vDkquOGwptnoMBNBat7ksIZrttxD6gNVqkDnMANLeqt9Yis9sUFtKp61fIp/q2MSjZabTfUZYXnFY5y0ncOqmfkPq4E1qlyXON81WvHwH0YKe/XuNhMtRKLX+dtwj0e0Jfe3Y9Q3r/Jbxi9Xr/N43FTyPjrMdMJMGUQTa4cxZInxY7wA9rBXfxOxIJTS5kbqNpw8iSGe4aAtEEbAW7XYs/oU6JGhxXk8gvq4Dg9Hij7v73Ou9ltGk2+WiMeiJb3DKESl/h1iPJ3DHPNK65JEmOQ7nggYteyvkpS5nJV6pWK/8TQjejQSQd90GEXsHHqfKOtSBqUN3lRfWjwo6bWJT9E5zLCR+RKYnwWb+ng05bEysNoT3lB7MiVfFPE+6dHebzFu96hX/9bp60qNe7wnm/9+y6yCVQXW6Un16t2LvcCMMymBQgOzSDFjdHRY4R3z1qXN3HSIXQ0OcWpYAswkmV1+kmRweOIao5itw2xJKX9Y70lmbOH5llX2KEnSi630rPZGP2fDjeo5YSyocXiCB/0YzDN6qDf00N/neGmj/vXay5g076BwP8/173L7zHV8qvD3uDd087rrz2DBU8Di+2FmlYzK5qf3am0F8tgynijCc2kbrlGvT3htahmFz5TX3Rq01W219MKPbT/RBxFGrPoHzy3HLlutTxi5xFgCxgla7X1I72/TYUX+WtsIzNKd1P40Dis1bTg8M9FqfqS3M6g+ed2zRnuBmw5zbPNz4uhjixUV+4JZupi/vM4xubzIHNxeW+pGvfn20V8xU6lR+4UnZYQYVodb5xi0OYN6h5W2J1hz5uFfseaP9GPE+mxqHcCKJ48fIdYYbX2t6t9fR1dtuJQ3jEZuOqxFMjk8Hb3psNbdoG1QpzUDkbONB66zceeVNu651oZ7fMbrQ8/1flrzb9YZzFee1KLIuHheXXJKWkv9kHk1t/0geQYh1wU8LyMea37q6tMaPKjll2NmPX50WEmo1hrTp77xrLZFfG6sITVoSyitNerdp/Ze7jqp9UKUF+ucSI9aajvWZYCPNDrMhZdREvHQZ/WT8VY46ZvKOEynUaLp3r33txmPzS1f7xjEgKvUe8UzyXlF4VmtKyLr8NfwrGajLa6UOUTg0I/Odufh+2yscaeNR++14R6fDQ/KWJFS4q0SC8BM39VVWfPKADKCI1EqrI8r9rJTC9+q3cU7uOBHVuoP4OkXKYESaZa5ebNrXXejRG6k6ID47Vhj+b79UgZlzB4zCeQTRrjbtY749A8rUOO9fnherde2S6wRZrFhVQ5p63ot0ZJnaWkRscJM91FrGdrL26nYUL+oVx8Oqxh2SW3EA/FUQV7jB7OdOi1p0lYPLs99RJQaTw2KRzE7xCFa9Rgxy29IPg5Wid1wWCVLPDmx0XjOB28nkLdAyHharx6IlMzcJm04icm26o10ag16hzla0hJg5letbQVme+DdNY16TvJUtUSBJc6JFeo31HfCjExpU6SHi3F1mWEjcUSJQGxqGcDsAkSRJQ/CEU+gzskjGLSNkFZKnsyc1VuuU9v28DN2G9qijQ6j9cK119KL+ZDSvx615udVusQK1lpWK60FWEUG8xoww2B41BfYSGVKrIeMQGH+dZ+88E2HdZzl995h9miX2jKsIoyn8mWFgk21YqPD+v6rf1AVz3ahjfq05mCtiNGtznNrtS5ifBDv3pJSO6n1XY1x3q8Eanqb6LRqIfCmBYyRycgrZn3VDs/8iv3If5PW0vxU16A9lcblsYVebcLtfNd6b4nRNOoVYz1paR9Gl+cNIWaRVweTOWt4Rh5PVyLOe/e1N9a4+saD18dTJA89lXeX/lhfstU6I2MwjfYnMTOzdeiVbTqsxykjJpPWiNFh3qL0h27qKvNiZMxZbCDWaMFMZonNYF0GjBtfq90QC3bzr3ZYOfnudLR3pAPjSZXDHJDrFYuC9lquhyfCET2Tuaijy2O8g8Nboepk9cWf3NQjZWxfWnN4vKP2tWSeVOWwzuCoNQH2Z1AlsN746DDGLqPQYg3EK/u0HN+s73c/Pf94RPzuP5lngzGUPFKNldM/vf/d65Gt/sms0bwusFjvST2NWfOKOeMytid2oNJ2AeO8lcNqBYO2ho2WJsxImd2nsZv7/aKHvKYN9/jz2+IxPt7urtOm3t9ejsnKPH6nddrvh1vnUevs421vpXQxD75yGDOWNlcIy+yBTls8zP/6tCTJjDaxQI3DPMJJPbL8LHyjVh4RyE7b/E97bRsO88nwBDueN8Y6nfDQJK35yYBGfcbbUWdRScbvMfKT57e3LkclMLqT39CIZ+1bh3mOlcuzuFdbKfAT/VvtWWOdTzyXgBFmeHaz2h6sdbp6xV7/Bo1nIFV5TZ8mnSmjDHiH6qyek8SzRtUTsXXMa0L7jCcHJHerduuutRbP3YXfc+H3nKc1Fq9/9T+xQe1ae//If3/sHfPVH7/P8nm3/O/z1Pj12q1bDpdKz+9Ten5rah/as/5vd+1/Op/+2Bz817n6Q98eK8HlKZcsXb9Ogd+q2x+hu12WFtX69bWr/KeS6VmnfXzMzqzbxn5u7f2c9ns96p/Xjn9u6n99rn6b5frtvs36ftbvUfd+f66/lumv99g+r658Xu36PevuEnR/jb6/tr5+rk3/dbbt80rOr7cfv9+9fuu/dcvFH1+q+Ymf+OmP+fRrW9Rf3y6Uz/Pn6PB0Pq1nd/8rafRHl93f5gfZYP5f5dN/xbL7eb7s5/mr5XP4uam3VmL+u1vW+718lksbrJcpl5/fv/utV1+/t/x5Zffz9titnevXsd9H0c+jaKdG/jEl9vcrV8tbm8+x6et4KL+W/WO17Y9V7I8oseuq8ZjN+2MsrU3drNZy67p9Tp39o/LyW0mWrIPL293/vp/+CB1+7/KyVKrW9RU+p539o8r5H+OJ/f6Wb+nr/NayE+b8fjrH96/uo/8U9n4bf9lzW+7M//3o/4Xff91zC/zjH//4xz/+8Y9//OMf//74v+DjP+zPhyNexSP+lp7/C3tl37/HXsG+P/bYnfrvx/68E3068Nj9v3isrPckvQnsC72IPX9G+PS93/OveK/n/kr7/gqX/hoX7k+u1rUGKvcXn9a7f+3v/RVPVT/0a33Pr50+V373r/ODqZr12ef7fq0fPLd58Nf2wV/vT7M8Wd/ck1+sYHzfuQ/lt1W+9/96f45a5XD/r/fnSJ4Nvv/X5gEKsoJSd8+vovJ952IV84d+bR78tX3k17sZya/3pxmr4N//6/jIr8ODv44P/jrf++v9ZQO/3pdfrCtx969Ybf/uXx8qsfj17vu+cP/p3rvX/lvYG2zjXUe99se999bv2B367XO3E//fXuPYF37/Wfx+4D743x8/4437+pHj30Zb/HiqcdxX7p/+mPDppd/z8LE7fu+V37Y+1d8+eORubB8OohLnMV504f+/64yv/eeLeNx+bDve+zbnF98arHfs1/4+vyQlHz7n7hTj9xe+FduN29DyHcRW7MRrs945lzE6FtR+OJc4I+TxyN/hg//3mDI456VP04E//p/+zLvZ3z7jlftyreNCGVvnuDf++3qKfOXT+UPM255P9b/WOued/3YUlV/n6G3vg6x3XPBfvov6/bxmGcjnoHasc9aOT/vJmsfuxvK790g5x9Ffx2NPHjl2z5ejo0eOCSX0o///4aNuWqXHy0c48nClNr6Nnt/jdfL2edt++3BZeemP2E9l6+FjX/ucnvrjjx9JRbCU5zGte9Fm3m0DcfQ7n6/XjxxxGHO15X7yvwVfOPC+9NtTn+6H0yx1IDNY13rePu+Nv++ep7fOOVtRp3WOlLZIWoF1jpfW6nPzsOtL/fMHj3y8nMgRj5dcHIcSKK3m42cE+/CD/3voSLSWj6Uh2A2U02Bx9mLL87Ad2Yl9rQt/xqX//fFjrz6zZcvnrNuy4YzPadlwzvotG854rGXDcetof7VWy4YjP6dlwznrtWw4+rGWLR+3fsv26TnrtGw4a73WCkev01rhmEBSynsgcP5IefnGXdyy/VvxCPn+J3/eK3+dQPOd+8Jtevbbaxz177GVffy4V740vVnjuNe+/fvbGsf9h//9/I7jXsTW8zxamOfRymzeOvcvMYKSYyV/vbUeE1YWl5VcZUXa1l2nFRLlPc2Vu9bVv2SdaFlJSt5pIO9JknXe+nikrM3d6aq48tZNvPNNVsG9jv0wGV+WtdvwxuH8bqxet/IrVvTEe+sr3coI9RyPuXZYFz5ca3SySqHskf/xhnVZp1jW0ZNfZGUsOR8paJ2sjCnr14WrT07WuJfRblnXWd4XKOvTXTt5Z4K8iS6/IVPeKHetK4nKm1LxzvnWXTu8RU2uLHeUVIpiopPkVY4RhWWlcVFKiEiusZq2vBPk2uGtTJIjeQdp5WSFz3CkvGNTlG6drJUvq5vLqtvXumKlrEcm75jpdR3T1l3runiy1r2s/ijvzx20VEiqJOWSqmvV41rL2XWMB921XtifV2J+N397Hv3TM18XnrkN/y/YhWApnmn/9Dzah2+9DZOW6aN63WH/i3jmafxf2rpnvraEq8OzC0eFNv5K28/Vs8UbPYh1L5z5P/1Z4hk987Xvx3jOmf8V5zzzViPsufI1F9d+5e/1o2/7wj2fxTuFVPwzpedbzdE//Tnnsc7v63liBf/s/leyhP/bH/tjzPm/x6NP43658o8+pdi/7z+987+KMv9csZDPkiLP1JL86I/ec4jNisKvvX29qe7nXwOtyep10NYcRA/lWcxjiBscxLP+l/bzoff//uTO12r3Jcfo31xHD+ksWr+L6OP+EGntxvtcRu8mpE3SIPGIZ7dalHO/ZyceH7yOq3SVsP8wpvqj/yRRjmfR4zvTFEGBn1OJCmcEfaSkfRupSL9JlJGW7tt4pHiEN/P13DPfWSkrZ06iNqfxDrdVyJ7EM/X1z1JpfO2v9OKenK1/lVVv/Tr6T880+nS4ktqrqFX4tn3HUbhm0A51+U0sZdDm03Nu/56vIfXymfrmz9RXv5nSZ550LpMhl59/hV13obX0+tYvX/pPP0S2YI341n3W5Fmszc9iv+9DHOv4NvbIzlLJXOUh/eUNTfGzZImEy7cp5RLNuzv9j6XkP/zZx8r4b/rrZbz+Q+c+j2XoOFpQ1LTP1UBS+WPst4u+4Y6rZfA+i7w+hftK95uo7D+jZmHPx09Uu1kXb1sJ6e1l+3DX8Wex7QrpumnRbh99u6atRxk2We60aidEL7QRN+uPpOVCWyypD+taAMQOYInvKrFS89e1WrfvAKtwfE/axZLdvMZ92txm9FDNelz7XLegwvW917idixfRoznWe8voprT3B7HtEhVhZS7dRTz/X2qxz9WXkByc6TmXesSup7WXauvDv396vb/FvoSU6r177nmzRAjLcL0jLc/H8bibHG56K9faUkKfFzdKRNDrMpaTI1XjWfzlW61HEis71xL3o1qOu/28u+zFM+1/ii+56p/czulX0S79qJ7Cv+6oU9d6rXDly5jSjZj+v63YnPN7jrodZbn7KIkigMZ997vpP30V9drz1zxIub77zE89zLt81bvOfKlxqPMVOlt61MW9Z6E3f77ie4v6991lNd4Tvoezflb/8CHdbmuy/pk3I1nPUi/7MnJ46MxX8Z6XqsaXqssPD56DUgJPPUdQ7j5+tfZ9SmrVot08+9zBh7/PDr+I9fNiJSUov7lUr3PUOmXxsausx/1z0/LrrnJXL+zx9D9WOx67wu2acn</a:t>
            </a:r>
          </a:p>
        </p:txBody>
      </p:sp>
      <p:sp>
        <p:nvSpPr>
          <p:cNvPr id="32" name="WORKBKFUNCTIONCACHE1" hidden="1">
            <a:extLst>
              <a:ext uri="{FF2B5EF4-FFF2-40B4-BE49-F238E27FC236}">
                <a16:creationId xmlns:a16="http://schemas.microsoft.com/office/drawing/2014/main" id="{9C77D1B5-FE4C-46EE-A416-B18AF70EB237}"/>
              </a:ext>
            </a:extLst>
          </p:cNvPr>
          <p:cNvSpPr txBox="1">
            <a:spLocks noChangeArrowheads="1"/>
          </p:cNvSpPr>
          <p:nvPr/>
        </p:nvSpPr>
        <p:spPr bwMode="auto">
          <a:xfrm>
            <a:off x="2344277" y="3026851"/>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Gjrjx29qe25bEzHiqHj517O9L5+BmP1ZTHzscIGvz3h49ev848dKXP73eF8YnVtuv6hjcSUgaPYbWtXIfuTQuVe9I3/aA8qnWgKbjPn/10ZOu2j/qpTmF8MBA8vtXLR+pv30NGu0T3/y9eH6NeuWWGVnkU7C6fcnUcJJ+Tx0MOosWRfNw8czUufKyKPuyLB89C4jkX6nVIL+G2OiFNG75nf6bpwXF3RS9uR3seU+72WOb9R2arsRdtHq58d9ToU1VXR4ouk/V4TCMpn7nPGuj+X7X58m213IPXF/F6B7FM3FVacj2ScccQTflXLOmS1h9cjpSt6vFpv+dmj0AswmU8+jjGW9Y7B30NRIruatlQF296yajl76KGYP5w+fjUa71pI+4+5q6rrZuSm9dHLh+ON65aph817nM70nBT109TeDeRl/Gu2Rq90H7LP93BZ14Z3B735u/WD0o81J+53eP7T3cQU/vszrPvinP/93w+7nNmEt8/a/jP6dzd6FWcxTIjvxzGNirbwhfRMh7F3/9/nCUMKA==&lt;/compressed&gt;</a:t>
            </a:r>
          </a:p>
          <a:p>
            <a:pPr algn="l" rtl="0">
              <a:defRPr sz="1000"/>
            </a:pPr>
            <a:endParaRPr lang="en-US" sz="1000" b="0" i="0" u="none" strike="noStrike" baseline="0">
              <a:solidFill>
                <a:srgbClr val="000000"/>
              </a:solidFill>
              <a:latin typeface="Arial"/>
              <a:cs typeface="Arial"/>
            </a:endParaRPr>
          </a:p>
          <a:p>
            <a:pPr algn="l" rtl="0">
              <a:defRPr sz="1000"/>
            </a:pPr>
            <a:endParaRPr lang="en-US" sz="1000" b="0" i="0" u="none" strike="noStrike" baseline="0">
              <a:solidFill>
                <a:srgbClr val="000000"/>
              </a:solidFill>
              <a:latin typeface="Arial"/>
              <a:cs typeface="Arial"/>
            </a:endParaRPr>
          </a:p>
        </p:txBody>
      </p:sp>
      <p:sp>
        <p:nvSpPr>
          <p:cNvPr id="34" name="WORKBKFUNCTIONCACHE" hidden="1">
            <a:extLst>
              <a:ext uri="{FF2B5EF4-FFF2-40B4-BE49-F238E27FC236}">
                <a16:creationId xmlns:a16="http://schemas.microsoft.com/office/drawing/2014/main" id="{00000000-0008-0000-0300-000002000000}"/>
              </a:ext>
            </a:extLst>
          </p:cNvPr>
          <p:cNvSpPr txBox="1">
            <a:spLocks noChangeArrowheads="1"/>
          </p:cNvSpPr>
          <p:nvPr/>
        </p:nvSpPr>
        <p:spPr bwMode="auto">
          <a:xfrm>
            <a:off x="2375067" y="2987675"/>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lt;compressed size="651798"&gt;eJztvQtvHTe2ps2fYkwDgxngk7ruF3TPARwf2fGBYwtS0oODRsOQFamlJFYU3ZIe6Md/JNd6yS1Zl+1cikvnvBDs2rt2Xcj3IRcXF1msv7pDd+lO3L67cMfuR//phdvz347cgfs391f3rf924f/t+t8u3Zn/5cA980ftuY/+0/9x/8O9dK/dW/fc/3vhtvz3Z+5DvML37p/++B/j1b91p/7TVTz+ufvB/73323DPa9e4yv/1/tPf3X/6a+75s/7hv/1Pf9SF+4u/c7jnSdwfUvjM/c1vD9zP/oh/xiPCmW9j2g9unLnl94RcXbh/+bNexPSfxWvt+z33nf13n58XbtufcXPvr/v2P6KKr/y3C5/uPZ+yS1X23Kfs/8XPtevc7Ea/788re//qFd7zuoVP3/s9//K//dsnavxJdbyM1/5LUvBPquvk9237fXL0t37/d5HIX5KKf/oMpW9qGu79yr3xLN+4d+4Ltxl1+8tKPvO1t+NVD+LZmcUz97W/z0U8Pt8j5GhfS86Fv0atean8b8LmTyuUwhVOvdZ/iVc992f86JWr/THbsfx969P37z7FV7eOaPwRku6b+1u/fzfm8MDvu/lb538LOQ6l5r8viZ4kDJBofU5mkjBDoiYJAyR6thMmSHT+jyQskOhji92RRHESo/Z0SMICiZ4kDJCY2bMzRKImCRMkatYJIyQakjBCoiUJIyTYs7NAool5aRh3MkCiZ1TcCImBJIyQYM/OBok29ibYs7NBgj07KyTYs7NCgj07KyTYs7NCguPYNkg09J1MkJhiTmqO2Rkh0bFOFCchMXFaJwskepIwRKIhCSMkWpIwQ4IjRTZI0HeyQmIgCSMkRpIwQ4J9bCskBpIwQmIkCSMkZpIwQILj2JZIsGdXnsTAOmGKBH0nGyQ4G9MCiZGzMY2QCOOnXLfDAgnOULZFgl6sBRI9SRgg8cLn6r1X/iTuDWvtkUhZIkFzUfPQb/M8g/cc1TPK6Lnbif9vk4spLnJu+H7gPsQzSMcOnTf+HLKxyeYrf9xHv/+9e+mvR5+gNJ237iDSgEUL/toVqRihIt7ze3/OnvvFb0Vp8rHEJxx74o8kExtM2MLY5LLt/7ZIwwiNHb/3ym9bf+a3pGKEym487iD2+c/9X9h7TjqF6ewona14jRN/99Dek0tpLnLMe91/Fgn94tUnF2tc0H+R65CPFT5s+e2w+Og/nTnGK60QeeHvthu3e1GnM233yccan6wNfTJrdIJHduTT8CGmg3ys8XkZr3Tsjz9i22OOziv3JZkYYxIYkIktJm/8d3pm1qh85e//Q0xDuOa/yMcYn3f+21HME8nYIrPt70Am1pgEhb+LPvPPjJwZ5oMZACRki9COXodcbHHZjaM0exw5M0fm68jlhFzMcNnzmhyRhxkeQY0wckYiVojwyZinwIVxTJt0juOszHBNxsus0Al15nBlFtNbv//EcS6TZUasQdbonLK2mOHx0h+37zA6w3pihctrr8WpP/aYdcUQkxOvyaVGYkJaScYOmauoz0WK/zOGaYXOzVUYZCYg4wFW6TAaYI2NrJshz2mSjA0y7/x5r0nDDI3D2Offcj/53469/mEs89JvT/357NXY4RTmmeUoJ59tts/ojU/HnvcNyMcWn60YISAVW1Toq9llI9402xy7hFbH09jyWKUkCh+SizEuu/6uz0nFCBWOO9ujweimRSaYqSFrnJKOJTpB3R9iXknFAhWs1kg7ZomJnE8ednhg7kx4BjB8Ih9bfIImZ/6XfXIxxeXKcZ0z+3yyNoxhWqPDdc5s8+E6Z5bpcJ0ze0zY17THhOucWaTCdc5s8+E6Z1bJcJ0zi0y4ztnT4MN1zmwS4siATS5c58wqGa5zZovLbtRj331PIkaIoIaEWJmMbIZYwDkjzcYIhefROW/GCpNv4p25yokNKuc+L33MzRdk8RtY/N2fEcr0x9gO7MVzwxMU/7hD81rTXFHxRRXvqfiCirc+xTMVX1zxmoovqHhPO76o4p3/o+JLKt7HlrOj4ospPsY091R8UcV7Kr6g4jN7QAUUr6n4oorXLOMLK95Q8YUVb6n4woqzB7Sk4k1Mc8O4yoKK94zWLqz4QMUXVpw9oGUVb6M3zh7QsoqzB7S04uwBLa04e0BLK84e0NKKc5xzWcUb+iqLKj7FFNccA1pY8Y5lfDHFJVZLq7Kk4j0VL6B4Q8UXVryl4osrzhGJZRWnr7K04gMVX1jxkYovrjj7nEsrPlDxhRUfqfjCis9UfEHFOc5ZQnH2gJZTfGAZL6I4fZVlFecsuCUVHzkLbmHFw7gbn8tfUnHO9CyjOL3DJRXvqfiCir/wqcd7GkO+D6j8QsoHbUW1Q7/N483vOUpUmMVztxP/36b+RfQPCpzF7wfuQ7w7KSxP4Y3XmAzKMsAq8GG9/gO2zYtReOvPuFixRME/uqL6C6svXml+m7goSg4lOIT1X/nm0OW1ZwtQVv9t/7dF1RdWfcfvDe+OaH06+JaipdXfjecfxD5weAtB2Mt3ESxFYUcpbMUUnDh5Yzf1X0r/oOlFLPth/5mT9z/zvULl9If/L70xcliaA1vg5TX/6D+dOcbdllb+hb/qbtzuRT3OtP0lh1Icsgb0gUpRCB7QkT/+Q7wfOZTi8NKF9zMd+3sfsW0oRuGV+5LaF9I+aE3ty2gf3kpJT6iU+l85vO0wpIhvPCzF4Z3/dhTTTgJlCGz7K1H7UtoHJb+LvujPjAwZ4IARYpIoQ2Inpob6l9J/N44S7HGEphgBvL+e+i+t/57P+xF1X1z3kOswQkPll1aeTwZY0p/xuLIUjuMsuW1/HuNBS1MIdeBwZXbK23gG56hYYMEaUYrCKUv/4rq/9MftO4wOsNwvrf9rf/SpP/aYZb+A9ic+75cagQhpIoHlCVxFHS5SXJqxuKUp3HxaW2ZssX9cmgJ7x6UYyHP08hwZCSxL4J2/zmuqvrjqh7EPvOV+8r8de53D2Nil3576a7FXsDyPME8oR+v4LKUdFm/8OXu+jSaHMhy2Yo+Z6pdRn75ReQbipbJNKE9iddyGLUNpGqLkIfUvpP+uv/pzqr+w+hyvLKc6o3QltceIvaz1RwolKAQVf4h5ovpLqo9Vzmh/SmjPpzZK6Y65EuHZpb14LjmU4BDyfuZ/2af+RfS/clxnyA6HrAFjcaUocJ0hGxy4zpAFClxnqJz27JOV057rDJVUn+sM2eDAdYZKE+A6QyW15zpDtjhwnaGyJBixLqs/1xkqTYDrDJXRfzfme999T+UXVh4lPsSCZKQs9I3PGRktRCI858p5Ektr/008iqsbLKv+uU9zH1P9BTVfW/N/j2si3lQdV9+O1xUv/pmTGednquRFPD7f5TaNWnNTkYURFj1ZmGDR+rzMZGGIRU0WJlj0bC+MsOj8H1nYYNHHtrsjCwMsxpibniyMsOjJwgSLmX09UyxqsjDComa9MMOiIQszLFqyMMOCfT0bLJqYm4bxKBMsesbMzbAYyMIMC/b1rLBoY++CfT0rLNjXs8OCfT07LNjXs8OCfT07LDjebYVFQz/KCIsp5qXmuJ4ZFh3rhQEWEjGnjbLBoicLUywasjDDoiULQyw4lmSFBf0oOywGsjDDYiQLQyzY77bDYiALMyxGsjDDYiYLEyw43m2LBft6FlgMrBfGWNCPssKCczhtsBg5h9MMizDKyvVAbLDg3GZrLOjT2mDRk4UJFi98vvD20aDIAZkUZxJUFz0P/TbPSHjPkT+zlJ67nfj/NskYIyPnhu8H7kM8g3ws8XnjzyEdq3Tw1ovwHpIDegcG+Lz1512s2LXgu12Rixku4kuHFdP33C8Ob5AhIVuEwrF837AlKmxprJLZ9n9b5GGGx47fG94H1Poz+WY4O1x243EHMQ4Q3lET9p6TT3E+O8pnK17jxB3Hlp9kypORY97r/rPI6Be+Yc4kGfRn5DokZIcQfQBLND76T2eOkUw7TF7E64ftXlTqTD0AErJHKKtD/8wen+CdHflUfIgpISF7hF7GKx3744/YBhnk88p9SSrmqAQKpGKNSnjXM700e1y+cngbcbgm30hsj9A7/+0o5opsrLHZ9ncgFXtUgsbfRQ/6Z0bUTBPCTAEyssZoR69DMtbI7MZRnD2OrRlk83Ukc0IyhsjseVWOSMQQkaBHGFsjEztM+GTN0yDDCKdVPsdxJme4JuNodviEenO4Mufprd9/4jjzyTYl1iJ7fE5ZYwwReemP23cYvWFdsUPmtVfj1B97zPpiisqJV+VS4zMhtWRjic1VVOgijQ4wummHz811HWTuIGMEdvkwQmCPjqzFIc97ko0VNu/8ea/JwxCPwxgH2HI/+d+OPYEw3nnpt6f+fPZyLJEK89Jy/JPPST8FSm98Sva8l0BC1ghtxagBuVjjQr/NMh3xrdn2WGa0OuLGFsguJ9H4kGTMkdn193lOLma4cHTaIg/GPW1SwZwOWU2VfGzxCfr+EHNLLja4YE1IWjNbVOR8ErFEBPNswpOE4RMJWSMUVDnzv+yTjDEyV47rqD0FQlkdRjft8eE6atYJcR0123y4jppFKux9WqTCddRscuE6atYJcR01u2y4jppNKlxH7akQ4jpqVhlx3MAqGa6jZpcN11GzRmY3KrLvvicTM0xQS0IMTUY/Q3zgnFFoc4zC0+2cY2OHyjfx3lw7xQqXc5+bPubnC9L4TTT+7s8J5fpjbA/24tnh+Yt/3KF6ramuqPnCmvfUfFHNW5/mmZoX0Lym5otq3tOeL6x55/+o+bKa97EN7aj5gpqPMdU9NV9Y856aL6r5zD5REc1rar6w5jXL+eKaN9R8cc1bar645uwTLat5E1PdMN6yqOY9Y7mLaz5Q88U1Z59oac3b6J2zT7S05uwTLa85+0TLa84+0fKas0+0vOYcD11a84Z+y8KaTzHNNceJFte8YzlfUHOJ5NK2LKt5T82LaN5Q88U1b6l5Ac05ZrG05vRbltd8oOaLaz5S8wKasx+6vOYDNV9c85GaL675TM0X1ZzjoWU0Z59oSc0HlvNCmtNvWVpzzp1bVvORc+cW1zyMzvF5/2U15xzRUprTV1xW856aL6r5C59+vD8y5PyA2i+mfVBXdDv02zwy/Z4jScVpPHc78f9tEihEIGhwFr8fuA/x/uRQgsMbrzIplKaAVejDGwMO2EovyOGtP+NixR4FX+mK+i+uv/io+Z3noilJlCERVp3lW01LqM+WoDSBbf+3Rd0X133H7w1vsGh9SvjOpOX1343nH8R+cXgTQth7Tg6LcdhRDlsxDSdO3itOAssRCKpexPIf9p85eUc133JUkgD6A9I/I4nlSbAtLqH6R//pzDEit7z2L+J1wnYvKnKmLTFJlCORVaA/VI5D8IaO/PEf4h1JohyJly68L+rY3/2IbURBDq/cl1S/mPpBbapfSv3wxkx6ReX0/8rhPYwhTXwXYzkS7/y3o5h6MijFYNtfieqXUz9o+V30TH9mxMgECYwkk0UpFjsxPSRQjsBuHEXY4xhOQQbyHvcTEihAYM/n/ojKF1A+5DuM4VD75bXnkwW2CDBSV5rDcZxZt+3PY5xoeQ6hHhyuzGV5G8/gjBYbNFgrynE4ZQ0ooPxLf9y+w+gBy/7yBF77o0/9sccs/0XUP/G5v9S4REgVGZRgcBWVuEhRa0bpludw8/lvmePFPnN5Duwxl6Mgz+bL82hksDSDdz7/r6l7Ad0PY794y/3kfzv2Sofxs0u/PfXXYi+hBJEwryjH8fhcpiUab/w5e761JolSJLZiL5r6l9KffpIFCuKzsm2wwGJ1ZIctRHkeouUhCRQjsOuv95z6L64/RzVL6s74XVn1MbYvqwqSQxkOQccfYq6o/7L6Yy01WqEy6vO5j3LKY15FeAJqL55LEmVIhNyf+V/2SaAQgSvHdYwskcgqMEpXjgPXMbJCgusY2eDAdYxKqs9eWkn1uY5RWf25jpEVElzHqDwDrmNUVn2uY2SNBNcxKs2C8ezSBLiOUXkGXMeoFIHdmPN99z21X1x7lPoQI5LRtNBfPmfUtBiL8NQs51Qsr/438SiumbC0/uc+1X1M9xdUfW3VX3l93tx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byfTXl+ewon614jRN3HFt+kilPRo55r/vPIqNf+LY5k2TQn5HrkJAdQvQBLNH46D+dOUYy7TB54cKbwMJ2Lyp1ph4ACdkjlNWhf2aPT/DOjnwqPsSUkJA9Qi/jlY798UdsgwzyeeW+JBVzVAIFUrFGJbzxmV6aPS5fObyPOFyT7yS2R+id/3YUc0U21ths+zuQij0qQePvogf9MyNqpglhpgAZWWO0o9chGWtkduMozh7H1gyy+TqSOSEZQ2T2vCpHJGKISNAjjK2RiR0mfLLmaZBhhNMqn+M4kzNck3E0O3xCvTlcmfP01u8/cZz5ZJsSa5E9PqesMYaIvPTH7TuM3rCu2CHz2qtx6o89Zn0xReXEq3Kp8ZmQWrKxxOYqKnSRRgcY3bTD5+a6DjJ3kDECu3wYIbBHR9bikOc9ycYKm3f+vNfkYYjHYYwDbLmf/G/HnkAY77z021N/Pns5lkiFeWk5/snnpJ8CpTc+JXveSyAha4S2YtSAXKxxod9mmY741mx7LDNaHXFjC2SXk2h8SDLmyOz6Oz0nFzNcODptkQfjnjapYE6HrKZKPrb4BH1/iLklFxtcsCYkrZktKnI+iVgignk24UnC8ImErBEKqpz5X/ZJxhiZK8d11J4CoawOo5v2+HAdNeuEuI6abT5cR80iFfY+LVLhOmo2uXAdNeuEuI6aXTZcR80mFa6j9lQIcR01q4w4bmCVDNdRs8uG66hZI7MbFdl335OJGSaoJSGGJqOfIT5wzii0OUbh6XbOsbFD5Zt4b66dYoXLuc9NH/PzBWn8Jhp/9+eEcv0xtgd78ezw/MU/7lC91lRX1HxhzXtqvqjmrU/zTM0LaF5T80U172nPF9a883/UfFnN+9iGdtR8Qc3HmOqemi+seU/NF9V8Zp+oiOY1NV9Y85rlfHHNG2q+uOYtNV9cc/aJltW8ialuGG9ZVPOesdzFNR+o+eKas0+0tOZt9M7ZJ1pac/aJltecfaLlNWefaHnN2SdaXnOOhy6teUO/ZWHNp5jmmuNEi2vesZwvqLlEcmlbltW8p+ZFNG+o+eKat9S8gOYcs1hac/oty2s+UPPFNR+peQHN2Q9dXvOBmi+u+UjNF9d8puaLas7x0DKas0+0pOYDy3khzem3LK05584tq/nIuXOLax5G5/i8/7Kac45oKc3pKy6reU/NF9X8hU8/3h8Zcn5A7RfTPqgruh36bR6Zfs+RpOI0nrud+P82CRQiEDQ4i98P3Id4f3IoweGNV5kUSlPAKvThjQEHbKUX5PDWn3GxYo+Cr3RF/RfXX3zU/M5z0ZQkypAIq87yraYl1GdLUJrAtv/bou6L677j94Y3WLQ+JXxn0vL678bzD2K/OLwJIezl+xCW47CjHLZiGk6cvFecBJYjEFS9iOU/7D9z8o5qvuWoJAH0B6R/RhLLk2BbXEL1j/7TmWNEbnntX/gr7cbtXlTkTFtikihHIqtAf6gch+ANHfnjP8Q7kkQ5Ei9deF/Usb/7EduIghxeuS+pfjH1g9pUv5T64Y2Z9IrK6f+Vw3sYQ5r4LsZyJN75b0cx9WRQisG2vxLVL6d+0PK76Jn+zIiRCRIYSSaLUix2YnpIoByB3TiKsMcxnIIM5D3uJyRQgMCez/0RlS+gfMh3GMOh9strzycLbBFgpK40h+M4s27bn8c40fIcQj04XJnL8jaewRktNmiwVpTjcMoaUED5l/64fYfRA5b95Qm89kef+mOPWf6LqH/ic3+pcYmQKjIoweAqKnGRotaM0i3P4ebz3zLHi33m8hzYYy5HQZ7Nl+fRyGBpBu98/l9T9wK6H8Z+8Zb7yf927JUO42eXfnvqr8VeQgkiYV5RjuPxuUxLNN74c/Z8a00SpUhsxV409S+lP/0kCxTEZ2XbYIHF6sgOW4jyPETLQxIoRmDXX/E59V9cf45qltSd8buy6mNsX1YVJIcyHIKOP8RcUf9l9cdaarRCZdTncx/llMe8ivAE1F48lyTKkAi5P/O/7JNAIQJXjusYWSKRVWCUrhwHrmNkhQTXMbLBgesYlVSfvbSS6nMdo7L6cx0jKyS4jlF5BlzHqKz6XMfIGgmuY1SaBePZpQlwHaPyDLiOUSkCuzHn++57ar+49ij1IUYko2mhv3zOqGkxFuGpWc6pWF79b+JRXDNhaf3Pfar7mO4vqPraqr92b2MkYVV1XH07Xld8+mdOZqufqZIX8fh8l9s0as1NRRZGWPRkYYJF6/Myk4UhFjVZmGDRs70wwqLzf2Rhg0Uf2+6OLAywGGNuerIwwqInCxMsZvb1TLGoycIIi5r1wgyLhizMsGjJwgwL9vVssGhibhrGo0yw6BkzN8NiIAszLNjXs8Kijb0L9vWssGBfzw4L9vXssGBfzw4L9vXssOB4txUWDf0oIyymmJea43pmWHSsFwZYSMScNsoGi54sTLFoyMIMi5YsDLHgWJIVFvSj7LAYyMIMi5EsDLFgv9sOi4EszLAYycIMi5ksTLDgeLctFuzrWWAxsF4YY0E/ygoLzuG0wWLkHE4zLMIoK9cDscGCc5utsaBPa4NFTxYmWLzw+cL7SoMiB2RSnElQXfQ89Ns8I+E9R/7MUnruduL/2yRjjIycG74fuA/xDPKxxOeNP4d0rNLBWzDCm0kO6B0Y4PPWn3exYteC73ZFLma4iC8dVk3fc784vFGGhGwRCsfyrcSWqLClsUpm2/9tkYcZHjt+b3gzUOvP5Lvi7HDZjccdxDhAeFNN2Mv31ZTns6N8tuI1TtxxbPlJpjwZOea97j+LjH7h2+ZMkkF/Rq5DQnYI0QewROOj/3TmGMm0w+SFv99u3O5Fpc7UAyAhe4SyOvTP7PEJ3tmRT8WHmBISskfoZbzSsT/+iG2QQT6v3JekYo5KoEAq1qiENz7TS7PH5SuH9xGHa/KdxPYIvfPfjmKuyMYam+14F1KxRiVo/F30oH9mRM00IcwUICNrjHb0OiRjjcxuHMXZ49iaQTZfRzInJGOIzJ5X5YhEDBEJeoSxNTKxw4RP1jwNMoxwWuVzHGdyhmsyjmaHT6g3hytznt76/SeOM59sU2ItssfnlDXGEJGX/rh9h9Eb1hU7ZF57NU79scesL6aonHhVLjU+E1JLNpbYXEWFLtLoAKObdvjcXNdB5g4yRmCXDyME9ujIWhzyvCfZWGHzzp/3mjwM8TiMcYAt95P/7dgTCOOdl3576s9nL8cSqTAvLcc/+Zz0U6D0xqdkz3sJJGSN0FaMGpCLNS702yzTEd+abY9lRqsjbmyB7HISjQ9JxhyZXX/f5+RihgtHpy3yYNzTJhXM6ZDVVMnHFp+g7w8xt+RigwvWhKQ1s0VFzicRS0QwzyY8SRg+kZA1QkGVM//LPskYI3PluI7aUyCU1WF00x4frqNmnRDXUbPNh+uoWaTC3qdFKlxHzSYXrqNmnRDXUbPLhuuo2aTCddSeCiGuo2aVEccNrJLhOmp22XAdNWtkdqMi++57MjHDBLUkxNBk9DPEB84ZhTbHKDzdzjk2dqh8E+/NtVOscDn3ueljfr4gjd9E4+/+nFCuP8b2YC+eHZ6/+Mcdqtea6oqaL6x5T80X1bz1aZ6peQHNa2q+qOY97fnCmnf+j5ovq3kf29COmi+o+RhT3VPzhTXvqfmims/sExXRvKbmC2tes5wvrnlDzRfXvKXmi2vOPtGymjcx1Q3jLYtq3jOWu7jmAzVfXHP2iZbWvI3eOftES2vOPtHymrNPtLzm7BMtrzn7RMtrzvHQpTVv6LcsrPkU01xznGhxzTuW8wU1l0gubcuymvfUvIjmDTVfXPOWmhfQnGMWS2tOv2V5zQdqvrjmIzUvoDn7octrPlDzxTUfqfnims/UfFHNOR5aRnP2iZbUfGA5L6Q5/ZalNefcuWU1Hzl3bnHNw+gcn/dfVnPOES2lOX3FZTXvqfmimr/w6cf7I0POD6j9YtoHdUW3Q7/NI9PvOZJUnMZztxP/3yaBQgSCBmfx+4H7EO9PDiU4vPEqk0JpCliFPrwx4ICt9IIc3vozLlbsUfCVrqj/4vqLj5rfeS6akkQZEmHVWb7VtIT6bAlKE9j2f1vUfXHdd/ze8AaL1qeE70xaXv/deP5B7BeHNyGEvXwfwnIcdpTDVkzDiZP3ipPAcgSCqhex/If9Z07eUc23HJUkgP6A9M9IYnkSbItLqP7RfzpzjMgtr/0Lf93duN2LipxpS0wS5UhkFegPleMQvKEjf/yHeEeSKEfipQvvizr2dz9iG1GQwyv3JdUvpn5Qm+qXUj+8MZNeUTn9v3J4D2NIE9/FWI7EO//tKKaeDEox2I5Xo/ql1A9afhc9058ZMTJBAiPJZFGKxU5MDwmUI7AbRxH2OIZTkIG8x/2EBAoQ2PO5P6LyBZQP+Q5jONR+ee35ZIEtAozUleZwHGfWbfvzGCdankOoB4crc1nexjM4o8UGDdaKchxOWQMKKP/SH7fvMHrAsr88gdf+6FN/7DHLfxH1T3zuLzUuEVJFBiUYXEUlLlLUmlG65TncfP5b5nixz1yeA3vM5SjIs/nyPBoZLM3gnc//a+peQPfD2C/ecj/534690mH87NJvT/212EsoQSTMK8pxPD6XaYnGG3/Onm+tSaIUia3Yi6b+pfSnn2SBgvisbBsssFgd2WELUZ6HaHlIAsUI7PrrP6f+i+vPUc2SujN+V1Z9jO3LqoLkUIZD0PGHmCvqv6z+WEuNVqiM+nzuo5zymFcRnoDai+eSRBkSIfdn/pd9EihE4MpxHSNLJLIKjNKV48B1jKyQ4DpGNjhwHaOS6rOXVlJ9rmNUVn+uY2SFBNcxKs+A6xiVVZ/rGFkjwXWMSrNgPLs0Aa5jVJ4B1zEqRWA35nzffU/tF9cepT7EiGQ0LfSXzxk1LcYiPDXLORXLq/9NPIprJiyt/7lPdR/T/QVVX1v1//C/n99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aek09xPjvKZyte48Qdx5afZMqTkWPe6/6zyOgXvm3OJBn0Z+Q6JGSHEH0ASzQ++k9njpFMO0xe+Pvtxu1eVOpMPQASskcoq0P/zB6f4J0d+VR8iCkhIXuEXsYrHfvjj9gGGeTzyn1JKuaoBAqkYo1KeOMzvTR7XL5yeB9xuCbfSWyP0Dv/7Sjmimyssdl2fyMVg1SCxt9FD/pnRtRME8JMATKyxmhHr0My1sjsxlGcPY6tGWTzdSRzQjKGyOz56x+RiCEiQY8wtkYmdpjwyZqnQYYRTqt8juNMznBNxtHs8An15nBlztNbv//EceaTbUqsRfb4nLLGGCLy0h+37zB6w7pih8xrr8apP/aY9cUUlRN//UuNz4TUko0lNldRoYs0OsDoph0+N9d1kLmDjBHY5cMIgT06shaHPO9JNlbYvPPnvSYPQzwOYxxgy/3kfzv2BMJ456Xfnvrz2cuxRCrMS8vxTz4n/RQovfEp2fNeAglZI7QVowbkYo0L/TbLdMS3ZttjmdHqiBtbILucRONDkjFHZtff9zm5mOHC0WmLPBj3tEkFczpkNVXyscUn6PtDzC252OCCNSFpzWxRkfNJxBIRzLMJTxKGTyRkjVBQ5cz/sk8yxshcOa6j9hQIZXUY3bTHh+uoWSfEddRs8+E6ahapsPdpkQrXUbPJheuoWSfEddTssuE6ajapcB21p0KI66hZZcRxA6tkuI6aXTZcR80amd2oyL77nkzMMEEtCTE0Gf0M8YFzRqHNMQpPt3OOjR0q38R7c+0UK1zOfW76mJ8vSOM30fi73xfK9cfYHuzFs8PzF/+4Q/VaU11R84U176n5opq3Ps0zNS+geU3NF9W8pz1fWPPO/1HzZTXvYxvaUfMFNR9jqntqvrDmPTVfVPOZfaIimtfUfGHNa5bzxTVvqPnimrfUfHHN2SdaVvMmprphvGVRzXvGchfXfKDmi2vOPtHSmrfRO2efaGnN2SdaXnP2iZbXnH2i5TVnn2h5zTkeurTmDf2WhTWfYpprjhMtrnnHcr6g5hLJpW1ZVvOemhfRvKHmi2veUvMCmnPMYmnN6bcsr/lAzRfXfKTmBTRnP3R5zQdqvrjmIzVfXPOZmi+qOcdDy2jOPtGSmg8s54U0p9+ytOacO7es5iPnzi2ueRid4/P+y2rOOaKlNKevuKzmPTVfVPMXPv14f2TI+QG1X0z7oK7odui3eWT6PUeSitN47nbi/9skUIhA0OAsfj9wH+L9yaEEhzdeZVIoTQGr0Ic3BhywlV6Qw1t/xsWKPQq+0hX1X1x/8VHzO89FU5IoQyKsOsu3mpZQny1BaQLb/m+Lui+u+47fG95g0fqU8J1Jy+u/G88/iP3i8CaEsPecHBbjsKMctmIaTpy8V5wEliMQVL2I5T/sP3Pyjmq+5agkAfQHpH9GEsuTYFtcQvWP/tOZY0Ruee1f+Ovuxu1eVORMW2KSKEciq0B/qByH4A0d+eM/xDuSRDkSL114X9Sxv/sR24iCHF65L6l+MfWD2lS/lPrhjZn0isrp/5XDexhDmvguxnIk3vlvRzH1ZFCKwba/EtUvp37Q8rvomf7MiJEJEhhJJotSLHZiekigHIHdOIqwxzGcggzkPe4nJFCAwJ6/zhGVL6B8yHcYw6H2y2vPJwtsEWCkrjSH4zizbtufxzjR8hxCPThcmcvyNp7BGS02aLBWlONwyhpQQPmX/rh9h9EDlv3lCbz2R5/6Y49Z/ouof+Kvc6lxiZAqMijB4CoqcZGi1ozSLc/h5vPfMseLfebyHNhjLkdBns2X59HIYGkG73z+X1P3Arofxn7xlvvJ/3bslQ7jZ5d+e+qvxV5CCSJhXlGO4/G5TEs03vhz9nxrTRKlSGzFXjT1L6U//SQLFMRnZdtggcXqyA5biPI8RMtDEihGYNdf/zn1X1x/jmqW1J3xu7LqY2xfVhUkhzIcgo4/xFxR/2X1x1pqtEJl1OdzH+WUx7yK8ATUXjyXJMqQCLk/87/sk0AhAleO6xhZIpFVYJSuHAeuY2SFBNcxssGB6xiVVJ+9tJLqcx2jsvpzHSMrJLiOUXkGXMeorPpcx8gaCa5jVJoF49mlCXAdo/IMuI5RKQK7Mef77ntqv7j2KPUhRiSjaaG/fM6oaTEW4alZzqlYXv1v4lFcM2Fp/c99qvuY7i+o+r2qv4j6nbsw4+p5nHW1eYvETQK40+pVnjmZuX6mql7E4/Mdb5OpNWcVuRjk0pOLOS6tz9dMLka51ORijkvP9sUgl87/kYs9Ln1s9ztyMcZljDnrycUgl55czHGZ2a80y6UmF4NcatYXk1wacjHJpSUXk1zYr7THpYk5axgfM8elZ5zfJJeBXExyYb/SIpc29l7Yr7TIhf1Km1zYr7TJhf1Km1zYr7TJheP7Frk09McMcplivmqOV5rk0rG+GOMiUX7aMXtcenIxy6UhF5NcWnIxyoXjYha50B+zyWUgF5NcRnIxyoX9fZtcBnIxyWUkF5NcZnIxx4Xj+3a5sF9pjcvA+mKYC/0xi1w4D9Yel5HzYE1yCSPJXB/GHhfOG7fMhX6yPS49uZjj8sLnEe/EDeockI8pPoGAaHvot3k2xnuOaD4JYs/dTvx/m5QMU5Jzw/cD9yGeQVZWWb3x55DUUyCFt7SEN+cc0LMwxuqtv9LFiu0LPuAVGZlkJP55WO1/z/3i8CYk0rJLKxzLN2tbJcSW6SlQ2vZ/W2Rjks2O3xvegNX6M/lORJuMduNxBzH+EN7OFPbyHU22WO0oq62YzhN3HL0GUrJFSY55r/vPIq9f+OZF85TQX5LrkJZNWvQfrJL56D+dOUZZbfJ54e+zG7d7UbUz9R5IyzatrBT9PNusgpd35K/1IV6PtGzTeunPPPDX+qdnxjbLNqtX7ksSMk0oECEhy4TCW9fp7dlm9JXD+8FDuvmOcNu03vlvRzGH5GSZ07a/AwnZJhT0/i565T8zwvdkaGFmBHlZ5rUT00xKtintxlGoPY4TGuf0daR0QkpGKe35Ox+RjlE6QZswTkg+NvnwyaanR4nR16fA6jjOgN325zGuZ5NVqE+HK/PA3sa0cDbY0yHG2mWb1SlrklE6L/1x+w6jT6xDNim99sqc+mOPWY/MEgp3vtQYUUg5OVnldBXVukgjGoy82mR1cw0PmWfJ2MTTYMXIhG1SsgaLPJ9LThY5vfPnvSYbo2wOY/xhy/3kfzv2NMI47qXfnvrz2YuySi3M28uxWT7v/tSIvfHX2/MeBmlZprUVoxVkZJkR/b+nQkr8dbZVT4XX6ughW6ynwUz0PiQl05R2/f2ek5FJRhyBt86GMVn7hDCfRVbyJSu7rM7ivX8gI5OMsO4oLZ5dQgeOz6ZZpoP5RuFpz/CJtCzTCgqd+V/2SckwpSvHdfieGq2sFCOvtllxHb6nRIvr8D0dVlyHzzoh9nStE+I6fPYZcR2+p0SL6/A9DU5ch88+Ia7D9xRpcR2+p8CLYx1PgRLX4XsanLgOn2VKu1Gdffc9+Zjkg9oTYnoyqhviEueMlpvmFVYs4Fwjm4S+iVfg+jkWGZ37nPUxb18YIvNX92ffPh74/Jy7f/PfrlKuw/faHzn5FF/HT4O/V/jUutmN+mnyf/Jr5X+XfaP/XT71/p98av0R8imoIJ8qvUrjt7V+mvTcZuW+nZ7bpBTU/tOgnyo9Llyt109DPCOUpEa3+N7rdojbOp7baErCNty9i5+uY56muH+K54d01LptdIv9vW6HuG31e6vX66IO4X/8Pup9Wt0Ouh31eDmv13R0ur/X+7YxXeH4Tre9/l7rFtdtVLlW9Wpu6IW71qo0zuuUaruScvDr9VOn1Lqok6gJik26W60pr1XhSVNaJYVDToNOk27xe6vbQfeP+r3Rba/7W93iuE5/x7bW/bOmelJt65WyNKZPvX7q9FOjKZOSNqsWteo26ZUq3dapBlR6TpvKaZ00rbX0Ven8VtNWp7tWeo82/dakWoBaFQhC3UFzixrVpjzNKS29atJqzkG1i0fJFkdUUbVR6UxKZ1K1J1V/SvQa/Y5tpftrvQ7OH3Rb63bU4yr9jnqK8ot0QSnwaTR/nZ4j9mlwsEUgMae81qoDciFscFyb6DTJeuXyPK6UhtbBPuG+qC3NilUaV0pNp7QmTXMo02JXOrVPnea7U/vUaQnptWZ1WnvELkxae0bl0mipn7QmT1rvJy0zk9qHSevlpDpOyn1SOzRpOZq0tk7KYdJaOGn5mlSjScvJpDQmLVmT8po075PW1klrzqSletLaXCcF6lQrRC9cJdsn3D/bp1HvCPs0JOJjynWlaoJnq2WhUcVGtS+N2p9RS/CoJXxUnqNec9QyNGqJHrUmjloDRq0hYW+rWxzX6e/Y1rof9mnWM1By6/RbrXep9Ti0ojiuThRr1W3SK1W6zfapS9eBdUBb0Sa9unR+tk9onSstAdl2gUmjlITgrFcYNLewT12qyXNKS6+8a5ftE1KA63R6hOSo1/2DHjeodoOqPyR6jX7HttL9tV4H5w+6rXU76nGVfkc9RflFupBO5KpNZXZKuRlSGZ0TPVjnLpV7WEdpa+FnoR1pk+Vr9e5in2CVwLhZuW+XWuMhaT2mUoPyU6X7VqpDo2WiUTvSqB1B+4561GiaGrULvV69V50brcm9lqReOfZaLnqtfb3q2Gs56TU3verap+tM6T69bifdhv2DWoxB89ar3oPao15V77VW9lqvBrV3g9qrPtWTJtUT+JKiV6NHoQ708bwh+VitlvNe7YQwhcc8JjUaVTP7T6hLteZUSnKTct4nhWv9LjnqVLle79urMl06r9PtqPt73eK4QX/HttUtyjOYrJalNn2qk13JpRQWptYzJ73mpGkeUl7QLufSiXa5VqskNWvS0jbpeb2DfYJ9AcEp/ZZ90j71E5CSQa/UpxrVpZxkOwxNcsvfpvIDTXCE5KjV/Z3mtNVUtUl9/N7pfmwb3d/qd5w/6Rb7Zz0O90O9hcK1pg9Ko/2Al9OlktmpCnXyvuvkT9cr/nKbNG2T8m2qH20qxW1qG5rUbjXJQjYr9+1T3RoS7SmVLvQrq9QOVZof9Adh1xpND/ywZuW4Ubch17PWnjn1XMTuzFqSZ633s9qHWdM/q52Z9Xqzcp/VDs2a/nnlPr1uJ93K/knPmzQdY9qP+1Z6/KDbUX9vdYvrZvuULQbs+axXQ3+hW7l/tk+zphj2KXvROdeNqpn9J/htjaaoU/s06/XapHCt3yVHjV6z1Ry0qkyTzut0O+r+Xrc4btDfsW11m+1Tr3dGCUJ5rZPnXyd71iZ7LntFi1a3lV4Jecn2CX5+l6wD+mdtajVRGuDr5J52o3VjXrFd2SeFFapW8jJpLrN9gk84p7QgvUOqs10qR7VeZ9AjJEe17m/0OChQJ/Xxe6f7sW10f6vfcf6kW+yf9Tjcb1BlkPta0welYZ/apDW2OU8oy9AN1us6pn/Uba9blOZJvze6rXSLcoPz5HogDDsEa4WWaUjbTre9bnFcpd9H3YoHIukYkqUWT2RIv4/6Xe4zqEUa1CINqtyg1x20Tg6ajkHTMWi+BrUQQ/JMxnTepFvZP6V0DHp8o1vcf9bjcN3st6J9QBmXfMLDHfT8QXXAfcABXm+v+yfVr1bdK93Wet1edZPvTdJz1O+DblvdX+u20/29fq902+p+XA/HNfp7o99n3cKvQT4rTe+o2163KJezpn9S3WbdDnp9pH9WPXB8r1uUn1q3k943RzjkuEb1w36Ud5RflL9O74d0zrqF7ihHaCFGPQ9blAtJR6X7a81PrTrWqmuduFT6vdLzJv0Ozxznd/p91u+9bnE86l2r6UC6Bt22ml/oDwU7rWNSZnNPLPuOsDTZVx8S7aw32r7WIebQJPWaZI2blfvmuANSkLnWKWZXpXMrLf3NSsvb6bbXrViPSf2XUf0b0KxSD6JSMtkPr1KZrFItrpJdrFyOLqLsVEnVKtnJKuWqSja5Sla5Su1xlSx3lcpc5fqVq0zpU47e55QO6dwmfcrpm9MZ+W65FcWnOqVgTvfN/u+wokHuo+UUgHb2jseU5s5hfCB7RvB5m3RXsTltimNVrlqhM6Z9Q/rUpl/r9KlLv/ZpX5U+tenXfI98RpOOa9K+OX1COc3lD30t2C35BD+jT5ogLbWWMiEwp09Dum/OL9qF1VgWvLI8NiT2u1nROo9S5FGNOmmR25/ci85k55WrdCkl6ImgJNepfNQrJSq3cF3a16yUo1wuxfeZ1HcSNWdtqWY3q88zrxCvdE+lZ076HV46rtDp91m/97rF8bASbUpLTl9mCpWzLzUl1XLfG1ohui/2Mo/3oV3oE6t2hRpqUJUs4phoIdbVrNw3j7MMKX3ZSubSnMsB+ni15rpW21in/egDY1Rq1K2MJQgXjBugH9rrcb2W1V7P77Xc9Uq6d4hi1NqXR4SmTr+3eh/ZjxhUpX3yRs9r9L5N2j/p+Z0eX+kW9x91i3xA4TZ9yjV9TEflVqjT89H2IepQrzDNfT/kBmrm2BT68hiVmbWuSsnv3JgU7vV7p9tat7P+3uj3VreT7pfjBj1uTMdV+nul33E/tOFzOgJWK4/E5dhCjofOqaTVSe1Rt51eCXlBDcgxrjzGlq1aLm3IC+pQne6KklCl32D3mpU2F7mcNffwaJpkYWs3p7Qg3od6l8eg57RFDiVHve4fNKe9qj0k9fH7pL9jO+h+jEl3+r3R76N+b3WL41EfkXukq9Mt8tKkPOTo3ZDKMco4xn5F2+z15nGg3IOc06ccQ4RVGldKA/y5fF/4So3LsbMppTS3xbBtlUOktlf71Kud6dU+9Q59YIxKjbqVERVJz+QQ05r1u9TkKVl9tB6Vti+iy6Q6Tsp90jI+aTmaVLVJa+GktXBKsaVKW5dKW58q7Z/0/E6Pr3SL+4+6RT5glXJ9yx4LUjm6bJ+Qr2yfcEdQy5GNMakCNbMHli1Vo/doVUlRsE8K9/q9022t21l/b/R7q9tJ98txGI3t03GV/l7pd9wv26dOj8heVZM+5XF65BeeYK2twqR2aNJyPmntmlZ6KrCGuU9ep7a/VTverOQl26DsL9d6j/wbakH21+ekbqNXgn3KUZw8Htan0pbtE8pJr1uUJ8lRq/s7zSmO75L6+H3S37EddD/GpDv93uj3Ub+3usXxqI+tpgPp6nSb7X4eYc69iNwfhw80rdgseEioFa3LEch2hQ7KfpXqzOiy15R9Kty3S6oPKX0gUaX2rUpeWJV+xbgGrB5YoUahvwgPQq4FrwH9YIwzYiwA8WP0l1otYZgT02pJgH1GH7vVWoM5GRjZR18MerVamzGGjfYYMVmM/8N6IMKNeoF+R7tileAP1yv9BNwlxxl7vS6UbLVE5RG9NvWMupTbPBMtWyW09eiZd1onMbumSQrju9yn1pw0mgPM0mlUgUav1+hxtR7X6HG1KtKkba/bHCuZ9Mo5ptylT7BUea5G7i9Vemav14RabcpLHjOC99Im64BecOvqVAqREtSheoXSrPfAb8hB43IcA+Wj09zndiHfd0pp6VXr7AFD/U63bcqhXLfS/bXmtFK1q6Q+fkf8BdtO9yMqALqVfu/1e61b3G9SZZBSpA9KIy9NykOOguVxhjw2DY8Ls/DEZqF09y57TTnmmeewwSqNK6UBPlW+L9qCxuW5dbmFypEO+G2Vw1gd7EurNahV/wmRc9jrNh0vczGk9owO/UNJ1ag1edR6PzrMbun0PLEzY7qOcB81B6Peb9TaOmotHLUWjlq+RuUyajkZ1W6NWrJG5TWqlqPW1lFrzqilenR5vLpLuuYYEeYXNS7bp0HPz/Zp0JSBGiIi6JONLs88y/ZpTp8qvUetSkrOqqQwvktMGLN0Ks0BZulUqkCl6UFsd9bjpEQODrNoqrTtdZtj6Y1eOc+zy5/ynCbkF1a31tIwaikatXSNWrvGZHfQvtQux9Zrh94vbDD63GOyXJijKJRQMrJ9Qi3oVwgOqm6lVwKBHA+b06c+XTPbJ5STVs+f9AiJoEsdHFSzQb2RwU1Jffw+6H5sO92PkSHQrfR7r99r3eJ+kyrTajpaTR+UznY/98KuVWXR4lp9rmuHGdLSF0XLc73C6XqlRZBvGPO/Ti0jFM32HpYKSqNFQMlBWwc7dq265bnl6MHkuJ9sc/Qa7c918r7kf/hZ1w7jrfI/RtDhs12ntifbyWuHsViMyF67HFlHT0Wufe2k533tchwEcbQ8U/XawR+Qfj1mcl0nm4C5FNcr1lmYiyIYKbx2mFcHS3jthlSKrh3GMjHidu0wv67WknPt8vwDzFWEj4Q6hVp+vWLZrx3mAWC25bXLM2/hZ8HPhT+La2KO67WD/3Xt8jxxePnwoa4d5nzCYl6vlBwZ30bfBn0NzKa9dpi/jllV1w4ztjD36TpFYBD1ul6JuVw7zM3HPK1rhzlcOXp9naIFUo+EZhuf8rj5ZEfY8zE+YXzXUx+1g8crI5ObTua+SGnfcNL7l3kCoeRuOunZIIY3aDxCZixtOuktSJuLVkN6+jLbcYzH9NqLyxERGW+eYwpgwSRiKnGWTSdxUon6YxZvq610FY8QX7TS/myendRoP7z3x8i83Uq9tT7mEWNnXcyBjFjLODPGqqSNFku6qW1xoz3bOV4jKNOpjyKzsiXK1GiqtvwxlUNUf9SjNp3MfJw0jau2ZtZ2XYjMDrPqpTXu434ZBR5SnxezqBAF3dRWR+Jc4Rp4dmRS67jpMPNN/KZADN5ppR6FpEDGCzGT8jqmTI4ST7hLx8OnkzGlTTepjy5jFJKX1fEBmX0l7Cf1R7NPKqNQ0idu4j1lLg0sh8ydCvne1BRK5AD+II6V8bRN12hepfeFGK5YC6nRkq9WW2pEjMTPa2MJaRzmpmHOrZBotNctqRRfA+MJ4sFIfFlqkkT8xYuCJZu1pMrMMdFOoqNSH2XGssTcNtWDEk8YM7s2nMy6bzUdbToTMdCgQqXtuqSgdojXyuxkod7rfTGi1SkbmRUsR0hvEZ6b2AFJk4yXbDqJG2Lu5oaTOLXUgD6WokE9Q8zllFT06klUUYdGy460VOJTNdpXlPzIsyC91sdZLVOld5CoY+Py0x4Sz5DcScnC3A95AmfSs1q1LY1+w+yMWS2dlNBNl+MVEjGTOF8VFZA7YqxH5sDN0RZ2Wntz7FBKukRD2lg/xVYMDjHSKdWITSdz9qVm4RkPieyKtRQ7IbP20DMRGypRAZm3t6n1D1HWQVsDmXU3azpnvVubauagqZ8jIYlvIBIis+hklKCNV5DyLzP9ME4kT5AMqpNY7jqRnlVlpALzIuQ46c22yWpI7KFLNgzP+MhTKY1aMnga4kfLTLkuliCZPYc5tlIKhfOg9U3qImZtSCmetcS32rpMyQZfu9vWWM6flFjrMONdrtGrNZY+ch6VbdWqVaqTjLBMyRNotbWV2aqbDnPXZW546/AcjjyVM2mNGzR3Ui+vtSVsk03adDJ3Sp6NQB9N2iSpz00kgnkvmHNcOTy/iB7SppbqyqFXJCPbndoiGXuZtdXEPK02tbCD1s1GqY0xtY3Wf5kTsan1UGarY0yu07rcrxAWC5xjL5OWa2kboCOeIJBrjtrKSH0cNL1DajtaVWrTybwmKdM5atVr69ConZFYdZ5pJE8btTGVk95pdBjvh42R8YJNtWsy7pOf5Ji1ZrV6jMRd85M8k+ZB2NbauuU5SBtOIi1tTKPUU5RU9CcmbT/EJo9qJyuHOVUbrk75aNRajtriIb6y4WQuMErPqD6KtLjSv9hw4gtKCZ3UPg1agsQz3nAyN1BGjTc1t62y6x1Ggm4fUWnrMjlEQyRSWyu9UWvwrKoIb2ldxEqN6gFizuWs5axX77ZJ3mWeBS/2SeZINPFeMhqPJ4t7bd8mvYvUnkFbKcyEG7SUderBVLrN45nyHGSbLG4+Cv26Xi3zoBZLShcig1J7q+S7jKoBPPxO7VSVSuy4Ql5iXKP6wk2ynJNeeUPLcKWt06bWAukhDElxlHCxZxJhECvU6TEyF0EiQJ2WZ5lri7nKo1oD8d2rmOZalcDTj53WoEm9mVl9jhzrrLTcyW+ttvPi70gplGeQZJ7kppKQGiOeAGpUpT6M9CereKVJW1n8DS4/VTcqA7H+my7HVaWsdOmsTfXaMN43qteHut4qCbF5mGVbaa4GJSrj+PkZpUm167WObmo5z/MMer0L+kWYPb6h5ULiYp22fINDbFH85z55J63WrfxMi1jQUdv/TYe43qzlUSLV4ie0rk7qyPNis+rbaxkRFQf1gWaHkW2ZTyLebq3Wu1X7glhxrcTkCptaCmTuFKL0o5Z8eapW/PrOYeastOSTenzSa+q0Rc5PLjSakl59ukbPz6VMvMRGLafEWCf1JhChqNWioj+U263G4ak7Kat1qsOT2kXE/uBndGqhZaQHURQZkazVZxo0pzIijnG+0eGpH7F0rVootAAgMWirPTiMVmIW8YZau1b9LsxhqrVVmrWfI/0eyanMm5IcIKaJWVpj8sQn7Z1UDk/N/h4xhOxXyZMfs8Ooa6N+QK12alLtRocxuMfjAegrN2ptR61Pcv/c95cew6yWqFH7LXaojWq02qaLnRFPAr3A7CfAOsh8jk3Xa10VTdfrW6HNGVKZblW1/Gxsoz4IogzShmLe64ba7MphroPcRWpFo9apSdZsUosza4mRVGUrLk90SN3Y1LKFWfkbyV5UWlOlLk6qM+K5s3oyvXokiEdhZQQwbjTVjV5doljDSo4kvgrr0DpEJzCvt1ULISqK1ylPjcF3XcfCIRaOHiPs/KDtMmazSHuCXnCt18H4D54DntTSiQWTmf94/kNKjNjrUX1c+EGtWrBarSx4DupD5KeNu9RGwqqL34rnN2WsdtJWqlatpcVD/3lSmy2Rpi6WPTzNIHVO6nuvfhbilZif9Fg8adQWU9pzxCVn9bPQN5HRx059nNrlWBDWSYFXKfMWNvWq0rrmOW6DWqRWy/Sgtqt1iOQ1eo1aa/2gpQIzlh6OW0nb22m+W+2rdQ6j0dWK51Y7RHs7LedV8saEjFgNudegqZAjpK5K7148U9jBPA9MfHOpQ5VqjOuLfZeaPal9kJhx7ntV6fhGlepTOzU7jEd3WvPkuEFz0cTjpFWSyC3GuHvVFF4rfCzQy3NaK62hlZasKXkr93lD9/tQct6gdXnUVq7XtgSzqeF/rqYN5Qotj1iJ2SGKdxdHzMKRtmJys95r+OR4xMtnbX1F9exN3WQkJUmu2uh+rKIgUbBNh0hSrxZycIhF3PSpZRwCFkJS2KmdmbXejWrnpO3b1FrYaxs1aFm+VuvZaHu5+oceEpSq1Ieq1KZJHwtzC+SeldYWmTGO8QvM5lnvbyO2peLnikUQi9xrOz+vjCB8+tckKzdpmzarpZQezZZSu+vcQb0eKeESAZQ5WEL2oftuaM9kdjnKIVamUc1Xz5Yee6vtongfrXpoaEfh6TQOT/ghh31qUzYd1vF4vE/ca/uIlm3W1nlymDfy+X8bTiIAEmGTuGSTPLVVKnelefWvVcvSJ48lq1G5/o57t1qPxP/vtX2VvuBdx9/8u10C7s/J3X+P373XNlW85Vm9ihwLfKgkrqYLs8jv+xPb3mscRfoG0qPCcxiIrkjfFfNosTpLrXWm0folZRjzqMUiSQuX1RDPvlMPE6NoaEvFYvTqGW+qjzUka4D2ZNJ2XsrspL6/PKvX6n0mtUZ9SmXnMNaCVZ6yly/WFzFgRGfQ58AM6lH9FESXZv2lSn7yzRLSq8fTp/4Gnk+VSGStPnudarf0wDAetan3EN8A43lzarU3HVZV2NB+3qTe5GZq11ef34PXLGtQbaqOs8Nsx1p7poh9SU9A/Ij6k/xtqI9WO4xczFpWqlSS5Rli+EV5/YzWYQyjV28G9rbRa8u4GeJNm1rzNxzms0vLh1UkNpzMu560VIxaM8XDlPLbaCsmXgZG+jA/b1ixILJf+sCDtkiybtLNCNqoaam1FR91z+r17xpJxDMvEgFptA8vucd6FyhBs0P8FmP94U+imrXDfAK51qA9ijzPYta7YpxO0tpqqyD9rUq1Fx9PvGw8kzw7RL1HtVvo1eB5oPVGoKTO3hyBqpO/DpawiphPjliztDbibXRqaaUP3Gp9qR1GOFctHEZj4clIDL5RjySP2E5qkW+O8oj1GpLmEsfBvAGM8klrOSkFqVky9jVpKzRrjyD3XvBMRKUWRuiO2vZL7Fa0bbUkjeoNSy2fXX6GHDlo1fuetO4hviDRS4xbyEhzfvpP7i59aoz9iZ3HCgSDy2NMrVqu/Gww2qdBbTHGgjBT/lr9WEmflKBe7Q1mAg3q03eqK0bUMftZ4iaNtvHw1SWmiCfvJGIjPSPx/2XUe7U2SOskUdhWPULMUbjZcsJiDWqDMXNH/H/MARErXWtvpE72RNrGKtm1UXuQmL0v5b1S+12rx445jrVet3eIWkxqJeExT+rbSn9oU1tGSTHWmJR0tarHoCVE+hJtqh2r8yCqG79U6j3LKEuT2hE8WYXWEhEOjIJUes1Oj7k9CoK8ycinjGJJ7ArPlEpMstY6IWu+9Q4zYaSlk3RILwJ3lh7F7NC7khYFPoRY61Z7WNIWiO2btU/U67Xr1PPBuK60OY1DPxjHdFrPJK7WqYXvtMQj9or5j10qQ5vqO00uP3H86+ZCdOpziUXrU+rQSmHNDolhbjr0i8VjnbWMtW7T4QmlXts7sbCb2hZILA99EIn1Sw1r9KqIQY+pDGFWf6c9lbxaSuUwg0MiWVUqWfl5AunVwC8U/wKzWCV+mCNDndoXrHvX6dXb9Ls884i1BXK/QcY+ENPDM6DiaXd6fazWlNsUiZrlGFG18oennWVmTqethbSOtcNaWpPDmhdSGuRuYhMmh7WNW4cxTplhInayT+nHXITa5fkpnVpsaYEwYjBryyAxeYwRSTRFRr/GFY8Zlki8r1nbPUQSEUHDbBx42eKPSp8QZb9zWNWzc4hpTGrjQUiY1trmYJy6Ui8Sz0vVaoVmzavE33uHta0mpd6pn3DTD9hINhzcZm2HxWpivFzKKCKek4P3jzmqQ/ISpQVEZENqIJ7EEh+p0dYO/SewxwymyiH6WWlty0/pNqm9aLSWSF829yDGVK+lBKF9wPyANqUTkTCMYs7aask8lc5hdij61UJYWoVGey2NwyyQIdWBPBYnHoKMYmHV4Q2H8bkmlgqZKyitZLYkUjalBzBqKUfUfkgpx7MYmK+FWWeNwxq5iI2PLke7kDOh2qSS8Fj/e0NbU5lPMmiJET8Ma0VI5B9WrNHWc9QamK3FqNYCs1YwslA5rIaKMSnM0kKbuP5cNYzryupK6FW3WkY7hxXPZc5ro3lqlBfmnz82V018Z+nFNZpGaefEH5LedeUw03DUEoQ5StcO88Tz8yuj1uncHjdaw/BsvaR8Sv77sFI+pP+ZRzHyHEyJmEvvSEon5jng6UqM0YvnNGr7h5FBrI3aq19WOUSbMdqGNcLm5BmjjyP+9ezWmZWGWdJN8oZkDVhED0WzzeSlDA4RzWzVpLeB3iXmM7UOTwr36gk1KZ/oJWNervhEsH0yFjOpj5mfEpGYQeMqTWevXLE+CCK6s9b2Tv2+1SeBK7VyGDms9b6z1hhpNTG3L/vxncPIeav1GW22+JFCCiubYKZLo+UYtgzPusE3lPyJ79NpXcZK44/NR5OVXVqtBVIy4engSYg6pap1eS7P6PD8icTApAcu7bxY587lVRar1IepUu2ftDXFGofoC2NujvSU8CTmhsP83DGVEGn5OodVFDYcnpCa1fPMs9awGuHSs9Iwf6XXcoDoEmJl0qLPWpdlJoaMIdQur/Yyq28qfkWneZd8iYcjo0Kza1Y8g0l9ofz8HmYwd1oCK21f0F9r1EtGmy82K48OZ39n9U5SAmuH52NlRF4I9NpPwupfGPUWDxHjA1J3J20bMVL++LMYYkUnrY2YByCRdqmLDz2ZUKsFkD6FWEHxAfBc7ePPLoh3P2qrJpHuShXA839SZqT129QzMTaFeGmrRAe19rgubBpKN7RA9EF4YWW5DW2nKvU0MCt/SpYNlrhX7hK9vDkquOGwptnoMBNBat7ksIZrttxD6gNVqkDnMANLeqt9Yis9sUFtKp61fIp/q2MSjZabTfUZYXnFY5y0ncOqmfkPq4E1qlyXON81WvHwH0YKe/XuNhMtRKLX+dtwj0e0Jfe3Y9Q3r/Jbxi9Xr/N43FTyPjrMdMJMGUQTa4cxZInxY7wA9rBXfxOxIJTS5kbqNpw8iSGe4aAtEEbAW7XYs/oU6JGhxXk8gvq4Dg9Hij7v73Ou9ltGk2+WiMeiJb3DKESl/h1iPJ3DHPNK65JEmOQ7nggYteyvkpS5nJV6pWK/8TQjejQSQd90GEXsHHqfKOtSBqUN3lRfWjwo6bWJT9E5zLCR+RKYnwWb+ng05bEysNoT3lB7MiVfFPE+6dHebzFu96hX/9bp60qNe7wnm/9+y6yCVQXW6Un16t2LvcCMMymBQgOzSDFjdHRY4R3z1qXN3HSIXQ0OcWpYAswkmV1+kmRweOIao5itw2xJKX9Y70lmbOH5llX2KEnSi630rPZGP2fDjeo5YSyocXiCB/0YzDN6qDf00N/neGmj/vXay5g076BwP8/173L7zHV8qvD3uDd087rrz2DBU8Di+2FmlYzK5qf3am0F8tgynijCc2kbrlGvT3htahmFz5TX3Rq01W219MKPbT/RBxFGrPoHzy3HLlutTxi5xFgCxgla7X1I72/TYUX+WtsIzNKd1P40Dis1bTg8M9FqfqS3M6g+ed2zRnuBmw5zbPNz4uhjixUV+4JZupi/vM4xubzIHNxeW+pGvfn20V8xU6lR+4UnZYQYVodb5xi0OYN6h5W2J1hz5uFfseaP9GPE+mxqHcCKJ48fIdYYbX2t6t9fR1dtuJQ3jEZuOqxFMjk8Hb3psNbdoG1QpzUDkbONB66zceeVNu651oZ7fMbrQ8/1flrzb9YZzFee1KLIuHheXXJKWkv9kHk1t/0geQYh1wU8LyMea37q6tMaPKjll2NmPX50WEmo1hrTp77xrLZFfG6sITVoSyitNerdp/Ze7jqp9UKUF+ucSI9aajvWZYCPNDrMhZdREvHQZ/WT8VY46ZvKOEynUaLp3r33txmPzS1f7xjEgKvUe8UzyXlF4VmtKyLr8NfwrGajLa6UOUTg0I/Odufh+2yscaeNR++14R6fDQ/KWJFS4q0SC8BM39VVWfPKADKCI1EqrI8r9rJTC9+q3cU7uOBHVuoP4OkXKYESaZa5ebNrXXejRG6k6ID47Vhj+b79UgZlzB4zCeQTRrjbtY749A8rUOO9fnherde2S6wRZrFhVQ5p63ot0ZJnaWkRscJM91FrGdrL26nYUL+oVx8Oqxh2SW3EA/FUQV7jB7OdOi1p0lYPLs99RJQaTw2KRzE7xCFa9Rgxy29IPg5Wid1wWCVLPDmx0XjOB28nkLdAyHharx6IlMzcJm04icm26o10ag16hzla0hJg5letbQVme+DdNY16TvJUtUSBJc6JFeo31HfCjExpU6SHi3F1mWEjcUSJQGxqGcDsAkSRJQ/CEU+gzskjGLSNkFZKnsyc1VuuU9v28DN2G9qijQ6j9cK119KL+ZDSvx615udVusQK1lpWK60FWEUG8xoww2B41BfYSGVKrIeMQGH+dZ+88E2HdZzl995h9miX2jKsIoyn8mWFgk21YqPD+v6rf1AVz3ahjfq05mCtiNGtznNrtS5ifBDv3pJSO6n1XY1x3q8Eanqb6LRqIfCmBYyRycgrZn3VDs/8iv3If5PW0vxU16A9lcblsYVebcLtfNd6b4nRNOoVYz1paR9Gl+cNIWaRVweTOWt4Rh5PVyLOe/e1N9a4+saD18dTJA89lXeX/lhfstU6I2MwjfYnMTOzdeiVbTqsxykjJpPWiNFh3qL0h27qKvNiZMxZbCDWaMFMZonNYF0GjBtfq90QC3bzr3ZYOfnudLR3pAPjSZXDHJDrFYuC9lquhyfCET2Tuaijy2O8g8Nboepk9cWf3NQjZWxfWnN4vKP2tWSeVOWwzuCoNQH2Z1AlsN746DDGLqPQYg3EK/u0HN+s73c/Pf94RPzuP5lngzGUPFKNldM/vf/d65Gt/sms0bwusFjvST2NWfOKOeMytid2oNJ2AeO8lcNqBYO2ho2WJsxImd2nsZv7/aKHvKYN9/jz2+IxPt7urtOm3t9ejsnKPH6nddrvh1vnUevs421vpXQxD75yGDOWNlcIy+yBTls8zP/6tCTJjDaxQI3DPMJJPbL8LHyjVh4RyE7b/E97bRsO88nwBDueN8Y6nfDQJK35yYBGfcbbUWdRScbvMfKT57e3LkclMLqT39CIZ+1bh3mOlcuzuFdbKfAT/VvtWWOdTzyXgBFmeHaz2h6sdbp6xV7/Bo1nIFV5TZ8mnSmjDHiH6qyek8SzRtUTsXXMa0L7jCcHJHerduuutRbP3YXfc+H3nKc1Fq9/9T+xQe1ae//If3/sHfPVH7/P8nm3/O/z1Pj12q1bDpdKz+9Ten5rah/as/5vd+1/Op/+2Bz817n6Q98eK8HlKZcsXb9Ogd+q2x+hu12WFtX69bWr/KeS6VmnfXzMzqzbxn5u7f2c9ns96p/Xjn9u6n99rn6b5frtvs36ftbvUfd+f66/lumv99g+r658Xu36PevuEnR/jb6/tr5+rk3/dbbt80rOr7cfv9+9fuu/dcvFH1+q+Ymf+OmP+fRrW9Rf3y6Uz/Pn6PB0Pq1nd/8rafRHl93f5gfZYP5f5dN/xbL7eb7s5/mr5XP4uam3VmL+u1vW+718lksbrJcpl5/fv/utV1+/t/x5Zffz9titnevXsd9H0c+jaKdG/jEl9vcrV8tbm8+x6et4KL+W/WO17Y9V7I8oseuq8ZjN+2MsrU3drNZy67p9Tp39o/LyW0mWrIPL293/vp/+CB1+7/KyVKrW9RU+p539o8r5H+OJ/f6Wb+nr/NayE+b8fjrH96/uo/8U9n4bf9lzW+7M//3o/4Xff91zC/zjH//4xz/+8Y9//OMf//74v+DjP+zPhyNexSP+lp7/C3tl37/HXsG+P/bYnfrvx/68E3068Nj9v3isrPckvQnsC72IPX9G+PS93/OveK/n/kr7/gqX/hoX7k+u1rUGKvcXn9a7f+3v/RVPVT/0a33Pr50+V373r/ODqZr12ef7fq0fPLd58Nf2wV/vT7M8Wd/ck1+sYHzfuQ/lt1W+9/96f45a5XD/r/fnSJ4Nvv/X5gEKsoJSd8+vovJ952IV84d+bR78tX3k17sZya/3pxmr4N//6/jIr8ODv44P/jrf++v9ZQO/3pdfrCtx969Ybf/uXx8qsfj17vu+cP/p3rvX/lvYG2zjXUe99se999bv2B367XO3E//fXuPYF37/Wfx+4D743x8/4437+pHj30Zb/HiqcdxX7p/+mPDppd/z8LE7fu+V37Y+1d8+eORubB8OohLnMV504f+/64yv/eeLeNx+bDve+zbnF98arHfs1/4+vyQlHz7n7hTj9xe+FduN29DyHcRW7MRrs945lzE6FtR+OJc4I+TxyN/hg//3mDI456VP04E//p/+zLvZ3z7jlftyreNCGVvnuDf++3qKfOXT+UPM255P9b/WOued/3YUlV/n6G3vg6x3XPBfvov6/bxmGcjnoHasc9aOT/vJmsfuxvK790g5x9Ffx2NPHjl2z5ejo0eOCSX0o///4aNuWqXHy0c48nClNr6Nnt/jdfL2edt++3BZeemP2E9l6+FjX/ucnvrjjx9JRbCU5zGte9Fm3m0DcfQ7n6/XjxxxGHO15X7yvwVfOPC+9NtTn+6H0yx1IDNY13rePu+Nv++ep7fOOVtRp3WOlLZIWoF1jpfW6nPzsOtL/fMHj3y8nMgRj5dcHIcSKK3m42cE+/CD/3voSLSWj6Uh2A2U02Bx9mLL87Ad2Yl9rQt/xqX//fFjrz6zZcvnrNuy4YzPadlwzvotG854rGXDcetof7VWy4YjP6dlwznrtWw4+rGWLR+3fsv26TnrtGw4a73WCkev01rhmEBSynsgcP5IefnGXdyy/VvxCPn+J3/eK3+dQPOd+8Jtevbbaxz177GVffy4V740vVnjuNe+/fvbGsf9h//9/I7jXsTW8zxamOfRymzeOvcvMYKSYyV/vbUeE1YWl5VcZUXa1l2nFRLlPc2Vu9bVv2SdaFlJSt5pIO9JknXe+nikrM3d6aq48tZNvPNNVsG9jv0wGV+WtdvwxuH8bqxet/IrVvTEe+sr3coI9RyPuXZYFz5ca3SySqHskf/xhnVZp1jW0ZNfZGUsOR8paJ2sjCnr14WrT07WuJfRblnXWd4XKOvTXTt5Z4K8iS6/IVPeKHetK4nKm1LxzvnWXTu8RU2uLHeUVIpiopPkVY4RhWWlcVFKiEiusZq2vBPk2uGtTJIjeQdp5WSFz3CkvGNTlG6drJUvq5vLqtvXumKlrEcm75jpdR3T1l3runiy1r2s/ijvzx20VEiqJOWSqmvV41rL2XWMB921XtifV2J+N397Hv3TM18XnrkN/y/YhWApnmn/9Dzah2+9DZOW6aN63WH/i3jmafxf2rpnvraEq8OzC0eFNv5K28/Vs8UbPYh1L5z5P/1Z4hk987Xvx3jOmf8V5zzzViPsufI1F9d+5e/1o2/7wj2fxTuFVPwzpedbzdE//Tnnsc7v63liBf/s/leyhP/bH/tjzPm/x6NP43658o8+pdi/7z+987+KMv9csZDPkiLP1JL86I/ec4jNisKvvX29qe7nXwOtyep10NYcRA/lWcxjiBscxLP+l/bzoff//uTO12r3Jcfo31xHD+ksWr+L6OP+EGntxvtcRu8mpE3SIPGIZ7dalHO/ZyceH7yOq3SVsP8wpvqj/yRRjmfR4zvTFEGBn1OJCmcEfaSkfRupSL9JlJGW7tt4pHiEN/P13DPfWSkrZ06iNqfxDrdVyJ7EM/X1z1JpfO2v9OKenK1/lVVv/Tr6T880+nS4ktqrqFX4tn3HUbhm0A51+U0sZdDm03Nu/56vIfXymfrmz9RXv5nSZ550LpMhl59/hV13obX0+tYvX/pPP0S2YI341n3W5Fmszc9iv+9DHOv4NvbIzlLJXOUh/eUNTfGzZImEy7cp5RLNuzv9j6XkP/zZx8r4b/rrZbz+Q+c+j2XoOFpQ1LTP1UBS+WPst4u+4Y6rZfA+i7w+hftK95uo7D+jZmHPx09Uu1kXb1sJ6e1l+3DX8Wex7QrpumnRbh99u6atRxk2We60aidEL7QRN+uPpOVCWyypD+taAMQOYInvKrFS89e1WrfvAKtwfE/axZLdvMZ92txm9FDNelz7XLegwvW917idixfRoznWe8voprT3B7HtEhVhZS7dRTz/X2qxz9WXkByc6TmXesSup7WXauvDv396vb/FvoSU6r177nmzRAjLcL0jLc/H8bibHG56K9faUkKfFzdKRNDrMpaTI1XjWfzlW61HEis71xL3o1qOu/28u+zFM+1/ii+56p/czulX0S79qJ7Cv+6oU9d6rXDly5jSjZj+v63YnPN7jrodZbn7KIkigMZ997vpP30V9drz1zxIub77zE89zLt81bvOfKlxqPMVOlt61MW9Z6E3f77ie4v6991lNd4Tvoezflb/8CHdbmuy/pk3I1nPUi/7MnJ46MxX8Z6XqsaXqssPD56DUgJPPUdQ7j5+tfZ9SmrVot08+9zBh7/PDr+I9fNiJSUov7lUr3PUOmXxsausx/1z0/LrrnJXL+zx9D9WOx67wu2acn</a:t>
            </a:r>
          </a:p>
        </p:txBody>
      </p:sp>
      <p:sp>
        <p:nvSpPr>
          <p:cNvPr id="35" name="WORKBKFUNCTIONCACHE1" hidden="1">
            <a:extLst>
              <a:ext uri="{FF2B5EF4-FFF2-40B4-BE49-F238E27FC236}">
                <a16:creationId xmlns:a16="http://schemas.microsoft.com/office/drawing/2014/main" id="{00000000-0008-0000-0300-000003000000}"/>
              </a:ext>
            </a:extLst>
          </p:cNvPr>
          <p:cNvSpPr txBox="1">
            <a:spLocks noChangeArrowheads="1"/>
          </p:cNvSpPr>
          <p:nvPr/>
        </p:nvSpPr>
        <p:spPr bwMode="auto">
          <a:xfrm>
            <a:off x="2375067" y="2987675"/>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Gjrjx29qe25bEzHiqHj517O9L5+BmP1ZTHzscIGvz3h49ev848dKXP73eF8YnVtuv6hjcSUgaPYbWtXIfuTQuVe9I3/aA8qnWgKbjPn/10ZOu2j/qpTmF8MBA8vtXLR+pv30NGu0T3/y9eH6NeuWWGVnkU7C6fcnUcJJ+Tx0MOosWRfNw8czUufKyKPuyLB89C4jkX6nVIL+G2OiFNG75nf6bpwXF3RS9uR3seU+72WOb9R2arsRdtHq58d9ToU1VXR4ouk/V4TCMpn7nPGuj+X7X58m213IPXF/F6B7FM3FVacj2ScccQTflXLOmS1h9cjpSt6vFpv+dmj0AswmU8+jjGW9Y7B30NRIruatlQF296yajl76KGYP5w+fjUa71pI+4+5q6rrZuSm9dHLh+ON65aph817nM70nBT109TeDeRl/Gu2Rq90H7LP93BZ14Z3B735u/WD0o81J+53eP7T3cQU/vszrPvinP/93w+7nNmEt8/a/jP6dzd6FWcxTIjvxzGNirbwhfRMh7F3/9/nCUMKA==&lt;/compressed&gt;</a:t>
            </a:r>
          </a:p>
          <a:p>
            <a:pPr algn="l" rtl="0">
              <a:defRPr sz="1000"/>
            </a:pPr>
            <a:endParaRPr lang="en-US" sz="1000" b="0" i="0" u="none" strike="noStrike" baseline="0">
              <a:solidFill>
                <a:srgbClr val="000000"/>
              </a:solidFill>
              <a:latin typeface="Arial"/>
              <a:cs typeface="Arial"/>
            </a:endParaRPr>
          </a:p>
          <a:p>
            <a:pPr algn="l" rtl="0">
              <a:defRPr sz="1000"/>
            </a:pPr>
            <a:endParaRPr lang="en-US" sz="1000" b="0" i="0" u="none" strike="noStrike" baseline="0">
              <a:solidFill>
                <a:srgbClr val="000000"/>
              </a:solidFill>
              <a:latin typeface="Arial"/>
              <a:cs typeface="Arial"/>
            </a:endParaRPr>
          </a:p>
        </p:txBody>
      </p:sp>
      <p:sp>
        <p:nvSpPr>
          <p:cNvPr id="36" name="WORKBKFUNCTIONCACHE" hidden="1">
            <a:extLst>
              <a:ext uri="{FF2B5EF4-FFF2-40B4-BE49-F238E27FC236}">
                <a16:creationId xmlns:a16="http://schemas.microsoft.com/office/drawing/2014/main" id="{00000000-0008-0000-0300-000004000000}"/>
              </a:ext>
            </a:extLst>
          </p:cNvPr>
          <p:cNvSpPr txBox="1">
            <a:spLocks noChangeArrowheads="1"/>
          </p:cNvSpPr>
          <p:nvPr/>
        </p:nvSpPr>
        <p:spPr bwMode="auto">
          <a:xfrm>
            <a:off x="2375067" y="2987675"/>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lt;compressed size="651798"&gt;eJztvQtvHTe2ps2fYkwDgxngk7ruF3TPARwf2fGBYwtS0oODRsOQFamlJFYU3ZIe6Md/JNd6yS1Zl+1cikvnvBDs2rt2Xcj3IRcXF1msv7pDd+lO3L67cMfuR//phdvz347cgfs391f3rf924f/t+t8u3Zn/5cA980ftuY/+0/9x/8O9dK/dW/fc/3vhtvz3Z+5DvML37p/++B/j1b91p/7TVTz+ufvB/73323DPa9e4yv/1/tPf3X/6a+75s/7hv/1Pf9SF+4u/c7jnSdwfUvjM/c1vD9zP/oh/xiPCmW9j2g9unLnl94RcXbh/+bNexPSfxWvt+z33nf13n58XbtufcXPvr/v2P6KKr/y3C5/uPZ+yS1X23Kfs/8XPtevc7Ea/788re//qFd7zuoVP3/s9//K//dsnavxJdbyM1/5LUvBPquvk9237fXL0t37/d5HIX5KKf/oMpW9qGu79yr3xLN+4d+4Ltxl1+8tKPvO1t+NVD+LZmcUz97W/z0U8Pt8j5GhfS86Fv0atean8b8LmTyuUwhVOvdZ/iVc992f86JWr/THbsfx969P37z7FV7eOaPwRku6b+1u/fzfm8MDvu/lb538LOQ6l5r8viZ4kDJBofU5mkjBDoiYJAyR6thMmSHT+jyQskOhji92RRHESo/Z0SMICiZ4kDJCY2bMzRKImCRMkatYJIyQakjBCoiUJIyTYs7NAool5aRh3MkCiZ1TcCImBJIyQYM/OBok29ibYs7NBgj07KyTYs7NCgj07KyTYs7NCguPYNkg09J1MkJhiTmqO2Rkh0bFOFCchMXFaJwskepIwRKIhCSMkWpIwQ4IjRTZI0HeyQmIgCSMkRpIwQ4J9bCskBpIwQmIkCSMkZpIwQILj2JZIsGdXnsTAOmGKBH0nGyQ4G9MCiZGzMY2QCOOnXLfDAgnOULZFgl6sBRI9SRgg8cLn6r1X/iTuDWvtkUhZIkFzUfPQb/M8g/cc1TPK6Lnbif9vk4spLnJu+H7gPsQzSMcOnTf+HLKxyeYrf9xHv/+9e+mvR5+gNJ237iDSgEUL/toVqRihIt7ze3/OnvvFb0Vp8rHEJxx74o8kExtM2MLY5LLt/7ZIwwiNHb/3ym9bf+a3pGKEym487iD2+c/9X9h7TjqF6ewona14jRN/99Dek0tpLnLMe91/Fgn94tUnF2tc0H+R65CPFT5s+e2w+Og/nTnGK60QeeHvthu3e1GnM233yccan6wNfTJrdIJHduTT8CGmg3ys8XkZr3Tsjz9i22OOziv3JZkYYxIYkIktJm/8d3pm1qh85e//Q0xDuOa/yMcYn3f+21HME8nYIrPt70Am1pgEhb+LPvPPjJwZ5oMZACRki9COXodcbHHZjaM0exw5M0fm68jlhFzMcNnzmhyRhxkeQY0wckYiVojwyZinwIVxTJt0juOszHBNxsus0Al15nBlFtNbv//EcS6TZUasQdbonLK2mOHx0h+37zA6w3pihctrr8WpP/aYdcUQkxOvyaVGYkJaScYOmauoz0WK/zOGaYXOzVUYZCYg4wFW6TAaYI2NrJshz2mSjA0y7/x5r0nDDI3D2Offcj/53469/mEs89JvT/357NXY4RTmmeUoJ59tts/ojU/HnvcNyMcWn60YISAVW1Toq9llI9402xy7hFbH09jyWKUkCh+SizEuu/6uz0nFCBWOO9ujweimRSaYqSFrnJKOJTpB3R9iXknFAhWs1kg7ZomJnE8ednhg7kx4BjB8Ih9bfIImZ/6XfXIxxeXKcZ0z+3yyNoxhWqPDdc5s8+E6Z5bpcJ0ze0zY17THhOucWaTCdc5s8+E6Z1bJcJ0zi0y4ztnT4MN1zmwS4siATS5c58wqGa5zZovLbtRj331PIkaIoIaEWJmMbIZYwDkjzcYIhefROW/GCpNv4p25yokNKuc+L33MzRdk8RtY/N2fEcr0x9gO7MVzwxMU/7hD81rTXFHxRRXvqfiCirc+xTMVX1zxmoovqHhPO76o4p3/o+JLKt7HlrOj4ospPsY091R8UcV7Kr6g4jN7QAUUr6n4oorXLOMLK95Q8YUVb6n4woqzB7Sk4k1Mc8O4yoKK94zWLqz4QMUXVpw9oGUVb6M3zh7QsoqzB7S04uwBLa04e0BLK84e0NKKc5xzWcUb+iqLKj7FFNccA1pY8Y5lfDHFJVZLq7Kk4j0VL6B4Q8UXVryl4osrzhGJZRWnr7K04gMVX1jxkYovrjj7nEsrPlDxhRUfqfjCis9UfEHFOc5ZQnH2gJZTfGAZL6I4fZVlFecsuCUVHzkLbmHFw7gbn8tfUnHO9CyjOL3DJRXvqfiCir/wqcd7GkO+D6j8QsoHbUW1Q7/N483vOUpUmMVztxP/36b+RfQPCpzF7wfuQ7w7KSxP4Y3XmAzKMsAq8GG9/gO2zYtReOvPuFixRME/uqL6C6svXml+m7goSg4lOIT1X/nm0OW1ZwtQVv9t/7dF1RdWfcfvDe+OaH06+JaipdXfjecfxD5weAtB2Mt3ESxFYUcpbMUUnDh5Yzf1X0r/oOlFLPth/5mT9z/zvULl9If/L70xcliaA1vg5TX/6D+dOcbdllb+hb/qbtzuRT3OtP0lh1Icsgb0gUpRCB7QkT/+Q7wfOZTi8NKF9zMd+3sfsW0oRuGV+5LaF9I+aE3ty2gf3kpJT6iU+l85vO0wpIhvPCzF4Z3/dhTTTgJlCGz7K1H7UtoHJb+LvujPjAwZ4IARYpIoQ2Inpob6l9J/N44S7HGEphgBvL+e+i+t/57P+xF1X1z3kOswQkPll1aeTwZY0p/xuLIUjuMsuW1/HuNBS1MIdeBwZXbK23gG56hYYMEaUYrCKUv/4rq/9MftO4wOsNwvrf9rf/SpP/aYZb+A9ic+75cagQhpIoHlCVxFHS5SXJqxuKUp3HxaW2ZssX9cmgJ7x6UYyHP08hwZCSxL4J2/zmuqvrjqh7EPvOV+8r8de53D2Nil3576a7FXsDyPME8oR+v4LKUdFm/8OXu+jSaHMhy2Yo+Z6pdRn75ReQbipbJNKE9iddyGLUNpGqLkIfUvpP+uv/pzqr+w+hyvLKc6o3QltceIvaz1RwolKAQVf4h5ovpLqo9Vzmh/SmjPpzZK6Y65EuHZpb14LjmU4BDyfuZ/2af+RfS/clxnyA6HrAFjcaUocJ0hGxy4zpAFClxnqJz27JOV057rDJVUn+sM2eDAdYZKE+A6QyW15zpDtjhwnaGyJBixLqs/1xkqTYDrDJXRfzfme999T+UXVh4lPsSCZKQs9I3PGRktRCI858p5Ektr/008iqsbLKv+uU9zH1P9BTVfW/N/j2si3lQdV9+O1xUv/pmTGednquRFPD7f5TaNWnNTkYURFj1ZmGDR+rzMZGGIRU0WJlj0bC+MsOj8H1nYYNHHtrsjCwMsxpibniyMsOjJwgSLmX09UyxqsjDComa9MMOiIQszLFqyMMOCfT0bLJqYm4bxKBMsesbMzbAYyMIMC/b1rLBoY++CfT0rLNjXs8OCfT07LNjXs8OCfT07LDjebYVFQz/KCIsp5qXmuJ4ZFh3rhQEWEjGnjbLBoicLUywasjDDoiULQyw4lmSFBf0oOywGsjDDYiQLQyzY77bDYiALMyxGsjDDYiYLEyw43m2LBft6FlgMrBfGWNCPssKCczhtsBg5h9MMizDKyvVAbLDg3GZrLOjT2mDRk4UJFi98vvD20aDIAZkUZxJUFz0P/TbPSHjPkT+zlJ67nfj/NskYIyPnhu8H7kM8g3ws8XnjzyEdq3Tw1ovwHpIDegcG+Lz1512s2LXgu12Rixku4kuHFdP33C8Ob5AhIVuEwrF837AlKmxprJLZ9n9b5GGGx47fG94H1Poz+WY4O1x243EHMQ4Q3lET9p6TT3E+O8pnK17jxB3Hlp9kypORY97r/rPI6Be+Yc4kGfRn5DokZIcQfQBLND76T2eOkUw7TF7E64ftXlTqTD0AErJHKKtD/8wen+CdHflUfIgpISF7hF7GKx3744/YBhnk88p9SSrmqAQKpGKNSnjXM700e1y+cngbcbgm30hsj9A7/+0o5opsrLHZ9ncgFXtUgsbfRQ/6Z0bUTBPCTAEyssZoR69DMtbI7MZRnD2OrRlk83Ukc0IyhsjseVWOSMQQkaBHGFsjEztM+GTN0yDDCKdVPsdxJme4JuNodviEenO4Mufprd9/4jjzyTYl1iJ7fE5ZYwwReemP23cYvWFdsUPmtVfj1B97zPpiisqJV+VS4zMhtWRjic1VVOgijQ4wummHz811HWTuIGMEdvkwQmCPjqzFIc97ko0VNu/8ea/JwxCPwxgH2HI/+d+OPYEw3nnpt6f+fPZyLJEK89Jy/JPPST8FSm98Sva8l0BC1ghtxagBuVjjQr/NMh3xrdn2WGa0OuLGFsguJ9H4kGTMkdn193lOLma4cHTaIg/GPW1SwZwOWU2VfGzxCfr+EHNLLja4YE1IWjNbVOR8ErFEBPNswpOE4RMJWSMUVDnzv+yTjDEyV47rqD0FQlkdRjft8eE6atYJcR0123y4jppFKux9WqTCddRscuE6atYJcR01u2y4jppNKlxH7akQ4jpqVhlx3MAqGa6jZpcN11GzRmY3KrLvvicTM0xQS0IMTUY/Q3zgnFFoc4zC0+2cY2OHyjfx3lw7xQqXc5+bPubnC9L4TTT+7s8J5fpjbA/24tnh+Yt/3KF6ramuqPnCmvfUfFHNW5/mmZoX0Lym5otq3tOeL6x55/+o+bKa97EN7aj5gpqPMdU9NV9Y856aL6r5zD5REc1rar6w5jXL+eKaN9R8cc1bar645uwTLat5E1PdMN6yqOY9Y7mLaz5Q88U1Z59oac3b6J2zT7S05uwTLa85+0TLa84+0fKas0+0vOYcD11a84Z+y8KaTzHNNceJFte8YzlfUHOJ5NK2LKt5T82LaN5Q88U1b6l5Ac05ZrG05vRbltd8oOaLaz5S8wKasx+6vOYDNV9c85GaL675TM0X1ZzjoWU0Z59oSc0HlvNCmtNvWVpzzp1bVvORc+cW1zyMzvF5/2U15xzRUprTV1xW856aL6r5C59+vD8y5PyA2i+mfVBXdDv02zwy/Z4jScVpPHc78f9tEihEIGhwFr8fuA/x/uRQgsMbrzIplKaAVejDGwMO2EovyOGtP+NixR4FX+mK+i+uv/io+Z3noilJlCERVp3lW01LqM+WoDSBbf+3Rd0X133H7w1vsGh9SvjOpOX1343nH8R+cXgTQth7Tg6LcdhRDlsxDSdO3itOAssRCKpexPIf9p85eUc133JUkgD6A9I/I4nlSbAtLqH6R//pzDEit7z2L+J1wnYvKnKmLTFJlCORVaA/VI5D8IaO/PEf4h1JohyJly68L+rY3/2IbURBDq/cl1S/mPpBbapfSv3wxkx6ReX0/8rhPYwhTXwXYzkS7/y3o5h6MijFYNtfieqXUz9o+V30TH9mxMgECYwkk0UpFjsxPSRQjsBuHEXY4xhOQQbyHvcTEihAYM/n/ojKF1A+5DuM4VD75bXnkwW2CDBSV5rDcZxZt+3PY5xoeQ6hHhyuzGV5G8/gjBYbNFgrynE4ZQ0ooPxLf9y+w+gBy/7yBF77o0/9sccs/0XUP/G5v9S4REgVGZRgcBWVuEhRa0bpludw8/lvmePFPnN5Duwxl6Mgz+bL82hksDSDdz7/r6l7Ad0PY794y/3kfzv2Sofxs0u/PfXXYi+hBJEwryjH8fhcpiUab/w5e761JolSJLZiL5r6l9KffpIFCuKzsm2wwGJ1ZIctRHkeouUhCRQjsOuv95z6L64/RzVL6s74XVn1MbYvqwqSQxkOQccfYq6o/7L6Yy01WqEy6vO5j3LKY15FeAJqL55LEmVIhNyf+V/2SaAQgSvHdYwskcgqMEpXjgPXMbJCgusY2eDAdYxKqs9eWkn1uY5RWf25jpEVElzHqDwDrmNUVn2uY2SNBNcxKs2C8ezSBLiOUXkGXMeoFIHdmPN99z21X1x7lPoQI5LRtNBfPmfUtBiL8NQs51Qsr/438SiumbC0/uc+1X1M9xdUfW3VX3l93tx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byfTXl+ewon614jRN3HFt+kilPRo55r/vPIqNf+LY5k2TQn5HrkJAdQvQBLNH46D+dOUYy7TB54cKbwMJ2Lyp1ph4ACdkjlNWhf2aPT/DOjnwqPsSUkJA9Qi/jlY798UdsgwzyeeW+JBVzVAIFUrFGJbzxmV6aPS5fObyPOFyT7yS2R+id/3YUc0U21ths+zuQij0qQePvogf9MyNqpglhpgAZWWO0o9chGWtkduMozh7H1gyy+TqSOSEZQ2T2vCpHJGKISNAjjK2RiR0mfLLmaZBhhNMqn+M4kzNck3E0O3xCvTlcmfP01u8/cZz5ZJsSa5E9PqesMYaIvPTH7TuM3rCu2CHz2qtx6o89Zn0xReXEq3Kp8ZmQWrKxxOYqKnSRRgcY3bTD5+a6DjJ3kDECu3wYIbBHR9bikOc9ycYKm3f+vNfkYYjHYYwDbLmf/G/HnkAY77z021N/Pns5lkiFeWk5/snnpJ8CpTc+JXveSyAha4S2YtSAXKxxod9mmY741mx7LDNaHXFjC2SXk2h8SDLmyOz6Oz0nFzNcODptkQfjnjapYE6HrKZKPrb4BH1/iLklFxtcsCYkrZktKnI+iVgignk24UnC8ImErBEKqpz5X/ZJxhiZK8d11J4CoawOo5v2+HAdNeuEuI6abT5cR80iFfY+LVLhOmo2uXAdNeuEuI6aXTZcR80mFa6j9lQIcR01q4w4bmCVDNdRs8uG66hZI7MbFdl335OJGSaoJSGGJqOfIT5wzii0OUbh6XbOsbFD5Zt4b66dYoXLuc9NH/PzBWn8Jhp/9+eEcv0xtgd78ezw/MU/7lC91lRX1HxhzXtqvqjmrU/zTM0LaF5T80U172nPF9a883/UfFnN+9iGdtR8Qc3HmOqemi+seU/NF9V8Zp+oiOY1NV9Y85rlfHHNG2q+uOYtNV9cc/aJltW8ialuGG9ZVPOesdzFNR+o+eKas0+0tOZt9M7ZJ1pac/aJltecfaLlNWefaHnN2SdaXnOOhy6teUO/ZWHNp5jmmuNEi2vesZwvqLlEcmlbltW8p+ZFNG+o+eKat9S8gOYcs1hac/oty2s+UPPFNR+peQHN2Q9dXvOBmi+u+UjNF9d8puaLas7x0DKas0+0pOYDy3khzem3LK05584tq/nIuXOLax5G5/i8/7Kac45oKc3pKy6reU/NF9X8hU8/3h8Zcn5A7RfTPqgruh36bR6Zfs+RpOI0nrud+P82CRQiEDQ4i98P3Id4f3IoweGNV5kUSlPAKvThjQEHbKUX5PDWn3GxYo+Cr3RF/RfXX3zU/M5z0ZQkypAIq87yraYl1GdLUJrAtv/bou6L677j94Y3WLQ+JXxn0vL678bzD2K/OLwJIezl+xCW47CjHLZiGk6cvFecBJYjEFS9iOU/7D9z8o5qvuWoJAH0B6R/RhLLk2BbXEL1j/7TmWNEbnntX/gr7cbtXlTkTFtikihHIqtAf6gch+ANHfnjP8Q7kkQ5Ei9deF/Usb/7EduIghxeuS+pfjH1g9pUv5T64Y2Z9IrK6f+Vw3sYQ5r4LsZyJN75b0cx9WRQisG2vxLVL6d+0PK76Jn+zIiRCRIYSSaLUix2YnpIoByB3TiKsMcxnIIM5D3uJyRQgMCez/0RlS+gfMh3GMOh9strzycLbBFgpK40h+M4s27bn8c40fIcQj04XJnL8jaewRktNmiwVpTjcMoaUED5l/64fYfRA5b95Qm89kef+mOPWf6LqH/ic3+pcYmQKjIoweAqKnGRotaM0i3P4ebz3zLHi33m8hzYYy5HQZ7Nl+fRyGBpBu98/l9T9wK6H8Z+8Zb7yf927JUO42eXfnvqr8VeQgkiYV5RjuPxuUxLNN74c/Z8a00SpUhsxV409S+lP/0kCxTEZ2XbYIHF6sgOW4jyPETLQxIoRmDXX/E59V9cf45qltSd8buy6mNsX1YVJIcyHIKOP8RcUf9l9cdaarRCZdTncx/llMe8ivAE1F48lyTKkAi5P/O/7JNAIQJXjusYWSKRVWCUrhwHrmNkhQTXMbLBgesYlVSfvbSS6nMdo7L6cx0jKyS4jlF5BlzHqKz6XMfIGgmuY1SaBePZpQlwHaPyDLiOUSkCuzHn++57ar+49ij1IUYko2mhv3zOqGkxFuGpWc6pWF79b+JRXDNhaf3Pfar7mO4vqPraqr92b2MkYVV1XH07Xld8+mdOZqufqZIX8fh8l9s0as1NRRZGWPRkYYJF6/Myk4UhFjVZmGDRs70wwqLzf2Rhg0Uf2+6OLAywGGNuerIwwqInCxMsZvb1TLGoycIIi5r1wgyLhizMsGjJwgwL9vVssGhibhrGo0yw6BkzN8NiIAszLNjXs8Kijb0L9vWssGBfzw4L9vXssGBfzw4L9vXssOB4txUWDf0oIyymmJea43pmWHSsFwZYSMScNsoGi54sTLFoyMIMi5YsDLHgWJIVFvSj7LAYyMIMi5EsDLFgv9sOi4EszLAYycIMi5ksTLDgeLctFuzrWWAxsF4YY0E/ygoLzuG0wWLkHE4zLMIoK9cDscGCc5utsaBPa4NFTxYmWLzw+cL7SoMiB2RSnElQXfQ89Ns8I+E9R/7MUnruduL/2yRjjIycG74fuA/xDPKxxOeNP4d0rNLBWzDCm0kO6B0Y4PPWn3exYteC73ZFLma4iC8dVk3fc784vFGGhGwRCsfyrcSWqLClsUpm2/9tkYcZHjt+b3gzUOvP5Lvi7HDZjccdxDhAeFNN2Mv31ZTns6N8tuI1TtxxbPlJpjwZOea97j+LjH7h2+ZMkkF/Rq5DQnYI0QewROOj/3TmGMm0w+SFv99u3O5Fpc7UAyAhe4SyOvTP7PEJ3tmRT8WHmBISskfoZbzSsT/+iG2QQT6v3JekYo5KoEAq1qiENz7TS7PH5SuH9xGHa/KdxPYIvfPfjmKuyMYam+14F1KxRiVo/F30oH9mRM00IcwUICNrjHb0OiRjjcxuHMXZ49iaQTZfRzInJGOIzJ5X5YhEDBEJeoSxNTKxw4RP1jwNMoxwWuVzHGdyhmsyjmaHT6g3hytznt76/SeOM59sU2ItssfnlDXGEJGX/rh9h9Eb1hU7ZF57NU79scesL6aonHhVLjU+E1JLNpbYXEWFLtLoAKObdvjcXNdB5g4yRmCXDyME9ujIWhzyvCfZWGHzzp/3mjwM8TiMcYAt95P/7dgTCOOdl3576s9nL8cSqTAvLcc/+Zz0U6D0xqdkz3sJJGSN0FaMGpCLNS702yzTEd+abY9lRqsjbmyB7HISjQ9JxhyZXX/f5+RihgtHpy3yYNzTJhXM6ZDVVMnHFp+g7w8xt+RigwvWhKQ1s0VFzicRS0QwzyY8SRg+kZA1QkGVM//LPskYI3PluI7aUyCU1WF00x4frqNmnRDXUbPNh+uoWaTC3qdFKlxHzSYXrqNmnRDXUbPLhuuo2aTCddSeCiGuo2aVEccNrJLhOmp22XAdNWtkdqMi++57MjHDBLUkxNBk9DPEB84ZhTbHKDzdzjk2dqh8E+/NtVOscDn3ueljfr4gjd9E4+/+nFCuP8b2YC+eHZ6/+Mcdqtea6oqaL6x5T80X1bz1aZ6peQHNa2q+qOY97fnCmnf+j5ovq3kf29COmi+o+RhT3VPzhTXvqfmims/sExXRvKbmC2tes5wvrnlDzRfXvKXmi2vOPtGymjcx1Q3jLYtq3jOWu7jmAzVfXHP2iZbWvI3eOftES2vOPtHymrNPtLzm7BMtrzn7RMtrzvHQpTVv6LcsrPkU01xznGhxzTuW8wU1l0gubcuymvfUvIjmDTVfXPOWmhfQnGMWS2tOv2V5zQdqvrjmIzUvoDn7octrPlDzxTUfqfnims/UfFHNOR5aRnP2iZbUfGA5L6Q5/ZalNefcuWU1Hzl3bnHNw+gcn/dfVnPOES2lOX3FZTXvqfmimr/w6cf7I0POD6j9YtoHdUW3Q7/NI9PvOZJUnMZztxP/3yaBQgSCBmfx+4H7EO9PDiU4vPEqk0JpCliFPrwx4ICt9IIc3vozLlbsUfCVrqj/4vqLj5rfeS6akkQZEmHVWb7VtIT6bAlKE9j2f1vUfXHdd/ze8AaL1qeE70xaXv/deP5B7BeHNyGEvXwfwnIcdpTDVkzDiZP3ipPAcgSCqhex/If9Z07eUc23HJUkgP6A9M9IYnkSbItLqP7RfzpzjMgtr/0Lf93duN2LipxpS0wS5UhkFegPleMQvKEjf/yHeEeSKEfipQvvizr2dz9iG1GQwyv3JdUvpn5Qm+qXUj+8MZNeUTn9v3J4D2NIE9/FWI7EO//tKKaeDEox2I5Xo/ql1A9afhc9058ZMTJBAiPJZFGKxU5MDwmUI7AbRxH2OIZTkIG8x/2EBAoQ2PO5P6LyBZQP+Q5jONR+ee35ZIEtAozUleZwHGfWbfvzGCdankOoB4crc1nexjM4o8UGDdaKchxOWQMKKP/SH7fvMHrAsr88gdf+6FN/7DHLfxH1T3zuLzUuEVJFBiUYXEUlLlLUmlG65TncfP5b5nixz1yeA3vM5SjIs/nyPBoZLM3gnc//a+peQPfD2C/ecj/534690mH87NJvT/212EsoQSTMK8pxPD6XaYnGG3/Onm+tSaIUia3Yi6b+pfSnn2SBgvisbBsssFgd2WELUZ6HaHlIAsUI7PrrP6f+i+vPUc2SujN+V1Z9jO3LqoLkUIZD0PGHmCvqv6z+WEuNVqiM+nzuo5zymFcRnoDai+eSRBkSIfdn/pd9EihE4MpxHSNLJLIKjNKV48B1jKyQ4DpGNjhwHaOS6rOXVlJ9rmNUVn+uY2SFBNcxKs+A6xiVVZ/rGFkjwXWMSrNgPLs0Aa5jVJ4B1zEqRWA35nzffU/tF9cepT7EiGQ0LfSXzxk1LcYiPDXLORXLq/9NPIprJiyt/7lPdR/T/QVVX1v1//C/n99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aek09xPjvKZyte48Qdx5afZMqTkWPe6/6zyOgXvm3OJBn0Z+Q6JGSHEH0ASzQ++k9njpFMO0xe+Pvtxu1eVOpMPQASskcoq0P/zB6f4J0d+VR8iCkhIXuEXsYrHfvjj9gGGeTzyn1JKuaoBAqkYo1KeOMzvTR7XL5yeB9xuCbfSWyP0Dv/7Sjmimyssdl2fyMVg1SCxt9FD/pnRtRME8JMATKyxmhHr0My1sjsxlGcPY6tGWTzdSRzQjKGyOz56x+RiCEiQY8wtkYmdpjwyZqnQYYRTqt8juNMznBNxtHs8An15nBlztNbv//EceaTbUqsRfb4nLLGGCLy0h+37zB6w7pih8xrr8apP/aY9cUUlRN//UuNz4TUko0lNldRoYs0OsDoph0+N9d1kLmDjBHY5cMIgT06shaHPO9JNlbYvPPnvSYPQzwOYxxgy/3kfzv2BMJ456Xfnvrz2cuxRCrMS8vxTz4n/RQovfEp2fNeAglZI7QVowbkYo0L/TbLdMS3ZttjmdHqiBtbILucRONDkjFHZtff9zm5mOHC0WmLPBj3tEkFczpkNVXyscUn6PtDzC252OCCNSFpzWxRkfNJxBIRzLMJTxKGTyRkjVBQ5cz/sk8yxshcOa6j9hQIZXUY3bTHh+uoWSfEddRs8+E6ahapsPdpkQrXUbPJheuoWSfEddTssuE6ajapcB21p0KI66hZZcRxA6tkuI6aXTZcR80amd2oyL77nkzMMEEtCTE0Gf0M8YFzRqHNMQpPt3OOjR0q38R7c+0UK1zOfW76mJ8vSOM30fi73xfK9cfYHuzFs8PzF/+4Q/VaU11R84U176n5opq3Ps0zNS+geU3NF9W8pz1fWPPO/1HzZTXvYxvaUfMFNR9jqntqvrDmPTVfVPOZfaIimtfUfGHNa5bzxTVvqPnimrfUfHHN2SdaVvMmprphvGVRzXvGchfXfKDmi2vOPtHSmrfRO2efaGnN2SdaXnP2iZbXnH2i5TVnn2h5zTkeurTmDf2WhTWfYpprjhMtrnnHcr6g5hLJpW1ZVvOemhfRvKHmi2veUvMCmnPMYmnN6bcsr/lAzRfXfKTmBTRnP3R5zQdqvrjmIzVfXPOZmi+qOcdDy2jOPtGSmg8s54U0p9+ytOacO7es5iPnzi2ueRid4/P+y2rOOaKlNKevuKzmPTVfVPMXPv14f2TI+QG1X0z7oK7odui3eWT6PUeSitN47nbi/9skUIhA0OAsfj9wH+L9yaEEhzdeZVIoTQGr0Ic3BhywlV6Qw1t/xsWKPQq+0hX1X1x/8VHzO89FU5IoQyKsOsu3mpZQny1BaQLb/m+Lui+u+47fG95g0fqU8J1Jy+u/G88/iP3i8CaEsPecHBbjsKMctmIaTpy8V5wEliMQVL2I5T/sP3Pyjmq+5agkAfQHpH9GEsuTYFtcQvWP/tOZY0Ruee1f+Ovuxu1eVORMW2KSKEciq0B/qByH4A0d+eM/xDuSRDkSL114X9Sxv/sR24iCHF65L6l+MfWD2lS/lPrhjZn0isrp/5XDexhDmvguxnIk3vlvRzH1ZFCKwba/EtUvp37Q8rvomf7MiJEJEhhJJotSLHZiekigHIHdOIqwxzGcggzkPe4nJFCAwJ6/zhGVL6B8yHcYw6H2y2vPJwtsEWCkrjSH4zizbtufxzjR8hxCPThcmcvyNp7BGS02aLBWlONwyhpQQPmX/rh9h9EDlv3lCbz2R5/6Y49Z/ouof+Kvc6lxiZAqMijB4CoqcZGi1ozSLc/h5vPfMseLfebyHNhjLkdBns2X59HIYGkG73z+X1P3Arofxn7xlvvJ/3bslQ7jZ5d+e+qvxV5CCSJhXlGO4/G5TEs03vhz9nxrTRKlSGzFXjT1L6U//SQLFMRnZdtggcXqyA5biPI8RMtDEihGYNdf/zn1X1x/jmqW1J3xu7LqY2xfVhUkhzIcgo4/xFxR/2X1x1pqtEJl1OdzH+WUx7yK8ATUXjyXJMqQCLk/87/sk0AhAleO6xhZIpFVYJSuHAeuY2SFBNcxssGB6xiVVJ+9tJLqcx2jsvpzHSMrJLiOUXkGXMeorPpcx8gaCa5jVJoF49mlCXAdo/IMuI5RKQK7Mef77ntqv7j2KPUhRiSjaaG/fM6oaTEW4alZzqlYXv1v4lFcM2Fp/c99qvuY7i+o+r2qv4j6nbsw4+p5nHW1eYvETQK40+pVnjmZuX6mql7E4/Mdb5OpNWcVuRjk0pOLOS6tz9dMLka51ORijkvP9sUgl87/kYs9Ln1s9ztyMcZljDnrycUgl55czHGZ2a80y6UmF4NcatYXk1wacjHJpSUXk1zYr7THpYk5axgfM8elZ5zfJJeBXExyYb/SIpc29l7Yr7TIhf1Km1zYr7TJhf1Km1zYr7TJheP7Frk09McMcplivmqOV5rk0rG+GOMiUX7aMXtcenIxy6UhF5NcWnIxyoXjYha50B+zyWUgF5NcRnIxyoX9fZtcBnIxyWUkF5NcZnIxx4Xj+3a5sF9pjcvA+mKYC/0xi1w4D9Yel5HzYE1yCSPJXB/GHhfOG7fMhX6yPS49uZjj8sLnEe/EDeockI8pPoGAaHvot3k2xnuOaD4JYs/dTvx/m5QMU5Jzw/cD9yGeQVZWWb3x55DUUyCFt7SEN+cc0LMwxuqtv9LFiu0LPuAVGZlkJP55WO1/z/3i8CYk0rJLKxzLN2tbJcSW6SlQ2vZ/W2Rjks2O3xvegNX6M/lORJuMduNxBzH+EN7OFPbyHU22WO0oq62YzhN3HL0GUrJFSY55r/vPIq9f+OZF85TQX5LrkJZNWvQfrJL56D+dOUZZbfJ54e+zG7d7UbUz9R5IyzatrBT9PNusgpd35K/1IV6PtGzTeunPPPDX+qdnxjbLNqtX7ksSMk0oECEhy4TCW9fp7dlm9JXD+8FDuvmOcNu03vlvRzGH5GSZ07a/AwnZJhT0/i565T8zwvdkaGFmBHlZ5rUT00xKtintxlGoPY4TGuf0daR0QkpGKe35Ox+RjlE6QZswTkg+NvnwyaanR4nR16fA6jjOgN325zGuZ5NVqE+HK/PA3sa0cDbY0yHG2mWb1SlrklE6L/1x+w6jT6xDNim99sqc+mOPWY/MEgp3vtQYUUg5OVnldBXVukgjGoy82mR1cw0PmWfJ2MTTYMXIhG1SsgaLPJ9LThY5vfPnvSYbo2wOY/xhy/3kfzv2NMI47qXfnvrz2YuySi3M28uxWT7v/tSIvfHX2/MeBmlZprUVoxVkZJkR/b+nQkr8dbZVT4XX6ughW6ynwUz0PiQl05R2/f2ek5FJRhyBt86GMVn7hDCfRVbyJSu7rM7ivX8gI5OMsO4oLZ5dQgeOz6ZZpoP5RuFpz/CJtCzTCgqd+V/2SckwpSvHdfieGq2sFCOvtllxHb6nRIvr8D0dVlyHzzoh9nStE+I6fPYZcR2+p0SL6/A9DU5ch88+Ia7D9xRpcR2+p8CLYx1PgRLX4XsanLgOn2VKu1Gdffc9+Zjkg9oTYnoyqhviEueMlpvmFVYs4Fwjm4S+iVfg+jkWGZ37nPUxb18YIvNX92ffPh74/Jy7f/PfrlKuw/faHzn5FF/HT4O/V/jUutmN+mnyf/Jr5X+XfaP/XT71/p98av0R8imoIJ8qvUrjt7V+mvTcZuW+nZ7bpBTU/tOgnyo9Llyt109DPCOUpEa3+N7rdojbOp7baErCNty9i5+uY56muH+K54d01LptdIv9vW6HuG31e6vX66IO4X/8Pup9Wt0Ouh31eDmv13R0ur/X+7YxXeH4Tre9/l7rFtdtVLlW9Wpu6IW71qo0zuuUaruScvDr9VOn1Lqok6gJik26W60pr1XhSVNaJYVDToNOk27xe6vbQfeP+r3Rba/7W93iuE5/x7bW/bOmelJt65WyNKZPvX7q9FOjKZOSNqsWteo26ZUq3dapBlR6TpvKaZ00rbX0Ven8VtNWp7tWeo82/dakWoBaFQhC3UFzixrVpjzNKS29atJqzkG1i0fJFkdUUbVR6UxKZ1K1J1V/SvQa/Y5tpftrvQ7OH3Rb63bU4yr9jnqK8ot0QSnwaTR/nZ4j9mlwsEUgMae81qoDciFscFyb6DTJeuXyPK6UhtbBPuG+qC3NilUaV0pNp7QmTXMo02JXOrVPnea7U/vUaQnptWZ1WnvELkxae0bl0mipn7QmT1rvJy0zk9qHSevlpDpOyn1SOzRpOZq0tk7KYdJaOGn5mlSjScvJpDQmLVmT8po075PW1klrzqSletLaXCcF6lQrRC9cJdsn3D/bp1HvCPs0JOJjynWlaoJnq2WhUcVGtS+N2p9RS/CoJXxUnqNec9QyNGqJHrUmjloDRq0hYW+rWxzX6e/Y1rof9mnWM1By6/RbrXep9Ti0ojiuThRr1W3SK1W6zfapS9eBdUBb0Sa9unR+tk9onSstAdl2gUmjlITgrFcYNLewT12qyXNKS6+8a5ftE1KA63R6hOSo1/2DHjeodoOqPyR6jX7HttL9tV4H5w+6rXU76nGVfkc9RflFupBO5KpNZXZKuRlSGZ0TPVjnLpV7WEdpa+FnoR1pk+Vr9e5in2CVwLhZuW+XWuMhaT2mUoPyU6X7VqpDo2WiUTvSqB1B+4561GiaGrULvV69V50brcm9lqReOfZaLnqtfb3q2Gs56TU3verap+tM6T69bifdhv2DWoxB89ar3oPao15V77VW9lqvBrV3g9qrPtWTJtUT+JKiV6NHoQ708bwh+VitlvNe7YQwhcc8JjUaVTP7T6hLteZUSnKTct4nhWv9LjnqVLle79urMl06r9PtqPt73eK4QX/HttUtyjOYrJalNn2qk13JpRQWptYzJ73mpGkeUl7QLufSiXa5VqskNWvS0jbpeb2DfYJ9AcEp/ZZ90j71E5CSQa/UpxrVpZxkOwxNcsvfpvIDTXCE5KjV/Z3mtNVUtUl9/N7pfmwb3d/qd5w/6Rb7Zz0O90O9hcK1pg9Ko/2Al9OlktmpCnXyvuvkT9cr/nKbNG2T8m2qH20qxW1qG5rUbjXJQjYr9+1T3RoS7SmVLvQrq9QOVZof9Adh1xpND/ywZuW4Ubch17PWnjn1XMTuzFqSZ633s9qHWdM/q52Z9Xqzcp/VDs2a/nnlPr1uJ93K/knPmzQdY9qP+1Z6/KDbUX9vdYvrZvuULQbs+axXQ3+hW7l/tk+zphj2KXvROdeNqpn9J/htjaaoU/s06/XapHCt3yVHjV6z1Ry0qkyTzut0O+r+Xrc4btDfsW11m+1Tr3dGCUJ5rZPnXyd71iZ7LntFi1a3lV4Jecn2CX5+l6wD+mdtajVRGuDr5J52o3VjXrFd2SeFFapW8jJpLrN9gk84p7QgvUOqs10qR7VeZ9AjJEe17m/0OChQJ/Xxe6f7sW10f6vfcf6kW+yf9Tjcb1BlkPta0welYZ/apDW2OU8oy9AN1us6pn/Uba9blOZJvze6rXSLcoPz5HogDDsEa4WWaUjbTre9bnFcpd9H3YoHIukYkqUWT2RIv4/6Xe4zqEUa1CINqtyg1x20Tg6ajkHTMWi+BrUQQ/JMxnTepFvZP6V0DHp8o1vcf9bjcN3st6J9QBmXfMLDHfT8QXXAfcABXm+v+yfVr1bdK93Wet1edZPvTdJz1O+DblvdX+u20/29fq902+p+XA/HNfp7o99n3cKvQT4rTe+o2163KJezpn9S3WbdDnp9pH9WPXB8r1uUn1q3k943RzjkuEb1w36Ud5RflL9O74d0zrqF7ihHaCFGPQ9blAtJR6X7a81PrTrWqmuduFT6vdLzJv0Ozxznd/p91u+9bnE86l2r6UC6Bt22ml/oDwU7rWNSZnNPLPuOsDTZVx8S7aw32r7WIebQJPWaZI2blfvmuANSkLnWKWZXpXMrLf3NSsvb6bbXrViPSf2XUf0b0KxSD6JSMtkPr1KZrFItrpJdrFyOLqLsVEnVKtnJKuWqSja5Sla5Su1xlSx3lcpc5fqVq0zpU47e55QO6dwmfcrpm9MZ+W65FcWnOqVgTvfN/u+wokHuo+UUgHb2jseU5s5hfCB7RvB5m3RXsTltimNVrlqhM6Z9Q/rUpl/r9KlLv/ZpX5U+tenXfI98RpOOa9K+OX1COc3lD30t2C35BD+jT5ogLbWWMiEwp09Dum/OL9qF1VgWvLI8NiT2u1nROo9S5FGNOmmR25/ci85k55WrdCkl6ImgJNepfNQrJSq3cF3a16yUo1wuxfeZ1HcSNWdtqWY3q88zrxCvdE+lZ076HV46rtDp91m/97rF8bASbUpLTl9mCpWzLzUl1XLfG1ohui/2Mo/3oV3oE6t2hRpqUJUs4phoIdbVrNw3j7MMKX3ZSubSnMsB+ni15rpW21in/egDY1Rq1K2MJQgXjBugH9rrcb2W1V7P77Xc9Uq6d4hi1NqXR4SmTr+3eh/ZjxhUpX3yRs9r9L5N2j/p+Z0eX+kW9x91i3xA4TZ9yjV9TEflVqjT89H2IepQrzDNfT/kBmrm2BT68hiVmbWuSsnv3JgU7vV7p9tat7P+3uj3VreT7pfjBj1uTMdV+nul33E/tOFzOgJWK4/E5dhCjofOqaTVSe1Rt51eCXlBDcgxrjzGlq1aLm3IC+pQne6KklCl32D3mpU2F7mcNffwaJpkYWs3p7Qg3od6l8eg57RFDiVHve4fNKe9qj0k9fH7pL9jO+h+jEl3+r3R76N+b3WL41EfkXukq9Mt8tKkPOTo3ZDKMco4xn5F2+z15nGg3IOc06ccQ4RVGldKA/y5fF/4So3LsbMppTS3xbBtlUOktlf71Kud6dU+9Q59YIxKjbqVERVJz+QQ05r1u9TkKVl9tB6Vti+iy6Q6Tsp90jI+aTmaVLVJa+GktXBKsaVKW5dKW58q7Z/0/E6Pr3SL+4+6RT5glXJ9yx4LUjm6bJ+Qr2yfcEdQy5GNMakCNbMHli1Vo/doVUlRsE8K9/q9022t21l/b/R7q9tJ98txGI3t03GV/l7pd9wv26dOj8heVZM+5XF65BeeYK2twqR2aNJyPmntmlZ6KrCGuU9ep7a/VTverOQl26DsL9d6j/wbakH21+ekbqNXgn3KUZw8Htan0pbtE8pJr1uUJ8lRq/s7zSmO75L6+H3S37EddD/GpDv93uj3Ub+3usXxqI+tpgPp6nSb7X4eYc69iNwfhw80rdgseEioFa3LEch2hQ7KfpXqzOiy15R9Kty3S6oPKX0gUaX2rUpeWJV+xbgGrB5YoUahvwgPQq4FrwH9YIwzYiwA8WP0l1otYZgT02pJgH1GH7vVWoM5GRjZR18MerVamzGGjfYYMVmM/8N6IMKNeoF+R7tileAP1yv9BNwlxxl7vS6UbLVE5RG9NvWMupTbPBMtWyW09eiZd1onMbumSQrju9yn1pw0mgPM0mlUgUav1+hxtR7X6HG1KtKkba/bHCuZ9Mo5ptylT7BUea5G7i9Vemav14RabcpLHjOC99Im64BecOvqVAqREtSheoXSrPfAb8hB43IcA+Wj09zndiHfd0pp6VXr7AFD/U63bcqhXLfS/bXmtFK1q6Q+fkf8BdtO9yMqALqVfu/1e61b3G9SZZBSpA9KIy9NykOOguVxhjw2DY8Ls/DEZqF09y57TTnmmeewwSqNK6UBPlW+L9qCxuW5dbmFypEO+G2Vw1gd7EurNahV/wmRc9jrNh0vczGk9owO/UNJ1ag1edR6PzrMbun0PLEzY7qOcB81B6Peb9TaOmotHLUWjlq+RuUyajkZ1W6NWrJG5TWqlqPW1lFrzqilenR5vLpLuuYYEeYXNS7bp0HPz/Zp0JSBGiIi6JONLs88y/ZpTp8qvUetSkrOqqQwvktMGLN0Ks0BZulUqkCl6UFsd9bjpEQODrNoqrTtdZtj6Y1eOc+zy5/ynCbkF1a31tIwaikatXSNWrvGZHfQvtQux9Zrh94vbDD63GOyXJijKJRQMrJ9Qi3oVwgOqm6lVwKBHA+b06c+XTPbJ5STVs+f9AiJoEsdHFSzQb2RwU1Jffw+6H5sO92PkSHQrfR7r99r3eJ+kyrTajpaTR+UznY/98KuVWXR4lp9rmuHGdLSF0XLc73C6XqlRZBvGPO/Ti0jFM32HpYKSqNFQMlBWwc7dq265bnl6MHkuJ9sc/Qa7c918r7kf/hZ1w7jrfI/RtDhs12ntifbyWuHsViMyF67HFlHT0Wufe2k533tchwEcbQ8U/XawR+Qfj1mcl0nm4C5FNcr1lmYiyIYKbx2mFcHS3jthlSKrh3GMjHidu0wv67WknPt8vwDzFWEj4Q6hVp+vWLZrx3mAWC25bXLM2/hZ8HPhT+La2KO67WD/3Xt8jxxePnwoa4d5nzCYl6vlBwZ30bfBn0NzKa9dpi/jllV1w4ztjD36TpFYBD1ul6JuVw7zM3HPK1rhzlcOXp9naIFUo+EZhuf8rj5ZEfY8zE+YXzXUx+1g8crI5ObTua+SGnfcNL7l3kCoeRuOunZIIY3aDxCZixtOuktSJuLVkN6+jLbcYzH9NqLyxERGW+eYwpgwSRiKnGWTSdxUon6YxZvq610FY8QX7TS/myendRoP7z3x8i83Uq9tT7mEWNnXcyBjFjLODPGqqSNFku6qW1xoz3bOV4jKNOpjyKzsiXK1GiqtvwxlUNUf9SjNp3MfJw0jau2ZtZ2XYjMDrPqpTXu434ZBR5SnxezqBAF3dRWR+Jc4Rp4dmRS67jpMPNN/KZADN5ppR6FpEDGCzGT8jqmTI4ST7hLx8OnkzGlTTepjy5jFJKX1fEBmX0l7Cf1R7NPKqNQ0idu4j1lLg0sh8ydCvne1BRK5AD+II6V8bRN12hepfeFGK5YC6nRkq9WW2pEjMTPa2MJaRzmpmHOrZBotNctqRRfA+MJ4sFIfFlqkkT8xYuCJZu1pMrMMdFOoqNSH2XGssTcNtWDEk8YM7s2nMy6bzUdbToTMdCgQqXtuqSgdojXyuxkod7rfTGi1SkbmRUsR0hvEZ6b2AFJk4yXbDqJG2Lu5oaTOLXUgD6WokE9Q8zllFT06klUUYdGy460VOJTNdpXlPzIsyC91sdZLVOld5CoY+Py0x4Sz5DcScnC3A95AmfSs1q1LY1+w+yMWS2dlNBNl+MVEjGTOF8VFZA7YqxH5sDN0RZ2Wntz7FBKukRD2lg/xVYMDjHSKdWITSdz9qVm4RkPieyKtRQ7IbP20DMRGypRAZm3t6n1D1HWQVsDmXU3azpnvVubauagqZ8jIYlvIBIis+hklKCNV5DyLzP9ME4kT5AMqpNY7jqRnlVlpALzIuQ46c22yWpI7KFLNgzP+MhTKY1aMnga4kfLTLkuliCZPYc5tlIKhfOg9U3qImZtSCmetcS32rpMyQZfu9vWWM6flFjrMONdrtGrNZY+ch6VbdWqVaqTjLBMyRNotbWV2aqbDnPXZW546/AcjjyVM2mNGzR3Ui+vtSVsk03adDJ3Sp6NQB9N2iSpz00kgnkvmHNcOTy/iB7SppbqyqFXJCPbndoiGXuZtdXEPK02tbCD1s1GqY0xtY3Wf5kTsan1UGarY0yu07rcrxAWC5xjL5OWa2kboCOeIJBrjtrKSH0cNL1DajtaVWrTybwmKdM5atVr69ConZFYdZ5pJE8btTGVk95pdBjvh42R8YJNtWsy7pOf5Ji1ZrV6jMRd85M8k+ZB2NbauuU5SBtOIi1tTKPUU5RU9CcmbT/EJo9qJyuHOVUbrk75aNRajtriIb6y4WQuMErPqD6KtLjSv9hw4gtKCZ3UPg1agsQz3nAyN1BGjTc1t62y6x1Ggm4fUWnrMjlEQyRSWyu9UWvwrKoIb2ldxEqN6gFizuWs5axX77ZJ3mWeBS/2SeZINPFeMhqPJ4t7bd8mvYvUnkFbKcyEG7SUderBVLrN45nyHGSbLG4+Cv26Xi3zoBZLShcig1J7q+S7jKoBPPxO7VSVSuy4Ql5iXKP6wk2ynJNeeUPLcKWt06bWAukhDElxlHCxZxJhECvU6TEyF0EiQJ2WZ5lri7nKo1oD8d2rmOZalcDTj53WoEm9mVl9jhzrrLTcyW+ttvPi70gplGeQZJ7kppKQGiOeAGpUpT6M9CereKVJW1n8DS4/VTcqA7H+my7HVaWsdOmsTfXaMN43qteHut4qCbF5mGVbaa4GJSrj+PkZpUm167WObmo5z/MMer0L+kWYPb6h5ULiYp22fINDbFH85z55J63WrfxMi1jQUdv/TYe43qzlUSLV4ie0rk7qyPNis+rbaxkRFQf1gWaHkW2ZTyLebq3Wu1X7glhxrcTkCptaCmTuFKL0o5Z8eapW/PrOYeastOSTenzSa+q0Rc5PLjSakl59ukbPz6VMvMRGLafEWCf1JhChqNWioj+U263G4ak7Kat1qsOT2kXE/uBndGqhZaQHURQZkazVZxo0pzIijnG+0eGpH7F0rVootAAgMWirPTiMVmIW8YZau1b9LsxhqrVVmrWfI/0eyanMm5IcIKaJWVpj8sQn7Z1UDk/N/h4xhOxXyZMfs8Ooa6N+QK12alLtRocxuMfjAegrN2ptR61Pcv/c95cew6yWqFH7LXaojWq02qaLnRFPAr3A7CfAOsh8jk3Xa10VTdfrW6HNGVKZblW1/Gxsoz4IogzShmLe64ba7MphroPcRWpFo9apSdZsUosza4mRVGUrLk90SN3Y1LKFWfkbyV5UWlOlLk6qM+K5s3oyvXokiEdhZQQwbjTVjV5doljDSo4kvgrr0DpEJzCvt1ULISqK1ylPjcF3XcfCIRaOHiPs/KDtMmazSHuCXnCt18H4D54DntTSiQWTmf94/kNKjNjrUX1c+EGtWrBarSx4DupD5KeNu9RGwqqL34rnN2WsdtJWqlatpcVD/3lSmy2Rpi6WPTzNIHVO6nuvfhbilZif9Fg8adQWU9pzxCVn9bPQN5HRx059nNrlWBDWSYFXKfMWNvWq0rrmOW6DWqRWy/Sgtqt1iOQ1eo1aa/2gpQIzlh6OW0nb22m+W+2rdQ6j0dWK51Y7RHs7LedV8saEjFgNudegqZAjpK5K7148U9jBPA9MfHOpQ5VqjOuLfZeaPal9kJhx7ntV6fhGlepTOzU7jEd3WvPkuEFz0cTjpFWSyC3GuHvVFF4rfCzQy3NaK62hlZasKXkr93lD9/tQct6gdXnUVq7XtgSzqeF/rqYN5Qotj1iJ2SGKdxdHzMKRtmJys95r+OR4xMtnbX1F9exN3WQkJUmu2uh+rKIgUbBNh0hSrxZycIhF3PSpZRwCFkJS2KmdmbXejWrnpO3b1FrYaxs1aFm+VuvZaHu5+oceEpSq1Ieq1KZJHwtzC+SeldYWmTGO8QvM5lnvbyO2peLnikUQi9xrOz+vjCB8+tckKzdpmzarpZQezZZSu+vcQb0eKeESAZQ5WEL2oftuaM9kdjnKIVamUc1Xz5Yee6vtongfrXpoaEfh6TQOT/ghh31qUzYd1vF4vE/ca/uIlm3W1nlymDfy+X8bTiIAEmGTuGSTPLVVKnelefWvVcvSJ48lq1G5/o57t1qPxP/vtX2VvuBdx9/8u10C7s/J3X+P373XNlW85Vm9ihwLfKgkrqYLs8jv+xPb3mscRfoG0qPCcxiIrkjfFfNosTpLrXWm0folZRjzqMUiSQuX1RDPvlMPE6NoaEvFYvTqGW+qjzUka4D2ZNJ2XsrspL6/PKvX6n0mtUZ9SmXnMNaCVZ6yly/WFzFgRGfQ58AM6lH9FESXZv2lSn7yzRLSq8fTp/4Gnk+VSGStPnudarf0wDAetan3EN8A43lzarU3HVZV2NB+3qTe5GZq11ef34PXLGtQbaqOs8Nsx1p7poh9SU9A/Ij6k/xtqI9WO4xczFpWqlSS5Rli+EV5/YzWYQyjV28G9rbRa8u4GeJNm1rzNxzms0vLh1UkNpzMu560VIxaM8XDlPLbaCsmXgZG+jA/b1ixILJf+sCDtkiybtLNCNqoaam1FR91z+r17xpJxDMvEgFptA8vucd6FyhBs0P8FmP94U+imrXDfAK51qA9ijzPYta7YpxO0tpqqyD9rUq1Fx9PvGw8kzw7RL1HtVvo1eB5oPVGoKTO3hyBqpO/DpawiphPjliztDbibXRqaaUP3Gp9qR1GOFctHEZj4clIDL5RjySP2E5qkW+O8oj1GpLmEsfBvAGM8klrOSkFqVky9jVpKzRrjyD3XvBMRKUWRuiO2vZL7Fa0bbUkjeoNSy2fXX6GHDlo1fuetO4hviDRS4xbyEhzfvpP7i59aoz9iZ3HCgSDy2NMrVqu/Gww2qdBbTHGgjBT/lr9WEmflKBe7Q1mAg3q03eqK0bUMftZ4iaNtvHw1SWmiCfvJGIjPSPx/2XUe7U2SOskUdhWPULMUbjZcsJiDWqDMXNH/H/MARErXWtvpE72RNrGKtm1UXuQmL0v5b1S+12rx445jrVet3eIWkxqJeExT+rbSn9oU1tGSTHWmJR0tarHoCVE+hJtqh2r8yCqG79U6j3LKEuT2hE8WYXWEhEOjIJUes1Oj7k9CoK8ycinjGJJ7ArPlEpMstY6IWu+9Q4zYaSlk3RILwJ3lh7F7NC7khYFPoRY61Z7WNIWiO2btU/U67Xr1PPBuK60OY1DPxjHdFrPJK7WqYXvtMQj9or5j10qQ5vqO00uP3H86+ZCdOpziUXrU+rQSmHNDolhbjr0i8VjnbWMtW7T4QmlXts7sbCb2hZILA99EIn1Sw1r9KqIQY+pDGFWf6c9lbxaSuUwg0MiWVUqWfl5AunVwC8U/wKzWCV+mCNDndoXrHvX6dXb9Ls884i1BXK/QcY+ENPDM6DiaXd6fazWlNsUiZrlGFG18oennWVmTqethbSOtcNaWpPDmhdSGuRuYhMmh7WNW4cxTplhInayT+nHXITa5fkpnVpsaYEwYjBryyAxeYwRSTRFRr/GFY8Zlki8r1nbPUQSEUHDbBx42eKPSp8QZb9zWNWzc4hpTGrjQUiY1trmYJy6Ui8Sz0vVaoVmzavE33uHta0mpd6pn3DTD9hINhzcZm2HxWpivFzKKCKek4P3jzmqQ/ISpQVEZENqIJ7EEh+p0dYO/SewxwymyiH6WWlty0/pNqm9aLSWSF829yDGVK+lBKF9wPyANqUTkTCMYs7aask8lc5hdij61UJYWoVGey2NwyyQIdWBPBYnHoKMYmHV4Q2H8bkmlgqZKyitZLYkUjalBzBqKUfUfkgpx7MYmK+FWWeNwxq5iI2PLke7kDOh2qSS8Fj/e0NbU5lPMmiJET8Ma0VI5B9WrNHWc9QamK3FqNYCs1YwslA5rIaKMSnM0kKbuP5cNYzryupK6FW3WkY7hxXPZc5ro3lqlBfmnz82V018Z+nFNZpGaefEH5LedeUw03DUEoQ5StcO88Tz8yuj1uncHjdaw/BsvaR8Sv77sFI+pP+ZRzHyHEyJmEvvSEon5jng6UqM0YvnNGr7h5FBrI3aq19WOUSbMdqGNcLm5BmjjyP+9ezWmZWGWdJN8oZkDVhED0WzzeSlDA4RzWzVpLeB3iXmM7UOTwr36gk1KZ/oJWNervhEsH0yFjOpj5mfEpGYQeMqTWevXLE+CCK6s9b2Tv2+1SeBK7VyGDms9b6z1hhpNTG3L/vxncPIeav1GW22+JFCCiubYKZLo+UYtgzPusE3lPyJ79NpXcZK44/NR5OVXVqtBVIy4engSYg6pap1eS7P6PD8icTApAcu7bxY587lVRar1IepUu2ftDXFGofoC2NujvSU8CTmhsP83DGVEGn5OodVFDYcnpCa1fPMs9awGuHSs9Iwf6XXcoDoEmJl0qLPWpdlJoaMIdQur/Yyq28qfkWneZd8iYcjo0Kza1Y8g0l9ofz8HmYwd1oCK21f0F9r1EtGmy82K48OZ39n9U5SAmuH52NlRF4I9NpPwupfGPUWDxHjA1J3J20bMVL++LMYYkUnrY2YByCRdqmLDz2ZUKsFkD6FWEHxAfBc7ePPLoh3P2qrJpHuShXA839SZqT129QzMTaFeGmrRAe19rgubBpKN7RA9EF4YWW5DW2nKvU0MCt/SpYNlrhX7hK9vDkquOGwptnoMBNBat7ksIZrttxD6gNVqkDnMANLeqt9Yis9sUFtKp61fIp/q2MSjZabTfUZYXnFY5y0ncOqmfkPq4E1qlyXON81WvHwH0YKe/XuNhMtRKLX+dtwj0e0Jfe3Y9Q3r/Jbxi9Xr/N43FTyPjrMdMJMGUQTa4cxZInxY7wA9rBXfxOxIJTS5kbqNpw8iSGe4aAtEEbAW7XYs/oU6JGhxXk8gvq4Dg9Hij7v73Ou9ltGk2+WiMeiJb3DKESl/h1iPJ3DHPNK65JEmOQ7nggYteyvkpS5nJV6pWK/8TQjejQSQd90GEXsHHqfKOtSBqUN3lRfWjwo6bWJT9E5zLCR+RKYnwWb+ng05bEysNoT3lB7MiVfFPE+6dHebzFu96hX/9bp60qNe7wnm/9+y6yCVQXW6Un16t2LvcCMMymBQgOzSDFjdHRY4R3z1qXN3HSIXQ0OcWpYAswkmV1+kmRweOIao5itw2xJKX9Y70lmbOH5llX2KEnSi630rPZGP2fDjeo5YSyocXiCB/0YzDN6qDf00N/neGmj/vXay5g076BwP8/173L7zHV8qvD3uDd087rrz2DBU8Di+2FmlYzK5qf3am0F8tgynijCc2kbrlGvT3htahmFz5TX3Rq01W219MKPbT/RBxFGrPoHzy3HLlutTxi5xFgCxgla7X1I72/TYUX+WtsIzNKd1P40Dis1bTg8M9FqfqS3M6g+ed2zRnuBmw5zbPNz4uhjixUV+4JZupi/vM4xubzIHNxeW+pGvfn20V8xU6lR+4UnZYQYVodb5xi0OYN6h5W2J1hz5uFfseaP9GPE+mxqHcCKJ48fIdYYbX2t6t9fR1dtuJQ3jEZuOqxFMjk8Hb3psNbdoG1QpzUDkbONB66zceeVNu651oZ7fMbrQ8/1flrzb9YZzFee1KLIuHheXXJKWkv9kHk1t/0geQYh1wU8LyMea37q6tMaPKjll2NmPX50WEmo1hrTp77xrLZFfG6sITVoSyitNerdp/Ze7jqp9UKUF+ucSI9aajvWZYCPNDrMhZdREvHQZ/WT8VY46ZvKOEynUaLp3r33txmPzS1f7xjEgKvUe8UzyXlF4VmtKyLr8NfwrGajLa6UOUTg0I/Odufh+2yscaeNR++14R6fDQ/KWJFS4q0SC8BM39VVWfPKADKCI1EqrI8r9rJTC9+q3cU7uOBHVuoP4OkXKYESaZa5ebNrXXejRG6k6ID47Vhj+b79UgZlzB4zCeQTRrjbtY749A8rUOO9fnherde2S6wRZrFhVQ5p63ot0ZJnaWkRscJM91FrGdrL26nYUL+oVx8Oqxh2SW3EA/FUQV7jB7OdOi1p0lYPLs99RJQaTw2KRzE7xCFa9Rgxy29IPg5Wid1wWCVLPDmx0XjOB28nkLdAyHharx6IlMzcJm04icm26o10ag16hzla0hJg5letbQVme+DdNY16TvJUtUSBJc6JFeo31HfCjExpU6SHi3F1mWEjcUSJQGxqGcDsAkSRJQ/CEU+gzskjGLSNkFZKnsyc1VuuU9v28DN2G9qijQ6j9cK119KL+ZDSvx615udVusQK1lpWK60FWEUG8xoww2B41BfYSGVKrIeMQGH+dZ+88E2HdZzl995h9miX2jKsIoyn8mWFgk21YqPD+v6rf1AVz3ahjfq05mCtiNGtznNrtS5ifBDv3pJSO6n1XY1x3q8Eanqb6LRqIfCmBYyRycgrZn3VDs/8iv3If5PW0vxU16A9lcblsYVebcLtfNd6b4nRNOoVYz1paR9Gl+cNIWaRVweTOWt4Rh5PVyLOe/e1N9a4+saD18dTJA89lXeX/lhfstU6I2MwjfYnMTOzdeiVbTqsxykjJpPWiNFh3qL0h27qKvNiZMxZbCDWaMFMZonNYF0GjBtfq90QC3bzr3ZYOfnudLR3pAPjSZXDHJDrFYuC9lquhyfCET2Tuaijy2O8g8Nboepk9cWf3NQjZWxfWnN4vKP2tWSeVOWwzuCoNQH2Z1AlsN746DDGLqPQYg3EK/u0HN+s73c/Pf94RPzuP5lngzGUPFKNldM/vf/d65Gt/sms0bwusFjvST2NWfOKOeMytid2oNJ2AeO8lcNqBYO2ho2WJsxImd2nsZv7/aKHvKYN9/jz2+IxPt7urtOm3t9ejsnKPH6nddrvh1vnUevs421vpXQxD75yGDOWNlcIy+yBTls8zP/6tCTJjDaxQI3DPMJJPbL8LHyjVh4RyE7b/E97bRsO88nwBDueN8Y6nfDQJK35yYBGfcbbUWdRScbvMfKT57e3LkclMLqT39CIZ+1bh3mOlcuzuFdbKfAT/VvtWWOdTzyXgBFmeHaz2h6sdbp6xV7/Bo1nIFV5TZ8mnSmjDHiH6qyek8SzRtUTsXXMa0L7jCcHJHerduuutRbP3YXfc+H3nKc1Fq9/9T+xQe1ae//If3/sHfPVH7/P8nm3/O/z1Pj12q1bDpdKz+9Ten5rah/as/5vd+1/Op/+2Bz817n6Q98eK8HlKZcsXb9Ogd+q2x+hu12WFtX69bWr/KeS6VmnfXzMzqzbxn5u7f2c9ns96p/Xjn9u6n99rn6b5frtvs36ftbvUfd+f66/lumv99g+r658Xu36PevuEnR/jb6/tr5+rk3/dbbt80rOr7cfv9+9fuu/dcvFH1+q+Ymf+OmP+fRrW9Rf3y6Uz/Pn6PB0Pq1nd/8rafRHl93f5gfZYP5f5dN/xbL7eb7s5/mr5XP4uam3VmL+u1vW+718lksbrJcpl5/fv/utV1+/t/x5Zffz9titnevXsd9H0c+jaKdG/jEl9vcrV8tbm8+x6et4KL+W/WO17Y9V7I8oseuq8ZjN+2MsrU3drNZy67p9Tp39o/LyW0mWrIPL293/vp/+CB1+7/KyVKrW9RU+p539o8r5H+OJ/f6Wb+nr/NayE+b8fjrH96/uo/8U9n4bf9lzW+7M//3o/4Xff91zC/zjH//4xz/+8Y9//OMf//74v+DjP+zPhyNexSP+lp7/C3tl37/HXsG+P/bYnfrvx/68E3068Nj9v3isrPckvQnsC72IPX9G+PS93/OveK/n/kr7/gqX/hoX7k+u1rUGKvcXn9a7f+3v/RVPVT/0a33Pr50+V373r/ODqZr12ef7fq0fPLd58Nf2wV/vT7M8Wd/ck1+sYHzfuQ/lt1W+9/96f45a5XD/r/fnSJ4Nvv/X5gEKsoJSd8+vovJ952IV84d+bR78tX3k17sZya/3pxmr4N//6/jIr8ODv44P/jrf++v9ZQO/3pdfrCtx969Ybf/uXx8qsfj17vu+cP/p3rvX/lvYG2zjXUe99se999bv2B367XO3E//fXuPYF37/Wfx+4D743x8/4437+pHj30Zb/HiqcdxX7p/+mPDppd/z8LE7fu+V37Y+1d8+eORubB8OohLnMV504f+/64yv/eeLeNx+bDve+zbnF98arHfs1/4+vyQlHz7n7hTj9xe+FduN29DyHcRW7MRrs945lzE6FtR+OJc4I+TxyN/hg//3mDI456VP04E//p/+zLvZ3z7jlftyreNCGVvnuDf++3qKfOXT+UPM255P9b/WOued/3YUlV/n6G3vg6x3XPBfvov6/bxmGcjnoHasc9aOT/vJmsfuxvK790g5x9Ffx2NPHjl2z5ejo0eOCSX0o///4aNuWqXHy0c48nClNr6Nnt/jdfL2edt++3BZeemP2E9l6+FjX/ucnvrjjx9JRbCU5zGte9Fm3m0DcfQ7n6/XjxxxGHO15X7yvwVfOPC+9NtTn+6H0yx1IDNY13rePu+Nv++ep7fOOVtRp3WOlLZIWoF1jpfW6nPzsOtL/fMHj3y8nMgRj5dcHIcSKK3m42cE+/CD/3voSLSWj6Uh2A2U02Bx9mLL87Ad2Yl9rQt/xqX//fFjrz6zZcvnrNuy4YzPadlwzvotG854rGXDcetof7VWy4YjP6dlwznrtWw4+rGWLR+3fsv26TnrtGw4a73WCkev01rhmEBSynsgcP5IefnGXdyy/VvxCPn+J3/eK3+dQPOd+8Jtevbbaxz177GVffy4V740vVnjuNe+/fvbGsf9h//9/I7jXsTW8zxamOfRymzeOvcvMYKSYyV/vbUeE1YWl5VcZUXa1l2nFRLlPc2Vu9bVv2SdaFlJSt5pIO9JknXe+nikrM3d6aq48tZNvPNNVsG9jv0wGV+WtdvwxuH8bqxet/IrVvTEe+sr3coI9RyPuXZYFz5ca3SySqHskf/xhnVZp1jW0ZNfZGUsOR8paJ2sjCnr14WrT07WuJfRblnXWd4XKOvTXTt5Z4K8iS6/IVPeKHetK4nKm1LxzvnWXTu8RU2uLHeUVIpiopPkVY4RhWWlcVFKiEiusZq2vBPk2uGtTJIjeQdp5WSFz3CkvGNTlG6drJUvq5vLqtvXumKlrEcm75jpdR3T1l3runiy1r2s/ijvzx20VEiqJOWSqmvV41rL2XWMB921XtifV2J+N397Hv3TM18XnrkN/y/YhWApnmn/9Dzah2+9DZOW6aN63WH/i3jmafxf2rpnvraEq8OzC0eFNv5K28/Vs8UbPYh1L5z5P/1Z4hk987Xvx3jOmf8V5zzzViPsufI1F9d+5e/1o2/7wj2fxTuFVPwzpedbzdE//Tnnsc7v63liBf/s/leyhP/bH/tjzPm/x6NP43658o8+pdi/7z+987+KMv9csZDPkiLP1JL86I/ec4jNisKvvX29qe7nXwOtyep10NYcRA/lWcxjiBscxLP+l/bzoff//uTO12r3Jcfo31xHD+ksWr+L6OP+EGntxvtcRu8mpE3SIPGIZ7dalHO/ZyceH7yOq3SVsP8wpvqj/yRRjmfR4zvTFEGBn1OJCmcEfaSkfRupSL9JlJGW7tt4pHiEN/P13DPfWSkrZ06iNqfxDrdVyJ7EM/X1z1JpfO2v9OKenK1/lVVv/Tr6T880+nS4ktqrqFX4tn3HUbhm0A51+U0sZdDm03Nu/56vIfXymfrmz9RXv5nSZ550LpMhl59/hV13obX0+tYvX/pPP0S2YI341n3W5Fmszc9iv+9DHOv4NvbIzlLJXOUh/eUNTfGzZImEy7cp5RLNuzv9j6XkP/zZx8r4b/rrZbz+Q+c+j2XoOFpQ1LTP1UBS+WPst4u+4Y6rZfA+i7w+hftK95uo7D+jZmHPx09Uu1kXb1sJ6e1l+3DX8Wex7QrpumnRbh99u6atRxk2We60aidEL7QRN+uPpOVCWyypD+taAMQOYInvKrFS89e1WrfvAKtwfE/axZLdvMZ92txm9FDNelz7XLegwvW917idixfRoznWe8voprT3B7HtEhVhZS7dRTz/X2qxz9WXkByc6TmXesSup7WXauvDv396vb/FvoSU6r177nmzRAjLcL0jLc/H8bibHG56K9faUkKfFzdKRNDrMpaTI1XjWfzlW61HEis71xL3o1qOu/28u+zFM+1/ii+56p/czulX0S79qJ7Cv+6oU9d6rXDly5jSjZj+v63YnPN7jrodZbn7KIkigMZ997vpP30V9drz1zxIub77zE89zLt81bvOfKlxqPMVOlt61MW9Z6E3f77ie4v6991lNd4Tvoezflb/8CHdbmuy/pk3I1nPUi/7MnJ46MxX8Z6XqsaXqssPD56DUgJPPUdQ7j5+tfZ9SmrVot08+9zBh7/PDr+I9fNiJSUov7lUr3PUOmXxsausx/1z0/LrrnJXL+zx9D9WOx67wu2acn</a:t>
            </a:r>
          </a:p>
        </p:txBody>
      </p:sp>
      <p:sp>
        <p:nvSpPr>
          <p:cNvPr id="37" name="WORKBKFUNCTIONCACHE1" hidden="1">
            <a:extLst>
              <a:ext uri="{FF2B5EF4-FFF2-40B4-BE49-F238E27FC236}">
                <a16:creationId xmlns:a16="http://schemas.microsoft.com/office/drawing/2014/main" id="{00000000-0008-0000-0300-000005000000}"/>
              </a:ext>
            </a:extLst>
          </p:cNvPr>
          <p:cNvSpPr txBox="1">
            <a:spLocks noChangeArrowheads="1"/>
          </p:cNvSpPr>
          <p:nvPr/>
        </p:nvSpPr>
        <p:spPr bwMode="auto">
          <a:xfrm>
            <a:off x="2375067" y="2987675"/>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Gjrjx29qe25bEzHiqHj517O9L5+BmP1ZTHzscIGvz3h49ev848dKXP73eF8YnVtuv6hjcSUgaPYbWtXIfuTQuVe9I3/aA8qnWgKbjPn/10ZOu2j/qpTmF8MBA8vtXLR+pv30NGu0T3/y9eH6NeuWWGVnkU7C6fcnUcJJ+Tx0MOosWRfNw8czUufKyKPuyLB89C4jkX6nVIL+G2OiFNG75nf6bpwXF3RS9uR3seU+72WOb9R2arsRdtHq58d9ToU1VXR4ouk/V4TCMpn7nPGuj+X7X58m213IPXF/F6B7FM3FVacj2ScccQTflXLOmS1h9cjpSt6vFpv+dmj0AswmU8+jjGW9Y7B30NRIruatlQF296yajl76KGYP5w+fjUa71pI+4+5q6rrZuSm9dHLh+ON65aph817nM70nBT109TeDeRl/Gu2Rq90H7LP93BZ14Z3B735u/WD0o81J+53eP7T3cQU/vszrPvinP/93w+7nNmEt8/a/jP6dzd6FWcxTIjvxzGNirbwhfRMh7F3/9/nCUMKA==&lt;/compressed&gt;</a:t>
            </a:r>
          </a:p>
          <a:p>
            <a:pPr algn="l" rtl="0">
              <a:defRPr sz="1000"/>
            </a:pPr>
            <a:endParaRPr lang="en-US" sz="1000" b="0" i="0" u="none" strike="noStrike" baseline="0">
              <a:solidFill>
                <a:srgbClr val="000000"/>
              </a:solidFill>
              <a:latin typeface="Arial"/>
              <a:cs typeface="Arial"/>
            </a:endParaRPr>
          </a:p>
          <a:p>
            <a:pPr algn="l" rtl="0">
              <a:defRPr sz="1000"/>
            </a:pPr>
            <a:endParaRPr lang="en-US" sz="1000" b="0" i="0" u="none" strike="noStrike" baseline="0">
              <a:solidFill>
                <a:srgbClr val="000000"/>
              </a:solidFill>
              <a:latin typeface="Arial"/>
              <a:cs typeface="Arial"/>
            </a:endParaRPr>
          </a:p>
        </p:txBody>
      </p:sp>
      <p:sp>
        <p:nvSpPr>
          <p:cNvPr id="44" name="WORKBKFUNCTIONCACHE" hidden="1">
            <a:extLst>
              <a:ext uri="{FF2B5EF4-FFF2-40B4-BE49-F238E27FC236}">
                <a16:creationId xmlns:a16="http://schemas.microsoft.com/office/drawing/2014/main" id="{00000000-0008-0000-0300-000002000000}"/>
              </a:ext>
            </a:extLst>
          </p:cNvPr>
          <p:cNvSpPr txBox="1">
            <a:spLocks noChangeArrowheads="1"/>
          </p:cNvSpPr>
          <p:nvPr/>
        </p:nvSpPr>
        <p:spPr bwMode="auto">
          <a:xfrm>
            <a:off x="2407152" y="3232317"/>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lt;compressed size="651798"&gt;eJztvQtvHTe2ps2fYkwDgxngk7ruF3TPARwf2fGBYwtS0oODRsOQFamlJFYU3ZIe6Md/JNd6yS1Zl+1cikvnvBDs2rt2Xcj3IRcXF1msv7pDd+lO3L67cMfuR//phdvz347cgfs391f3rf924f/t+t8u3Zn/5cA980ftuY/+0/9x/8O9dK/dW/fc/3vhtvz3Z+5DvML37p/++B/j1b91p/7TVTz+ufvB/73323DPa9e4yv/1/tPf3X/6a+75s/7hv/1Pf9SF+4u/c7jnSdwfUvjM/c1vD9zP/oh/xiPCmW9j2g9unLnl94RcXbh/+bNexPSfxWvt+z33nf13n58XbtufcXPvr/v2P6KKr/y3C5/uPZ+yS1X23Kfs/8XPtevc7Ea/788re//qFd7zuoVP3/s9//K//dsnavxJdbyM1/5LUvBPquvk9237fXL0t37/d5HIX5KKf/oMpW9qGu79yr3xLN+4d+4Ltxl1+8tKPvO1t+NVD+LZmcUz97W/z0U8Pt8j5GhfS86Fv0atean8b8LmTyuUwhVOvdZ/iVc992f86JWr/THbsfx969P37z7FV7eOaPwRku6b+1u/fzfm8MDvu/lb538LOQ6l5r8viZ4kDJBofU5mkjBDoiYJAyR6thMmSHT+jyQskOhji92RRHESo/Z0SMICiZ4kDJCY2bMzRKImCRMkatYJIyQakjBCoiUJIyTYs7NAool5aRh3MkCiZ1TcCImBJIyQYM/OBok29ibYs7NBgj07KyTYs7NCgj07KyTYs7NCguPYNkg09J1MkJhiTmqO2Rkh0bFOFCchMXFaJwskepIwRKIhCSMkWpIwQ4IjRTZI0HeyQmIgCSMkRpIwQ4J9bCskBpIwQmIkCSMkZpIwQILj2JZIsGdXnsTAOmGKBH0nGyQ4G9MCiZGzMY2QCOOnXLfDAgnOULZFgl6sBRI9SRgg8cLn6r1X/iTuDWvtkUhZIkFzUfPQb/M8g/cc1TPK6Lnbif9vk4spLnJu+H7gPsQzSMcOnTf+HLKxyeYrf9xHv/+9e+mvR5+gNJ237iDSgEUL/toVqRihIt7ze3/OnvvFb0Vp8rHEJxx74o8kExtM2MLY5LLt/7ZIwwiNHb/3ym9bf+a3pGKEym487iD2+c/9X9h7TjqF6ewona14jRN/99Dek0tpLnLMe91/Fgn94tUnF2tc0H+R65CPFT5s+e2w+Og/nTnGK60QeeHvthu3e1GnM233yccan6wNfTJrdIJHduTT8CGmg3ys8XkZr3Tsjz9i22OOziv3JZkYYxIYkIktJm/8d3pm1qh85e//Q0xDuOa/yMcYn3f+21HME8nYIrPt70Am1pgEhb+LPvPPjJwZ5oMZACRki9COXodcbHHZjaM0exw5M0fm68jlhFzMcNnzmhyRhxkeQY0wckYiVojwyZinwIVxTJt0juOszHBNxsus0Al15nBlFtNbv//EcS6TZUasQdbonLK2mOHx0h+37zA6w3pihctrr8WpP/aYdcUQkxOvyaVGYkJaScYOmauoz0WK/zOGaYXOzVUYZCYg4wFW6TAaYI2NrJshz2mSjA0y7/x5r0nDDI3D2Offcj/53469/mEs89JvT/357NXY4RTmmeUoJ59tts/ojU/HnvcNyMcWn60YISAVW1Toq9llI9402xy7hFbH09jyWKUkCh+SizEuu/6uz0nFCBWOO9ujweimRSaYqSFrnJKOJTpB3R9iXknFAhWs1kg7ZomJnE8ednhg7kx4BjB8Ih9bfIImZ/6XfXIxxeXKcZ0z+3yyNoxhWqPDdc5s8+E6Z5bpcJ0ze0zY17THhOucWaTCdc5s8+E6Z1bJcJ0zi0y4ztnT4MN1zmwS4siATS5c58wqGa5zZovLbtRj331PIkaIoIaEWJmMbIZYwDkjzcYIhefROW/GCpNv4p25yokNKuc+L33MzRdk8RtY/N2fEcr0x9gO7MVzwxMU/7hD81rTXFHxRRXvqfiCirc+xTMVX1zxmoovqHhPO76o4p3/o+JLKt7HlrOj4ospPsY091R8UcV7Kr6g4jN7QAUUr6n4oorXLOMLK95Q8YUVb6n4woqzB7Sk4k1Mc8O4yoKK94zWLqz4QMUXVpw9oGUVb6M3zh7QsoqzB7S04uwBLa04e0BLK84e0NKKc5xzWcUb+iqLKj7FFNccA1pY8Y5lfDHFJVZLq7Kk4j0VL6B4Q8UXVryl4osrzhGJZRWnr7K04gMVX1jxkYovrjj7nEsrPlDxhRUfqfjCis9UfEHFOc5ZQnH2gJZTfGAZL6I4fZVlFecsuCUVHzkLbmHFw7gbn8tfUnHO9CyjOL3DJRXvqfiCir/wqcd7GkO+D6j8QsoHbUW1Q7/N483vOUpUmMVztxP/36b+RfQPCpzF7wfuQ7w7KSxP4Y3XmAzKMsAq8GG9/gO2zYtReOvPuFixRME/uqL6C6svXml+m7goSg4lOIT1X/nm0OW1ZwtQVv9t/7dF1RdWfcfvDe+OaH06+JaipdXfjecfxD5weAtB2Mt3ESxFYUcpbMUUnDh5Yzf1X0r/oOlFLPth/5mT9z/zvULl9If/L70xcliaA1vg5TX/6D+dOcbdllb+hb/qbtzuRT3OtP0lh1Icsgb0gUpRCB7QkT/+Q7wfOZTi8NKF9zMd+3sfsW0oRuGV+5LaF9I+aE3ty2gf3kpJT6iU+l85vO0wpIhvPCzF4Z3/dhTTTgJlCGz7K1H7UtoHJb+LvujPjAwZ4IARYpIoQ2Inpob6l9J/N44S7HGEphgBvL+e+i+t/57P+xF1X1z3kOswQkPll1aeTwZY0p/xuLIUjuMsuW1/HuNBS1MIdeBwZXbK23gG56hYYMEaUYrCKUv/4rq/9MftO4wOsNwvrf9rf/SpP/aYZb+A9ic+75cagQhpIoHlCVxFHS5SXJqxuKUp3HxaW2ZssX9cmgJ7x6UYyHP08hwZCSxL4J2/zmuqvrjqh7EPvOV+8r8de53D2Nil3576a7FXsDyPME8oR+v4LKUdFm/8OXu+jSaHMhy2Yo+Z6pdRn75ReQbipbJNKE9iddyGLUNpGqLkIfUvpP+uv/pzqr+w+hyvLKc6o3QltceIvaz1RwolKAQVf4h5ovpLqo9Vzmh/SmjPpzZK6Y65EuHZpb14LjmU4BDyfuZ/2af+RfS/clxnyA6HrAFjcaUocJ0hGxy4zpAFClxnqJz27JOV057rDJVUn+sM2eDAdYZKE+A6QyW15zpDtjhwnaGyJBixLqs/1xkqTYDrDJXRfzfme999T+UXVh4lPsSCZKQs9I3PGRktRCI858p5Ektr/008iqsbLKv+uU9zH1P9BTVfW/N/j2si3lQdV9+O1xUv/pmTGednquRFPD7f5TaNWnNTkYURFj1ZmGDR+rzMZGGIRU0WJlj0bC+MsOj8H1nYYNHHtrsjCwMsxpibniyMsOjJwgSLmX09UyxqsjDComa9MMOiIQszLFqyMMOCfT0bLJqYm4bxKBMsesbMzbAYyMIMC/b1rLBoY++CfT0rLNjXs8OCfT07LNjXs8OCfT07LDjebYVFQz/KCIsp5qXmuJ4ZFh3rhQEWEjGnjbLBoicLUywasjDDoiULQyw4lmSFBf0oOywGsjDDYiQLQyzY77bDYiALMyxGsjDDYiYLEyw43m2LBft6FlgMrBfGWNCPssKCczhtsBg5h9MMizDKyvVAbLDg3GZrLOjT2mDRk4UJFi98vvD20aDIAZkUZxJUFz0P/TbPSHjPkT+zlJ67nfj/NskYIyPnhu8H7kM8g3ws8XnjzyEdq3Tw1ovwHpIDegcG+Lz1512s2LXgu12Rixku4kuHFdP33C8Ob5AhIVuEwrF837AlKmxprJLZ9n9b5GGGx47fG94H1Poz+WY4O1x243EHMQ4Q3lET9p6TT3E+O8pnK17jxB3Hlp9kypORY97r/rPI6Be+Yc4kGfRn5DokZIcQfQBLND76T2eOkUw7TF7E64ftXlTqTD0AErJHKKtD/8wen+CdHflUfIgpISF7hF7GKx3744/YBhnk88p9SSrmqAQKpGKNSnjXM700e1y+cngbcbgm30hsj9A7/+0o5opsrLHZ9ncgFXtUgsbfRQ/6Z0bUTBPCTAEyssZoR69DMtbI7MZRnD2OrRlk83Ukc0IyhsjseVWOSMQQkaBHGFsjEztM+GTN0yDDCKdVPsdxJme4JuNodviEenO4Mufprd9/4jjzyTYl1iJ7fE5ZYwwReemP23cYvWFdsUPmtVfj1B97zPpiisqJV+VS4zMhtWRjic1VVOgijQ4wummHz811HWTuIGMEdvkwQmCPjqzFIc97ko0VNu/8ea/JwxCPwxgH2HI/+d+OPYEw3nnpt6f+fPZyLJEK89Jy/JPPST8FSm98Sva8l0BC1ghtxagBuVjjQr/NMh3xrdn2WGa0OuLGFsguJ9H4kGTMkdn193lOLma4cHTaIg/GPW1SwZwOWU2VfGzxCfr+EHNLLja4YE1IWjNbVOR8ErFEBPNswpOE4RMJWSMUVDnzv+yTjDEyV47rqD0FQlkdRjft8eE6atYJcR0123y4jppFKux9WqTCddRscuE6atYJcR01u2y4jppNKlxH7akQ4jpqVhlx3MAqGa6jZpcN11GzRmY3KrLvvicTM0xQS0IMTUY/Q3zgnFFoc4zC0+2cY2OHyjfx3lw7xQqXc5+bPubnC9L4TTT+7s8J5fpjbA/24tnh+Yt/3KF6ramuqPnCmvfUfFHNW5/mmZoX0Lym5otq3tOeL6x55/+o+bKa97EN7aj5gpqPMdU9NV9Y856aL6r5zD5REc1rar6w5jXL+eKaN9R8cc1bar645uwTLat5E1PdMN6yqOY9Y7mLaz5Q88U1Z59oac3b6J2zT7S05uwTLa85+0TLa84+0fKas0+0vOYcD11a84Z+y8KaTzHNNceJFte8YzlfUHOJ5NK2LKt5T82LaN5Q88U1b6l5Ac05ZrG05vRbltd8oOaLaz5S8wKasx+6vOYDNV9c85GaL675TM0X1ZzjoWU0Z59oSc0HlvNCmtNvWVpzzp1bVvORc+cW1zyMzvF5/2U15xzRUprTV1xW856aL6r5C59+vD8y5PyA2i+mfVBXdDv02zwy/Z4jScVpPHc78f9tEihEIGhwFr8fuA/x/uRQgsMbrzIplKaAVejDGwMO2EovyOGtP+NixR4FX+mK+i+uv/io+Z3noilJlCERVp3lW01LqM+WoDSBbf+3Rd0X133H7w1vsGh9SvjOpOX1343nH8R+cXgTQth7Tg6LcdhRDlsxDSdO3itOAssRCKpexPIf9p85eUc133JUkgD6A9I/I4nlSbAtLqH6R//pzDEit7z2L+J1wnYvKnKmLTFJlCORVaA/VI5D8IaO/PEf4h1JohyJly68L+rY3/2IbURBDq/cl1S/mPpBbapfSv3wxkx6ReX0/8rhPYwhTXwXYzkS7/y3o5h6MijFYNtfieqXUz9o+V30TH9mxMgECYwkk0UpFjsxPSRQjsBuHEXY4xhOQQbyHvcTEihAYM/n/ojKF1A+5DuM4VD75bXnkwW2CDBSV5rDcZxZt+3PY5xoeQ6hHhyuzGV5G8/gjBYbNFgrynE4ZQ0ooPxLf9y+w+gBy/7yBF77o0/9sccs/0XUP/G5v9S4REgVGZRgcBWVuEhRa0bpludw8/lvmePFPnN5Duwxl6Mgz+bL82hksDSDdz7/r6l7Ad0PY794y/3kfzv2Sofxs0u/PfXXYi+hBJEwryjH8fhcpiUab/w5e761JolSJLZiL5r6l9KffpIFCuKzsm2wwGJ1ZIctRHkeouUhCRQjsOuv95z6L64/RzVL6s74XVn1MbYvqwqSQxkOQccfYq6o/7L6Yy01WqEy6vO5j3LKY15FeAJqL55LEmVIhNyf+V/2SaAQgSvHdYwskcgqMEpXjgPXMbJCgusY2eDAdYxKqs9eWkn1uY5RWf25jpEVElzHqDwDrmNUVn2uY2SNBNcxKs2C8ezSBLiOUXkGXMeoFIHdmPN99z21X1x7lPoQI5LRtNBfPmfUtBiL8NQs51Qsr/438SiumbC0/uc+1X1M9xdUfW3VX3l93tx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byfTXl+ewon614jRN3HFt+kilPRo55r/vPIqNf+LY5k2TQn5HrkJAdQvQBLNH46D+dOUYy7TB54cKbwMJ2Lyp1ph4ACdkjlNWhf2aPT/DOjnwqPsSUkJA9Qi/jlY798UdsgwzyeeW+JBVzVAIFUrFGJbzxmV6aPS5fObyPOFyT7yS2R+id/3YUc0U21ths+zuQij0qQePvogf9MyNqpglhpgAZWWO0o9chGWtkduMozh7H1gyy+TqSOSEZQ2T2vCpHJGKISNAjjK2RiR0mfLLmaZBhhNMqn+M4kzNck3E0O3xCvTlcmfP01u8/cZz5ZJsSa5E9PqesMYaIvPTH7TuM3rCu2CHz2qtx6o89Zn0xReXEq3Kp8ZmQWrKxxOYqKnSRRgcY3bTD5+a6DjJ3kDECu3wYIbBHR9bikOc9ycYKm3f+vNfkYYjHYYwDbLmf/G/HnkAY77z021N/Pns5lkiFeWk5/snnpJ8CpTc+JXveSyAha4S2YtSAXKxxod9mmY741mx7LDNaHXFjC2SXk2h8SDLmyOz6Oz0nFzNcODptkQfjnjapYE6HrKZKPrb4BH1/iLklFxtcsCYkrZktKnI+iVgignk24UnC8ImErBEKqpz5X/ZJxhiZK8d11J4CoawOo5v2+HAdNeuEuI6abT5cR80iFfY+LVLhOmo2uXAdNeuEuI6aXTZcR80mFa6j9lQIcR01q4w4bmCVDNdRs8uG66hZI7MbFdl335OJGSaoJSGGJqOfIT5wzii0OUbh6XbOsbFD5Zt4b66dYoXLuc9NH/PzBWn8Jhp/9+eEcv0xtgd78ezw/MU/7lC91lRX1HxhzXtqvqjmrU/zTM0LaF5T80U172nPF9a883/UfFnN+9iGdtR8Qc3HmOqemi+seU/NF9V8Zp+oiOY1NV9Y85rlfHHNG2q+uOYtNV9cc/aJltW8ialuGG9ZVPOesdzFNR+o+eKas0+0tOZt9M7ZJ1pac/aJltecfaLlNWefaHnN2SdaXnOOhy6teUO/ZWHNp5jmmuNEi2vesZwvqLlEcmlbltW8p+ZFNG+o+eKat9S8gOYcs1hac/oty2s+UPPFNR+peQHN2Q9dXvOBmi+u+UjNF9d8puaLas7x0DKas0+0pOYDy3khzem3LK05584tq/nIuXOLax5G5/i8/7Kac45oKc3pKy6reU/NF9X8hU8/3h8Zcn5A7RfTPqgruh36bR6Zfs+RpOI0nrud+P82CRQiEDQ4i98P3Id4f3IoweGNV5kUSlPAKvThjQEHbKUX5PDWn3GxYo+Cr3RF/RfXX3zU/M5z0ZQkypAIq87yraYl1GdLUJrAtv/bou6L677j94Y3WLQ+JXxn0vL678bzD2K/OLwJIezl+xCW47CjHLZiGk6cvFecBJYjEFS9iOU/7D9z8o5qvuWoJAH0B6R/RhLLk2BbXEL1j/7TmWNEbnntX/gr7cbtXlTkTFtikihHIqtAf6gch+ANHfnjP8Q7kkQ5Ei9deF/Usb/7EduIghxeuS+pfjH1g9pUv5T64Y2Z9IrK6f+Vw3sYQ5r4LsZyJN75b0cx9WRQisG2vxLVL6d+0PK76Jn+zIiRCRIYSSaLUix2YnpIoByB3TiKsMcxnIIM5D3uJyRQgMCez/0RlS+gfMh3GMOh9strzycLbBFgpK40h+M4s27bn8c40fIcQj04XJnL8jaewRktNmiwVpTjcMoaUED5l/64fYfRA5b95Qm89kef+mOPWf6LqH/ic3+pcYmQKjIoweAqKnGRotaM0i3P4ebz3zLHi33m8hzYYy5HQZ7Nl+fRyGBpBu98/l9T9wK6H8Z+8Zb7yf927JUO42eXfnvqr8VeQgkiYV5RjuPxuUxLNN74c/Z8a00SpUhsxV409S+lP/0kCxTEZ2XbYIHF6sgOW4jyPETLQxIoRmDXX/E59V9cf45qltSd8buy6mNsX1YVJIcyHIKOP8RcUf9l9cdaarRCZdTncx/llMe8ivAE1F48lyTKkAi5P/O/7JNAIQJXjusYWSKRVWCUrhwHrmNkhQTXMbLBgesYlVSfvbSS6nMdo7L6cx0jKyS4jlF5BlzHqKz6XMfIGgmuY1SaBePZpQlwHaPyDLiOUSkCuzHn++57ar+49ij1IUYko2mhv3zOqGkxFuGpWc6pWF79b+JRXDNhaf3Pfar7mO4vqPraqr92b2MkYVV1XH07Xld8+mdOZqufqZIX8fh8l9s0as1NRRZGWPRkYYJF6/Myk4UhFjVZmGDRs70wwqLzf2Rhg0Uf2+6OLAywGGNuerIwwqInCxMsZvb1TLGoycIIi5r1wgyLhizMsGjJwgwL9vVssGhibhrGo0yw6BkzN8NiIAszLNjXs8Kijb0L9vWssGBfzw4L9vXssGBfzw4L9vXssOB4txUWDf0oIyymmJea43pmWHSsFwZYSMScNsoGi54sTLFoyMIMi5YsDLHgWJIVFvSj7LAYyMIMi5EsDLFgv9sOi4EszLAYycIMi5ksTLDgeLctFuzrWWAxsF4YY0E/ygoLzuG0wWLkHE4zLMIoK9cDscGCc5utsaBPa4NFTxYmWLzw+cL7SoMiB2RSnElQXfQ89Ns8I+E9R/7MUnruduL/2yRjjIycG74fuA/xDPKxxOeNP4d0rNLBWzDCm0kO6B0Y4PPWn3exYteC73ZFLma4iC8dVk3fc784vFGGhGwRCsfyrcSWqLClsUpm2/9tkYcZHjt+b3gzUOvP5Lvi7HDZjccdxDhAeFNN2Mv31ZTns6N8tuI1TtxxbPlJpjwZOea97j+LjH7h2+ZMkkF/Rq5DQnYI0QewROOj/3TmGMm0w+SFv99u3O5Fpc7UAyAhe4SyOvTP7PEJ3tmRT8WHmBISskfoZbzSsT/+iG2QQT6v3JekYo5KoEAq1qiENz7TS7PH5SuH9xGHa/KdxPYIvfPfjmKuyMYam+14F1KxRiVo/F30oH9mRM00IcwUICNrjHb0OiRjjcxuHMXZ49iaQTZfRzInJGOIzJ5X5YhEDBEJeoSxNTKxw4RP1jwNMoxwWuVzHGdyhmsyjmaHT6g3hytznt76/SeOM59sU2ItssfnlDXGEJGX/rh9h9Eb1hU7ZF57NU79scesL6aonHhVLjU+E1JLNpbYXEWFLtLoAKObdvjcXNdB5g4yRmCXDyME9ujIWhzyvCfZWGHzzp/3mjwM8TiMcYAt95P/7dgTCOOdl3576s9nL8cSqTAvLcc/+Zz0U6D0xqdkz3sJJGSN0FaMGpCLNS702yzTEd+abY9lRqsjbmyB7HISjQ9JxhyZXX/f5+RihgtHpy3yYNzTJhXM6ZDVVMnHFp+g7w8xt+RigwvWhKQ1s0VFzicRS0QwzyY8SRg+kZA1QkGVM//LPskYI3PluI7aUyCU1WF00x4frqNmnRDXUbPNh+uoWaTC3qdFKlxHzSYXrqNmnRDXUbPLhuuo2aTCddSeCiGuo2aVEccNrJLhOmp22XAdNWtkdqMi++57MjHDBLUkxNBk9DPEB84ZhTbHKDzdzjk2dqh8E+/NtVOscDn3ueljfr4gjd9E4+/+nFCuP8b2YC+eHZ6/+Mcdqtea6oqaL6x5T80X1bz1aZ6peQHNa2q+qOY97fnCmnf+j5ovq3kf29COmi+o+RhT3VPzhTXvqfmims/sExXRvKbmC2tes5wvrnlDzRfXvKXmi2vOPtGymjcx1Q3jLYtq3jOWu7jmAzVfXHP2iZbWvI3eOftES2vOPtHymrNPtLzm7BMtrzn7RMtrzvHQpTVv6LcsrPkU01xznGhxzTuW8wU1l0gubcuymvfUvIjmDTVfXPOWmhfQnGMWS2tOv2V5zQdqvrjmIzUvoDn7octrPlDzxTUfqfnims/UfFHNOR5aRnP2iZbUfGA5L6Q5/ZalNefcuWU1Hzl3bnHNw+gcn/dfVnPOES2lOX3FZTXvqfmimr/w6cf7I0POD6j9YtoHdUW3Q7/NI9PvOZJUnMZztxP/3yaBQgSCBmfx+4H7EO9PDiU4vPEqk0JpCliFPrwx4ICt9IIc3vozLlbsUfCVrqj/4vqLj5rfeS6akkQZEmHVWb7VtIT6bAlKE9j2f1vUfXHdd/ze8AaL1qeE70xaXv/deP5B7BeHNyGEvXwfwnIcdpTDVkzDiZP3ipPAcgSCqhex/If9Z07eUc23HJUkgP6A9M9IYnkSbItLqP7RfzpzjMgtr/0Lf93duN2LipxpS0wS5UhkFegPleMQvKEjf/yHeEeSKEfipQvvizr2dz9iG1GQwyv3JdUvpn5Qm+qXUj+8MZNeUTn9v3J4D2NIE9/FWI7EO//tKKaeDEox2I5Xo/ql1A9afhc9058ZMTJBAiPJZFGKxU5MDwmUI7AbRxH2OIZTkIG8x/2EBAoQ2PO5P6LyBZQP+Q5jONR+ee35ZIEtAozUleZwHGfWbfvzGCdankOoB4crc1nexjM4o8UGDdaKchxOWQMKKP/SH7fvMHrAsr88gdf+6FN/7DHLfxH1T3zuLzUuEVJFBiUYXEUlLlLUmlG65TncfP5b5nixz1yeA3vM5SjIs/nyPBoZLM3gnc//a+peQPfD2C/ecj/534690mH87NJvT/212EsoQSTMK8pxPD6XaYnGG3/Onm+tSaIUia3Yi6b+pfSnn2SBgvisbBsssFgd2WELUZ6HaHlIAsUI7PrrP6f+i+vPUc2SujN+V1Z9jO3LqoLkUIZD0PGHmCvqv6z+WEuNVqiM+nzuo5zymFcRnoDai+eSRBkSIfdn/pd9EihE4MpxHSNLJLIKjNKV48B1jKyQ4DpGNjhwHaOS6rOXVlJ9rmNUVn+uY2SFBNcxKs+A6xiVVZ/rGFkjwXWMSrNgPLs0Aa5jVJ4B1zEqRWA35nzffU/tF9cepT7EiGQ0LfSXzxk1LcYiPDXLORXLq/9NPIprJiyt/7lPdR/T/QVVX1v1//C/n99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aek09xPjvKZyte48Qdx5afZMqTkWPe6/6zyOgXvm3OJBn0Z+Q6JGSHEH0ASzQ++k9njpFMO0xe+Pvtxu1eVOpMPQASskcoq0P/zB6f4J0d+VR8iCkhIXuEXsYrHfvjj9gGGeTzyn1JKuaoBAqkYo1KeOMzvTR7XL5yeB9xuCbfSWyP0Dv/7Sjmimyssdl2fyMVg1SCxt9FD/pnRtRME8JMATKyxmhHr0My1sjsxlGcPY6tGWTzdSRzQjKGyOz56x+RiCEiQY8wtkYmdpjwyZqnQYYRTqt8juNMznBNxtHs8An15nBlztNbv//EceaTbUqsRfb4nLLGGCLy0h+37zB6w7pih8xrr8apP/aY9cUUlRN//UuNz4TUko0lNldRoYs0OsDoph0+N9d1kLmDjBHY5cMIgT06shaHPO9JNlbYvPPnvSYPQzwOYxxgy/3kfzv2BMJ456Xfnvrz2cuxRCrMS8vxTz4n/RQovfEp2fNeAglZI7QVowbkYo0L/TbLdMS3ZttjmdHqiBtbILucRONDkjFHZtff9zm5mOHC0WmLPBj3tEkFczpkNVXyscUn6PtDzC252OCCNSFpzWxRkfNJxBIRzLMJTxKGTyRkjVBQ5cz/sk8yxshcOa6j9hQIZXUY3bTHh+uoWSfEddRs8+E6ahapsPdpkQrXUbPJheuoWSfEddTssuE6ajapcB21p0KI66hZZcRxA6tkuI6aXTZcR80amd2oyL77nkzMMEEtCTE0Gf0M8YFzRqHNMQpPt3OOjR0q38R7c+0UK1zOfW76mJ8vSOM30fi73xfK9cfYHuzFs8PzF/+4Q/VaU11R84U176n5opq3Ps0zNS+geU3NF9W8pz1fWPPO/1HzZTXvYxvaUfMFNR9jqntqvrDmPTVfVPOZfaIimtfUfGHNa5bzxTVvqPnimrfUfHHN2SdaVvMmprphvGVRzXvGchfXfKDmi2vOPtHSmrfRO2efaGnN2SdaXnP2iZbXnH2i5TVnn2h5zTkeurTmDf2WhTWfYpprjhMtrnnHcr6g5hLJpW1ZVvOemhfRvKHmi2veUvMCmnPMYmnN6bcsr/lAzRfXfKTmBTRnP3R5zQdqvrjmIzVfXPOZmi+qOcdDy2jOPtGSmg8s54U0p9+ytOacO7es5iPnzi2ueRid4/P+y2rOOaKlNKevuKzmPTVfVPMXPv14f2TI+QG1X0z7oK7odui3eWT6PUeSitN47nbi/9skUIhA0OAsfj9wH+L9yaEEhzdeZVIoTQGr0Ic3BhywlV6Qw1t/xsWKPQq+0hX1X1x/8VHzO89FU5IoQyKsOsu3mpZQny1BaQLb/m+Lui+u+47fG95g0fqU8J1Jy+u/G88/iP3i8CaEsPecHBbjsKMctmIaTpy8V5wEliMQVL2I5T/sP3Pyjmq+5agkAfQHpH9GEsuTYFtcQvWP/tOZY0Ruee1f+Ovuxu1eVORMW2KSKEciq0B/qByH4A0d+eM/xDuSRDkSL114X9Sxv/sR24iCHF65L6l+MfWD2lS/lPrhjZn0isrp/5XDexhDmvguxnIk3vlvRzH1ZFCKwba/EtUvp37Q8rvomf7MiJEJEhhJJotSLHZiekigHIHdOIqwxzGcggzkPe4nJFCAwJ6/zhGVL6B8yHcYw6H2y2vPJwtsEWCkrjSH4zizbtufxzjR8hxCPThcmcvyNp7BGS02aLBWlONwyhpQQPmX/rh9h9EDlv3lCbz2R5/6Y49Z/ouof+Kvc6lxiZAqMijB4CoqcZGi1ozSLc/h5vPfMseLfebyHNhjLkdBns2X59HIYGkG73z+X1P3Arofxn7xlvvJ/3bslQ7jZ5d+e+qvxV5CCSJhXlGO4/G5TEs03vhz9nxrTRKlSGzFXjT1L6U//SQLFMRnZdtggcXqyA5biPI8RMtDEihGYNdf/zn1X1x/jmqW1J3xu7LqY2xfVhUkhzIcgo4/xFxR/2X1x1pqtEJl1OdzH+WUx7yK8ATUXjyXJMqQCLk/87/sk0AhAleO6xhZIpFVYJSuHAeuY2SFBNcxssGB6xiVVJ+9tJLqcx2jsvpzHSMrJLiOUXkGXMeorPpcx8gaCa5jVJoF49mlCXAdo/IMuI5RKQK7Mef77ntqv7j2KPUhRiSjaaG/fM6oaTEW4alZzqlYXv1v4lFcM2Fp/c99qvuY7i+o+r2qv4j6nbsw4+p5nHW1eYvETQK40+pVnjmZuX6mql7E4/Mdb5OpNWcVuRjk0pOLOS6tz9dMLka51ORijkvP9sUgl87/kYs9Ln1s9ztyMcZljDnrycUgl55czHGZ2a80y6UmF4NcatYXk1wacjHJpSUXk1zYr7THpYk5axgfM8elZ5zfJJeBXExyYb/SIpc29l7Yr7TIhf1Km1zYr7TJhf1Km1zYr7TJheP7Frk09McMcplivmqOV5rk0rG+GOMiUX7aMXtcenIxy6UhF5NcWnIxyoXjYha50B+zyWUgF5NcRnIxyoX9fZtcBnIxyWUkF5NcZnIxx4Xj+3a5sF9pjcvA+mKYC/0xi1w4D9Yel5HzYE1yCSPJXB/GHhfOG7fMhX6yPS49uZjj8sLnEe/EDeockI8pPoGAaHvot3k2xnuOaD4JYs/dTvx/m5QMU5Jzw/cD9yGeQVZWWb3x55DUUyCFt7SEN+cc0LMwxuqtv9LFiu0LPuAVGZlkJP55WO1/z/3i8CYk0rJLKxzLN2tbJcSW6SlQ2vZ/W2Rjks2O3xvegNX6M/lORJuMduNxBzH+EN7OFPbyHU22WO0oq62YzhN3HL0GUrJFSY55r/vPIq9f+OZF85TQX5LrkJZNWvQfrJL56D+dOUZZbfJ54e+zG7d7UbUz9R5IyzatrBT9PNusgpd35K/1IV6PtGzTeunPPPDX+qdnxjbLNqtX7ksSMk0oECEhy4TCW9fp7dlm9JXD+8FDuvmOcNu03vlvRzGH5GSZ07a/AwnZJhT0/i565T8zwvdkaGFmBHlZ5rUT00xKtintxlGoPY4TGuf0daR0QkpGKe35Ox+RjlE6QZswTkg+NvnwyaanR4nR16fA6jjOgN325zGuZ5NVqE+HK/PA3sa0cDbY0yHG2mWb1SlrklE6L/1x+w6jT6xDNim99sqc+mOPWY/MEgp3vtQYUUg5OVnldBXVukgjGoy82mR1cw0PmWfJ2MTTYMXIhG1SsgaLPJ9LThY5vfPnvSYbo2wOY/xhy/3kfzv2NMI47qXfnvrz2YuySi3M28uxWT7v/tSIvfHX2/MeBmlZprUVoxVkZJkR/b+nQkr8dbZVT4XX6ughW6ynwUz0PiQl05R2/f2ek5FJRhyBt86GMVn7hDCfRVbyJSu7rM7ivX8gI5OMsO4oLZ5dQgeOz6ZZpoP5RuFpz/CJtCzTCgqd+V/2SckwpSvHdfieGq2sFCOvtllxHb6nRIvr8D0dVlyHzzoh9nStE+I6fPYZcR2+p0SL6/A9DU5ch88+Ia7D9xRpcR2+p8CLYx1PgRLX4XsanLgOn2VKu1Gdffc9+Zjkg9oTYnoyqhviEueMlpvmFVYs4Fwjm4S+iVfg+jkWGZ37nPUxb18YIvNX92ffPh74/Jy7f/PfrlKuw/faHzn5FF/HT4O/V/jUutmN+mnyf/Jr5X+XfaP/XT71/p98av0R8imoIJ8qvUrjt7V+mvTcZuW+nZ7bpBTU/tOgnyo9Llyt109DPCOUpEa3+N7rdojbOp7baErCNty9i5+uY56muH+K54d01LptdIv9vW6HuG31e6vX66IO4X/8Pup9Wt0Ouh31eDmv13R0ur/X+7YxXeH4Tre9/l7rFtdtVLlW9Wpu6IW71qo0zuuUaruScvDr9VOn1Lqok6gJik26W60pr1XhSVNaJYVDToNOk27xe6vbQfeP+r3Rba/7W93iuE5/x7bW/bOmelJt65WyNKZPvX7q9FOjKZOSNqsWteo26ZUq3dapBlR6TpvKaZ00rbX0Ven8VtNWp7tWeo82/dakWoBaFQhC3UFzixrVpjzNKS29atJqzkG1i0fJFkdUUbVR6UxKZ1K1J1V/SvQa/Y5tpftrvQ7OH3Rb63bU4yr9jnqK8ot0QSnwaTR/nZ4j9mlwsEUgMae81qoDciFscFyb6DTJeuXyPK6UhtbBPuG+qC3NilUaV0pNp7QmTXMo02JXOrVPnea7U/vUaQnptWZ1WnvELkxae0bl0mipn7QmT1rvJy0zk9qHSevlpDpOyn1SOzRpOZq0tk7KYdJaOGn5mlSjScvJpDQmLVmT8po075PW1klrzqSletLaXCcF6lQrRC9cJdsn3D/bp1HvCPs0JOJjynWlaoJnq2WhUcVGtS+N2p9RS/CoJXxUnqNec9QyNGqJHrUmjloDRq0hYW+rWxzX6e/Y1rof9mnWM1By6/RbrXep9Ti0ojiuThRr1W3SK1W6zfapS9eBdUBb0Sa9unR+tk9onSstAdl2gUmjlITgrFcYNLewT12qyXNKS6+8a5ftE1KA63R6hOSo1/2DHjeodoOqPyR6jX7HttL9tV4H5w+6rXU76nGVfkc9RflFupBO5KpNZXZKuRlSGZ0TPVjnLpV7WEdpa+FnoR1pk+Vr9e5in2CVwLhZuW+XWuMhaT2mUoPyU6X7VqpDo2WiUTvSqB1B+4561GiaGrULvV69V50brcm9lqReOfZaLnqtfb3q2Gs56TU3verap+tM6T69bifdhv2DWoxB89ar3oPao15V77VW9lqvBrV3g9qrPtWTJtUT+JKiV6NHoQ708bwh+VitlvNe7YQwhcc8JjUaVTP7T6hLteZUSnKTct4nhWv9LjnqVLle79urMl06r9PtqPt73eK4QX/HttUtyjOYrJalNn2qk13JpRQWptYzJ73mpGkeUl7QLufSiXa5VqskNWvS0jbpeb2DfYJ9AcEp/ZZ90j71E5CSQa/UpxrVpZxkOwxNcsvfpvIDTXCE5KjV/Z3mtNVUtUl9/N7pfmwb3d/qd5w/6Rb7Zz0O90O9hcK1pg9Ko/2Al9OlktmpCnXyvuvkT9cr/nKbNG2T8m2qH20qxW1qG5rUbjXJQjYr9+1T3RoS7SmVLvQrq9QOVZof9Adh1xpND/ywZuW4Ubch17PWnjn1XMTuzFqSZ633s9qHWdM/q52Z9Xqzcp/VDs2a/nnlPr1uJ93K/knPmzQdY9qP+1Z6/KDbUX9vdYvrZvuULQbs+axXQ3+hW7l/tk+zphj2KXvROdeNqpn9J/htjaaoU/s06/XapHCt3yVHjV6z1Ry0qkyTzut0O+r+Xrc4btDfsW11m+1Tr3dGCUJ5rZPnXyd71iZ7LntFi1a3lV4Jecn2CX5+l6wD+mdtajVRGuDr5J52o3VjXrFd2SeFFapW8jJpLrN9gk84p7QgvUOqs10qR7VeZ9AjJEe17m/0OChQJ/Xxe6f7sW10f6vfcf6kW+yf9Tjcb1BlkPta0welYZ/apDW2OU8oy9AN1us6pn/Uba9blOZJvze6rXSLcoPz5HogDDsEa4WWaUjbTre9bnFcpd9H3YoHIukYkqUWT2RIv4/6Xe4zqEUa1CINqtyg1x20Tg6ajkHTMWi+BrUQQ/JMxnTepFvZP6V0DHp8o1vcf9bjcN3st6J9QBmXfMLDHfT8QXXAfcABXm+v+yfVr1bdK93Wet1edZPvTdJz1O+DblvdX+u20/29fq902+p+XA/HNfp7o99n3cKvQT4rTe+o2163KJezpn9S3WbdDnp9pH9WPXB8r1uUn1q3k943RzjkuEb1w36Ud5RflL9O74d0zrqF7ihHaCFGPQ9blAtJR6X7a81PrTrWqmuduFT6vdLzJv0Ozxznd/p91u+9bnE86l2r6UC6Bt22ml/oDwU7rWNSZnNPLPuOsDTZVx8S7aw32r7WIebQJPWaZI2blfvmuANSkLnWKWZXpXMrLf3NSsvb6bbXrViPSf2XUf0b0KxSD6JSMtkPr1KZrFItrpJdrFyOLqLsVEnVKtnJKuWqSja5Sla5Su1xlSx3lcpc5fqVq0zpU47e55QO6dwmfcrpm9MZ+W65FcWnOqVgTvfN/u+wokHuo+UUgHb2jseU5s5hfCB7RvB5m3RXsTltimNVrlqhM6Z9Q/rUpl/r9KlLv/ZpX5U+tenXfI98RpOOa9K+OX1COc3lD30t2C35BD+jT5ogLbWWMiEwp09Dum/OL9qF1VgWvLI8NiT2u1nROo9S5FGNOmmR25/ci85k55WrdCkl6ImgJNepfNQrJSq3cF3a16yUo1wuxfeZ1HcSNWdtqWY3q88zrxCvdE+lZ076HV46rtDp91m/97rF8bASbUpLTl9mCpWzLzUl1XLfG1ohui/2Mo/3oV3oE6t2hRpqUJUs4phoIdbVrNw3j7MMKX3ZSubSnMsB+ni15rpW21in/egDY1Rq1K2MJQgXjBugH9rrcb2W1V7P77Xc9Uq6d4hi1NqXR4SmTr+3eh/ZjxhUpX3yRs9r9L5N2j/p+Z0eX+kW9x91i3xA4TZ9yjV9TEflVqjT89H2IepQrzDNfT/kBmrm2BT68hiVmbWuSsnv3JgU7vV7p9tat7P+3uj3VreT7pfjBj1uTMdV+nul33E/tOFzOgJWK4/E5dhCjofOqaTVSe1Rt51eCXlBDcgxrjzGlq1aLm3IC+pQne6KklCl32D3mpU2F7mcNffwaJpkYWs3p7Qg3od6l8eg57RFDiVHve4fNKe9qj0k9fH7pL9jO+h+jEl3+r3R76N+b3WL41EfkXukq9Mt8tKkPOTo3ZDKMco4xn5F2+z15nGg3IOc06ccQ4RVGldKA/y5fF/4So3LsbMppTS3xbBtlUOktlf71Kud6dU+9Q59YIxKjbqVERVJz+QQ05r1u9TkKVl9tB6Vti+iy6Q6Tsp90jI+aTmaVLVJa+GktXBKsaVKW5dKW58q7Z/0/E6Pr3SL+4+6RT5glXJ9yx4LUjm6bJ+Qr2yfcEdQy5GNMakCNbMHli1Vo/doVUlRsE8K9/q9022t21l/b/R7q9tJ98txGI3t03GV/l7pd9wv26dOj8heVZM+5XF65BeeYK2twqR2aNJyPmntmlZ6KrCGuU9ep7a/VTverOQl26DsL9d6j/wbakH21+ekbqNXgn3KUZw8Htan0pbtE8pJr1uUJ8lRq/s7zSmO75L6+H3S37EddD/GpDv93uj3Ub+3usXxqI+tpgPp6nSb7X4eYc69iNwfhw80rdgseEioFa3LEch2hQ7KfpXqzOiy15R9Kty3S6oPKX0gUaX2rUpeWJV+xbgGrB5YoUahvwgPQq4FrwH9YIwzYiwA8WP0l1otYZgT02pJgH1GH7vVWoM5GRjZR18MerVamzGGjfYYMVmM/8N6IMKNeoF+R7tileAP1yv9BNwlxxl7vS6UbLVE5RG9NvWMupTbPBMtWyW09eiZd1onMbumSQrju9yn1pw0mgPM0mlUgUav1+hxtR7X6HG1KtKkba/bHCuZ9Mo5ptylT7BUea5G7i9Vemav14RabcpLHjOC99Im64BecOvqVAqREtSheoXSrPfAb8hB43IcA+Wj09zndiHfd0pp6VXr7AFD/U63bcqhXLfS/bXmtFK1q6Q+fkf8BdtO9yMqALqVfu/1e61b3G9SZZBSpA9KIy9NykOOguVxhjw2DY8Ls/DEZqF09y57TTnmmeewwSqNK6UBPlW+L9qCxuW5dbmFypEO+G2Vw1gd7EurNahV/wmRc9jrNh0vczGk9owO/UNJ1ag1edR6PzrMbun0PLEzY7qOcB81B6Peb9TaOmotHLUWjlq+RuUyajkZ1W6NWrJG5TWqlqPW1lFrzqilenR5vLpLuuYYEeYXNS7bp0HPz/Zp0JSBGiIi6JONLs88y/ZpTp8qvUetSkrOqqQwvktMGLN0Ks0BZulUqkCl6UFsd9bjpEQODrNoqrTtdZtj6Y1eOc+zy5/ynCbkF1a31tIwaikatXSNWrvGZHfQvtQux9Zrh94vbDD63GOyXJijKJRQMrJ9Qi3oVwgOqm6lVwKBHA+b06c+XTPbJ5STVs+f9AiJoEsdHFSzQb2RwU1Jffw+6H5sO92PkSHQrfR7r99r3eJ+kyrTajpaTR+UznY/98KuVWXR4lp9rmuHGdLSF0XLc73C6XqlRZBvGPO/Ti0jFM32HpYKSqNFQMlBWwc7dq265bnl6MHkuJ9sc/Qa7c918r7kf/hZ1w7jrfI/RtDhs12ntifbyWuHsViMyF67HFlHT0Wufe2k533tchwEcbQ8U/XawR+Qfj1mcl0nm4C5FNcr1lmYiyIYKbx2mFcHS3jthlSKrh3GMjHidu0wv67WknPt8vwDzFWEj4Q6hVp+vWLZrx3mAWC25bXLM2/hZ8HPhT+La2KO67WD/3Xt8jxxePnwoa4d5nzCYl6vlBwZ30bfBn0NzKa9dpi/jllV1w4ztjD36TpFYBD1ul6JuVw7zM3HPK1rhzlcOXp9naIFUo+EZhuf8rj5ZEfY8zE+YXzXUx+1g8crI5ObTua+SGnfcNL7l3kCoeRuOunZIIY3aDxCZixtOuktSJuLVkN6+jLbcYzH9NqLyxERGW+eYwpgwSRiKnGWTSdxUon6YxZvq610FY8QX7TS/myendRoP7z3x8i83Uq9tT7mEWNnXcyBjFjLODPGqqSNFku6qW1xoz3bOV4jKNOpjyKzsiXK1GiqtvwxlUNUf9SjNp3MfJw0jau2ZtZ2XYjMDrPqpTXu434ZBR5SnxezqBAF3dRWR+Jc4Rp4dmRS67jpMPNN/KZADN5ppR6FpEDGCzGT8jqmTI4ST7hLx8OnkzGlTTepjy5jFJKX1fEBmX0l7Cf1R7NPKqNQ0idu4j1lLg0sh8ydCvne1BRK5AD+II6V8bRN12hepfeFGK5YC6nRkq9WW2pEjMTPa2MJaRzmpmHOrZBotNctqRRfA+MJ4sFIfFlqkkT8xYuCJZu1pMrMMdFOoqNSH2XGssTcNtWDEk8YM7s2nMy6bzUdbToTMdCgQqXtuqSgdojXyuxkod7rfTGi1SkbmRUsR0hvEZ6b2AFJk4yXbDqJG2Lu5oaTOLXUgD6WokE9Q8zllFT06klUUYdGy460VOJTNdpXlPzIsyC91sdZLVOld5CoY+Py0x4Sz5DcScnC3A95AmfSs1q1LY1+w+yMWS2dlNBNl+MVEjGTOF8VFZA7YqxH5sDN0RZ2Wntz7FBKukRD2lg/xVYMDjHSKdWITSdz9qVm4RkPieyKtRQ7IbP20DMRGypRAZm3t6n1D1HWQVsDmXU3azpnvVubauagqZ8jIYlvIBIis+hklKCNV5DyLzP9ME4kT5AMqpNY7jqRnlVlpALzIuQ46c22yWpI7KFLNgzP+MhTKY1aMnga4kfLTLkuliCZPYc5tlIKhfOg9U3qImZtSCmetcS32rpMyQZfu9vWWM6flFjrMONdrtGrNZY+ch6VbdWqVaqTjLBMyRNotbWV2aqbDnPXZW546/AcjjyVM2mNGzR3Ui+vtSVsk03adDJ3Sp6NQB9N2iSpz00kgnkvmHNcOTy/iB7SppbqyqFXJCPbndoiGXuZtdXEPK02tbCD1s1GqY0xtY3Wf5kTsan1UGarY0yu07rcrxAWC5xjL5OWa2kboCOeIJBrjtrKSH0cNL1DajtaVWrTybwmKdM5atVr69ConZFYdZ5pJE8btTGVk95pdBjvh42R8YJNtWsy7pOf5Ji1ZrV6jMRd85M8k+ZB2NbauuU5SBtOIi1tTKPUU5RU9CcmbT/EJo9qJyuHOVUbrk75aNRajtriIb6y4WQuMErPqD6KtLjSv9hw4gtKCZ3UPg1agsQz3nAyN1BGjTc1t62y6x1Ggm4fUWnrMjlEQyRSWyu9UWvwrKoIb2ldxEqN6gFizuWs5axX77ZJ3mWeBS/2SeZINPFeMhqPJ4t7bd8mvYvUnkFbKcyEG7SUderBVLrN45nyHGSbLG4+Cv26Xi3zoBZLShcig1J7q+S7jKoBPPxO7VSVSuy4Ql5iXKP6wk2ynJNeeUPLcKWt06bWAukhDElxlHCxZxJhECvU6TEyF0EiQJ2WZ5lri7nKo1oD8d2rmOZalcDTj53WoEm9mVl9jhzrrLTcyW+ttvPi70gplGeQZJ7kppKQGiOeAGpUpT6M9CereKVJW1n8DS4/VTcqA7H+my7HVaWsdOmsTfXaMN43qteHut4qCbF5mGVbaa4GJSrj+PkZpUm167WObmo5z/MMer0L+kWYPb6h5ULiYp22fINDbFH85z55J63WrfxMi1jQUdv/TYe43qzlUSLV4ie0rk7qyPNis+rbaxkRFQf1gWaHkW2ZTyLebq3Wu1X7glhxrcTkCptaCmTuFKL0o5Z8eapW/PrOYeastOSTenzSa+q0Rc5PLjSakl59ukbPz6VMvMRGLafEWCf1JhChqNWioj+U263G4ak7Kat1qsOT2kXE/uBndGqhZaQHURQZkazVZxo0pzIijnG+0eGpH7F0rVootAAgMWirPTiMVmIW8YZau1b9LsxhqrVVmrWfI/0eyanMm5IcIKaJWVpj8sQn7Z1UDk/N/h4xhOxXyZMfs8Ooa6N+QK12alLtRocxuMfjAegrN2ptR61Pcv/c95cew6yWqFH7LXaojWq02qaLnRFPAr3A7CfAOsh8jk3Xa10VTdfrW6HNGVKZblW1/Gxsoz4IogzShmLe64ba7MphroPcRWpFo9apSdZsUosza4mRVGUrLk90SN3Y1LKFWfkbyV5UWlOlLk6qM+K5s3oyvXokiEdhZQQwbjTVjV5doljDSo4kvgrr0DpEJzCvt1ULISqK1ylPjcF3XcfCIRaOHiPs/KDtMmazSHuCXnCt18H4D54DntTSiQWTmf94/kNKjNjrUX1c+EGtWrBarSx4DupD5KeNu9RGwqqL34rnN2WsdtJWqlatpcVD/3lSmy2Rpi6WPTzNIHVO6nuvfhbilZif9Fg8adQWU9pzxCVn9bPQN5HRx059nNrlWBDWSYFXKfMWNvWq0rrmOW6DWqRWy/Sgtqt1iOQ1eo1aa/2gpQIzlh6OW0nb22m+W+2rdQ6j0dWK51Y7RHs7LedV8saEjFgNudegqZAjpK5K7148U9jBPA9MfHOpQ5VqjOuLfZeaPal9kJhx7ntV6fhGlepTOzU7jEd3WvPkuEFz0cTjpFWSyC3GuHvVFF4rfCzQy3NaK62hlZasKXkr93lD9/tQct6gdXnUVq7XtgSzqeF/rqYN5Qotj1iJ2SGKdxdHzMKRtmJys95r+OR4xMtnbX1F9exN3WQkJUmu2uh+rKIgUbBNh0hSrxZycIhF3PSpZRwCFkJS2KmdmbXejWrnpO3b1FrYaxs1aFm+VuvZaHu5+oceEpSq1Ieq1KZJHwtzC+SeldYWmTGO8QvM5lnvbyO2peLnikUQi9xrOz+vjCB8+tckKzdpmzarpZQezZZSu+vcQb0eKeESAZQ5WEL2oftuaM9kdjnKIVamUc1Xz5Yee6vtongfrXpoaEfh6TQOT/ghh31qUzYd1vF4vE/ca/uIlm3W1nlymDfy+X8bTiIAEmGTuGSTPLVVKnelefWvVcvSJ48lq1G5/o57t1qPxP/vtX2VvuBdx9/8u10C7s/J3X+P373XNlW85Vm9ihwLfKgkrqYLs8jv+xPb3mscRfoG0qPCcxiIrkjfFfNosTpLrXWm0folZRjzqMUiSQuX1RDPvlMPE6NoaEvFYvTqGW+qjzUka4D2ZNJ2XsrspL6/PKvX6n0mtUZ9SmXnMNaCVZ6yly/WFzFgRGfQ58AM6lH9FESXZv2lSn7yzRLSq8fTp/4Gnk+VSGStPnudarf0wDAetan3EN8A43lzarU3HVZV2NB+3qTe5GZq11ef34PXLGtQbaqOs8Nsx1p7poh9SU9A/Ij6k/xtqI9WO4xczFpWqlSS5Rli+EV5/YzWYQyjV28G9rbRa8u4GeJNm1rzNxzms0vLh1UkNpzMu560VIxaM8XDlPLbaCsmXgZG+jA/b1ixILJf+sCDtkiybtLNCNqoaam1FR91z+r17xpJxDMvEgFptA8vucd6FyhBs0P8FmP94U+imrXDfAK51qA9ijzPYta7YpxO0tpqqyD9rUq1Fx9PvGw8kzw7RL1HtVvo1eB5oPVGoKTO3hyBqpO/DpawiphPjliztDbibXRqaaUP3Gp9qR1GOFctHEZj4clIDL5RjySP2E5qkW+O8oj1GpLmEsfBvAGM8klrOSkFqVky9jVpKzRrjyD3XvBMRKUWRuiO2vZL7Fa0bbUkjeoNSy2fXX6GHDlo1fuetO4hviDRS4xbyEhzfvpP7i59aoz9iZ3HCgSDy2NMrVqu/Gww2qdBbTHGgjBT/lr9WEmflKBe7Q1mAg3q03eqK0bUMftZ4iaNtvHw1SWmiCfvJGIjPSPx/2XUe7U2SOskUdhWPULMUbjZcsJiDWqDMXNH/H/MARErXWtvpE72RNrGKtm1UXuQmL0v5b1S+12rx445jrVet3eIWkxqJeExT+rbSn9oU1tGSTHWmJR0tarHoCVE+hJtqh2r8yCqG79U6j3LKEuT2hE8WYXWEhEOjIJUes1Oj7k9CoK8ycinjGJJ7ArPlEpMstY6IWu+9Q4zYaSlk3RILwJ3lh7F7NC7khYFPoRY61Z7WNIWiO2btU/U67Xr1PPBuK60OY1DPxjHdFrPJK7WqYXvtMQj9or5j10qQ5vqO00uP3H86+ZCdOpziUXrU+rQSmHNDolhbjr0i8VjnbWMtW7T4QmlXts7sbCb2hZILA99EIn1Sw1r9KqIQY+pDGFWf6c9lbxaSuUwg0MiWVUqWfl5AunVwC8U/wKzWCV+mCNDndoXrHvX6dXb9Ls884i1BXK/QcY+ENPDM6DiaXd6fazWlNsUiZrlGFG18oennWVmTqethbSOtcNaWpPDmhdSGuRuYhMmh7WNW4cxTplhInayT+nHXITa5fkpnVpsaYEwYjBryyAxeYwRSTRFRr/GFY8Zlki8r1nbPUQSEUHDbBx42eKPSp8QZb9zWNWzc4hpTGrjQUiY1trmYJy6Ui8Sz0vVaoVmzavE33uHta0mpd6pn3DTD9hINhzcZm2HxWpivFzKKCKek4P3jzmqQ/ISpQVEZENqIJ7EEh+p0dYO/SewxwymyiH6WWlty0/pNqm9aLSWSF829yDGVK+lBKF9wPyANqUTkTCMYs7aask8lc5hdij61UJYWoVGey2NwyyQIdWBPBYnHoKMYmHV4Q2H8bkmlgqZKyitZLYkUjalBzBqKUfUfkgpx7MYmK+FWWeNwxq5iI2PLke7kDOh2qSS8Fj/e0NbU5lPMmiJET8Ma0VI5B9WrNHWc9QamK3FqNYCs1YwslA5rIaKMSnM0kKbuP5cNYzryupK6FW3WkY7hxXPZc5ro3lqlBfmnz82V018Z+nFNZpGaefEH5LedeUw03DUEoQ5StcO88Tz8yuj1uncHjdaw/BsvaR8Sv77sFI+pP+ZRzHyHEyJmEvvSEon5jng6UqM0YvnNGr7h5FBrI3aq19WOUSbMdqGNcLm5BmjjyP+9ezWmZWGWdJN8oZkDVhED0WzzeSlDA4RzWzVpLeB3iXmM7UOTwr36gk1KZ/oJWNervhEsH0yFjOpj5mfEpGYQeMqTWevXLE+CCK6s9b2Tv2+1SeBK7VyGDms9b6z1hhpNTG3L/vxncPIeav1GW22+JFCCiubYKZLo+UYtgzPusE3lPyJ79NpXcZK44/NR5OVXVqtBVIy4engSYg6pap1eS7P6PD8icTApAcu7bxY587lVRar1IepUu2ftDXFGofoC2NujvSU8CTmhsP83DGVEGn5OodVFDYcnpCa1fPMs9awGuHSs9Iwf6XXcoDoEmJl0qLPWpdlJoaMIdQur/Yyq28qfkWneZd8iYcjo0Kza1Y8g0l9ofz8HmYwd1oCK21f0F9r1EtGmy82K48OZ39n9U5SAmuH52NlRF4I9NpPwupfGPUWDxHjA1J3J20bMVL++LMYYkUnrY2YByCRdqmLDz2ZUKsFkD6FWEHxAfBc7ePPLoh3P2qrJpHuShXA839SZqT129QzMTaFeGmrRAe19rgubBpKN7RA9EF4YWW5DW2nKvU0MCt/SpYNlrhX7hK9vDkquOGwptnoMBNBat7ksIZrttxD6gNVqkDnMANLeqt9Yis9sUFtKp61fIp/q2MSjZabTfUZYXnFY5y0ncOqmfkPq4E1qlyXON81WvHwH0YKe/XuNhMtRKLX+dtwj0e0Jfe3Y9Q3r/Jbxi9Xr/N43FTyPjrMdMJMGUQTa4cxZInxY7wA9rBXfxOxIJTS5kbqNpw8iSGe4aAtEEbAW7XYs/oU6JGhxXk8gvq4Dg9Hij7v73Ou9ltGk2+WiMeiJb3DKESl/h1iPJ3DHPNK65JEmOQ7nggYteyvkpS5nJV6pWK/8TQjejQSQd90GEXsHHqfKOtSBqUN3lRfWjwo6bWJT9E5zLCR+RKYnwWb+ng05bEysNoT3lB7MiVfFPE+6dHebzFu96hX/9bp60qNe7wnm/9+y6yCVQXW6Un16t2LvcCMMymBQgOzSDFjdHRY4R3z1qXN3HSIXQ0OcWpYAswkmV1+kmRweOIao5itw2xJKX9Y70lmbOH5llX2KEnSi630rPZGP2fDjeo5YSyocXiCB/0YzDN6qDf00N/neGmj/vXay5g076BwP8/173L7zHV8qvD3uDd087rrz2DBU8Di+2FmlYzK5qf3am0F8tgynijCc2kbrlGvT3htahmFz5TX3Rq01W219MKPbT/RBxFGrPoHzy3HLlutTxi5xFgCxgla7X1I72/TYUX+WtsIzNKd1P40Dis1bTg8M9FqfqS3M6g+ed2zRnuBmw5zbPNz4uhjixUV+4JZupi/vM4xubzIHNxeW+pGvfn20V8xU6lR+4UnZYQYVodb5xi0OYN6h5W2J1hz5uFfseaP9GPE+mxqHcCKJ48fIdYYbX2t6t9fR1dtuJQ3jEZuOqxFMjk8Hb3psNbdoG1QpzUDkbONB66zceeVNu651oZ7fMbrQ8/1flrzb9YZzFee1KLIuHheXXJKWkv9kHk1t/0geQYh1wU8LyMea37q6tMaPKjll2NmPX50WEmo1hrTp77xrLZFfG6sITVoSyitNerdp/Ze7jqp9UKUF+ucSI9aajvWZYCPNDrMhZdREvHQZ/WT8VY46ZvKOEynUaLp3r33txmPzS1f7xjEgKvUe8UzyXlF4VmtKyLr8NfwrGajLa6UOUTg0I/Odufh+2yscaeNR++14R6fDQ/KWJFS4q0SC8BM39VVWfPKADKCI1EqrI8r9rJTC9+q3cU7uOBHVuoP4OkXKYESaZa5ebNrXXejRG6k6ID47Vhj+b79UgZlzB4zCeQTRrjbtY749A8rUOO9fnherde2S6wRZrFhVQ5p63ot0ZJnaWkRscJM91FrGdrL26nYUL+oVx8Oqxh2SW3EA/FUQV7jB7OdOi1p0lYPLs99RJQaTw2KRzE7xCFa9Rgxy29IPg5Wid1wWCVLPDmx0XjOB28nkLdAyHharx6IlMzcJm04icm26o10ag16hzla0hJg5letbQVme+DdNY16TvJUtUSBJc6JFeo31HfCjExpU6SHi3F1mWEjcUSJQGxqGcDsAkSRJQ/CEU+gzskjGLSNkFZKnsyc1VuuU9v28DN2G9qijQ6j9cK119KL+ZDSvx615udVusQK1lpWK60FWEUG8xoww2B41BfYSGVKrIeMQGH+dZ+88E2HdZzl995h9miX2jKsIoyn8mWFgk21YqPD+v6rf1AVz3ahjfq05mCtiNGtznNrtS5ifBDv3pJSO6n1XY1x3q8Eanqb6LRqIfCmBYyRycgrZn3VDs/8iv3If5PW0vxU16A9lcblsYVebcLtfNd6b4nRNOoVYz1paR9Gl+cNIWaRVweTOWt4Rh5PVyLOe/e1N9a4+saD18dTJA89lXeX/lhfstU6I2MwjfYnMTOzdeiVbTqsxykjJpPWiNFh3qL0h27qKvNiZMxZbCDWaMFMZonNYF0GjBtfq90QC3bzr3ZYOfnudLR3pAPjSZXDHJDrFYuC9lquhyfCET2Tuaijy2O8g8Nboepk9cWf3NQjZWxfWnN4vKP2tWSeVOWwzuCoNQH2Z1AlsN746DDGLqPQYg3EK/u0HN+s73c/Pf94RPzuP5lngzGUPFKNldM/vf/d65Gt/sms0bwusFjvST2NWfOKOeMytid2oNJ2AeO8lcNqBYO2ho2WJsxImd2nsZv7/aKHvKYN9/jz2+IxPt7urtOm3t9ejsnKPH6nddrvh1vnUevs421vpXQxD75yGDOWNlcIy+yBTls8zP/6tCTJjDaxQI3DPMJJPbL8LHyjVh4RyE7b/E97bRsO88nwBDueN8Y6nfDQJK35yYBGfcbbUWdRScbvMfKT57e3LkclMLqT39CIZ+1bh3mOlcuzuFdbKfAT/VvtWWOdTzyXgBFmeHaz2h6sdbp6xV7/Bo1nIFV5TZ8mnSmjDHiH6qyek8SzRtUTsXXMa0L7jCcHJHerduuutRbP3YXfc+H3nKc1Fq9/9T+xQe1ae//If3/sHfPVH7/P8nm3/O/z1Pj12q1bDpdKz+9Ten5rah/as/5vd+1/Op/+2Bz817n6Q98eK8HlKZcsXb9Ogd+q2x+hu12WFtX69bWr/KeS6VmnfXzMzqzbxn5u7f2c9ns96p/Xjn9u6n99rn6b5frtvs36ftbvUfd+f66/lumv99g+r658Xu36PevuEnR/jb6/tr5+rk3/dbbt80rOr7cfv9+9fuu/dcvFH1+q+Ymf+OmP+fRrW9Rf3y6Uz/Pn6PB0Pq1nd/8rafRHl93f5gfZYP5f5dN/xbL7eb7s5/mr5XP4uam3VmL+u1vW+718lksbrJcpl5/fv/utV1+/t/x5Zffz9titnevXsd9H0c+jaKdG/jEl9vcrV8tbm8+x6et4KL+W/WO17Y9V7I8oseuq8ZjN+2MsrU3drNZy67p9Tp39o/LyW0mWrIPL293/vp/+CB1+7/KyVKrW9RU+p539o8r5H+OJ/f6Wb+nr/NayE+b8fjrH96/uo/8U9n4bf9lzW+7M//3o/4Xff91zC/zjH//4xz/+8Y9//OMf//74v+DjP+zPhyNexSP+lp7/C3tl37/HXsG+P/bYnfrvx/68E3068Nj9v3isrPckvQnsC72IPX9G+PS93/OveK/n/kr7/gqX/hoX7k+u1rUGKvcXn9a7f+3v/RVPVT/0a33Pr50+V373r/ODqZr12ef7fq0fPLd58Nf2wV/vT7M8Wd/ck1+sYHzfuQ/lt1W+9/96f45a5XD/r/fnSJ4Nvv/X5gEKsoJSd8+vovJ952IV84d+bR78tX3k17sZya/3pxmr4N//6/jIr8ODv44P/jrf++v9ZQO/3pdfrCtx969Ybf/uXx8qsfj17vu+cP/p3rvX/lvYG2zjXUe99se999bv2B367XO3E//fXuPYF37/Wfx+4D743x8/4437+pHj30Zb/HiqcdxX7p/+mPDppd/z8LE7fu+V37Y+1d8+eORubB8OohLnMV504f+/64yv/eeLeNx+bDve+zbnF98arHfs1/4+vyQlHz7n7hTj9xe+FduN29DyHcRW7MRrs945lzE6FtR+OJc4I+TxyN/hg//3mDI456VP04E//p/+zLvZ3z7jlftyreNCGVvnuDf++3qKfOXT+UPM255P9b/WOued/3YUlV/n6G3vg6x3XPBfvov6/bxmGcjnoHasc9aOT/vJmsfuxvK790g5x9Ffx2NPHjl2z5ejo0eOCSX0o///4aNuWqXHy0c48nClNr6Nnt/jdfL2edt++3BZeemP2E9l6+FjX/ucnvrjjx9JRbCU5zGte9Fm3m0DcfQ7n6/XjxxxGHO15X7yvwVfOPC+9NtTn+6H0yx1IDNY13rePu+Nv++ep7fOOVtRp3WOlLZIWoF1jpfW6nPzsOtL/fMHj3y8nMgRj5dcHIcSKK3m42cE+/CD/3voSLSWj6Uh2A2U02Bx9mLL87Ad2Yl9rQt/xqX//fFjrz6zZcvnrNuy4YzPadlwzvotG854rGXDcetof7VWy4YjP6dlwznrtWw4+rGWLR+3fsv26TnrtGw4a73WCkev01rhmEBSynsgcP5IefnGXdyy/VvxCPn+J3/eK3+dQPOd+8Jtevbbaxz177GVffy4V740vVnjuNe+/fvbGsf9h//9/I7jXsTW8zxamOfRymzeOvcvMYKSYyV/vbUeE1YWl5VcZUXa1l2nFRLlPc2Vu9bVv2SdaFlJSt5pIO9JknXe+nikrM3d6aq48tZNvPNNVsG9jv0wGV+WtdvwxuH8bqxet/IrVvTEe+sr3coI9RyPuXZYFz5ca3SySqHskf/xhnVZp1jW0ZNfZGUsOR8paJ2sjCnr14WrT07WuJfRblnXWd4XKOvTXTt5Z4K8iS6/IVPeKHetK4nKm1LxzvnWXTu8RU2uLHeUVIpiopPkVY4RhWWlcVFKiEiusZq2vBPk2uGtTJIjeQdp5WSFz3CkvGNTlG6drJUvq5vLqtvXumKlrEcm75jpdR3T1l3runiy1r2s/ijvzx20VEiqJOWSqmvV41rL2XWMB921XtifV2J+N397Hv3TM18XnrkN/y/YhWApnmn/9Dzah2+9DZOW6aN63WH/i3jmafxf2rpnvraEq8OzC0eFNv5K28/Vs8UbPYh1L5z5P/1Z4hk987Xvx3jOmf8V5zzzViPsufI1F9d+5e/1o2/7wj2fxTuFVPwzpedbzdE//Tnnsc7v63liBf/s/leyhP/bH/tjzPm/x6NP43658o8+pdi/7z+987+KMv9csZDPkiLP1JL86I/ec4jNisKvvX29qe7nXwOtyep10NYcRA/lWcxjiBscxLP+l/bzoff//uTO12r3Jcfo31xHD+ksWr+L6OP+EGntxvtcRu8mpE3SIPGIZ7dalHO/ZyceH7yOq3SVsP8wpvqj/yRRjmfR4zvTFEGBn1OJCmcEfaSkfRupSL9JlJGW7tt4pHiEN/P13DPfWSkrZ06iNqfxDrdVyJ7EM/X1z1JpfO2v9OKenK1/lVVv/Tr6T880+nS4ktqrqFX4tn3HUbhm0A51+U0sZdDm03Nu/56vIfXymfrmz9RXv5nSZ550LpMhl59/hV13obX0+tYvX/pPP0S2YI341n3W5Fmszc9iv+9DHOv4NvbIzlLJXOUh/eUNTfGzZImEy7cp5RLNuzv9j6XkP/zZx8r4b/rrZbz+Q+c+j2XoOFpQ1LTP1UBS+WPst4u+4Y6rZfA+i7w+hftK95uo7D+jZmHPx09Uu1kXb1sJ6e1l+3DX8Wex7QrpumnRbh99u6atRxk2We60aidEL7QRN+uPpOVCWyypD+taAMQOYInvKrFS89e1WrfvAKtwfE/axZLdvMZ92txm9FDNelz7XLegwvW917idixfRoznWe8voprT3B7HtEhVhZS7dRTz/X2qxz9WXkByc6TmXesSup7WXauvDv396vb/FvoSU6r177nmzRAjLcL0jLc/H8bibHG56K9faUkKfFzdKRNDrMpaTI1XjWfzlW61HEis71xL3o1qOu/28u+zFM+1/ii+56p/czulX0S79qJ7Cv+6oU9d6rXDly5jSjZj+v63YnPN7jrodZbn7KIkigMZ997vpP30V9drz1zxIub77zE89zLt81bvOfKlxqPMVOlt61MW9Z6E3f77ie4v6991lNd4Tvoezflb/8CHdbmuy/pk3I1nPUi/7MnJ46MxX8Z6XqsaXqssPD56DUgJPPUdQ7j5+tfZ9SmrVot08+9zBh7/PDr+I9fNiJSUov7lUr3PUOmXxsausx/1z0/LrrnJXL+zx9D9WOx67wu2acn</a:t>
            </a:r>
          </a:p>
        </p:txBody>
      </p:sp>
      <p:sp>
        <p:nvSpPr>
          <p:cNvPr id="45" name="WORKBKFUNCTIONCACHE1" hidden="1">
            <a:extLst>
              <a:ext uri="{FF2B5EF4-FFF2-40B4-BE49-F238E27FC236}">
                <a16:creationId xmlns:a16="http://schemas.microsoft.com/office/drawing/2014/main" id="{00000000-0008-0000-0300-000003000000}"/>
              </a:ext>
            </a:extLst>
          </p:cNvPr>
          <p:cNvSpPr txBox="1">
            <a:spLocks noChangeArrowheads="1"/>
          </p:cNvSpPr>
          <p:nvPr/>
        </p:nvSpPr>
        <p:spPr bwMode="auto">
          <a:xfrm>
            <a:off x="2407152" y="3232317"/>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Gjrjx29qe25bEzHiqHj517O9L5+BmP1ZTHzscIGvz3h49ev848dKXP73eF8YnVtuv6hjcSUgaPYbWtXIfuTQuVe9I3/aA8qnWgKbjPn/10ZOu2j/qpTmF8MBA8vtXLR+pv30NGu0T3/y9eH6NeuWWGVnkU7C6fcnUcJJ+Tx0MOosWRfNw8czUufKyKPuyLB89C4jkX6nVIL+G2OiFNG75nf6bpwXF3RS9uR3seU+72WOb9R2arsRdtHq58d9ToU1VXR4ouk/V4TCMpn7nPGuj+X7X58m213IPXF/F6B7FM3FVacj2ScccQTflXLOmS1h9cjpSt6vFpv+dmj0AswmU8+jjGW9Y7B30NRIruatlQF296yajl76KGYP5w+fjUa71pI+4+5q6rrZuSm9dHLh+ON65aph817nM70nBT109TeDeRl/Gu2Rq90H7LP93BZ14Z3B735u/WD0o81J+53eP7T3cQU/vszrPvinP/93w+7nNmEt8/a/jP6dzd6FWcxTIjvxzGNirbwhfRMh7F3/9/nCUMKA==&lt;/compressed&gt;</a:t>
            </a:r>
          </a:p>
          <a:p>
            <a:pPr algn="l" rtl="0">
              <a:defRPr sz="1000"/>
            </a:pPr>
            <a:endParaRPr lang="en-US" sz="1000" b="0" i="0" u="none" strike="noStrike" baseline="0">
              <a:solidFill>
                <a:srgbClr val="000000"/>
              </a:solidFill>
              <a:latin typeface="Arial"/>
              <a:cs typeface="Arial"/>
            </a:endParaRPr>
          </a:p>
          <a:p>
            <a:pPr algn="l" rtl="0">
              <a:defRPr sz="1000"/>
            </a:pPr>
            <a:endParaRPr lang="en-US" sz="1000" b="0" i="0" u="none" strike="noStrike" baseline="0">
              <a:solidFill>
                <a:srgbClr val="000000"/>
              </a:solidFill>
              <a:latin typeface="Arial"/>
              <a:cs typeface="Arial"/>
            </a:endParaRPr>
          </a:p>
        </p:txBody>
      </p:sp>
      <p:sp>
        <p:nvSpPr>
          <p:cNvPr id="46" name="WORKBKFUNCTIONCACHE" hidden="1">
            <a:extLst>
              <a:ext uri="{FF2B5EF4-FFF2-40B4-BE49-F238E27FC236}">
                <a16:creationId xmlns:a16="http://schemas.microsoft.com/office/drawing/2014/main" id="{00000000-0008-0000-0300-000004000000}"/>
              </a:ext>
            </a:extLst>
          </p:cNvPr>
          <p:cNvSpPr txBox="1">
            <a:spLocks noChangeArrowheads="1"/>
          </p:cNvSpPr>
          <p:nvPr/>
        </p:nvSpPr>
        <p:spPr bwMode="auto">
          <a:xfrm>
            <a:off x="2407152" y="3232317"/>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lt;compressed size="651798"&gt;eJztvQtvHTe2ps2fYkwDgxngk7ruF3TPARwf2fGBYwtS0oODRsOQFamlJFYU3ZIe6Md/JNd6yS1Zl+1cikvnvBDs2rt2Xcj3IRcXF1msv7pDd+lO3L67cMfuR//phdvz347cgfs391f3rf924f/t+t8u3Zn/5cA980ftuY/+0/9x/8O9dK/dW/fc/3vhtvz3Z+5DvML37p/++B/j1b91p/7TVTz+ufvB/73323DPa9e4yv/1/tPf3X/6a+75s/7hv/1Pf9SF+4u/c7jnSdwfUvjM/c1vD9zP/oh/xiPCmW9j2g9unLnl94RcXbh/+bNexPSfxWvt+z33nf13n58XbtufcXPvr/v2P6KKr/y3C5/uPZ+yS1X23Kfs/8XPtevc7Ea/788re//qFd7zuoVP3/s9//K//dsnavxJdbyM1/5LUvBPquvk9237fXL0t37/d5HIX5KKf/oMpW9qGu79yr3xLN+4d+4Ltxl1+8tKPvO1t+NVD+LZmcUz97W/z0U8Pt8j5GhfS86Fv0atean8b8LmTyuUwhVOvdZ/iVc992f86JWr/THbsfx969P37z7FV7eOaPwRku6b+1u/fzfm8MDvu/lb538LOQ6l5r8viZ4kDJBofU5mkjBDoiYJAyR6thMmSHT+jyQskOhji92RRHESo/Z0SMICiZ4kDJCY2bMzRKImCRMkatYJIyQakjBCoiUJIyTYs7NAool5aRh3MkCiZ1TcCImBJIyQYM/OBok29ibYs7NBgj07KyTYs7NCgj07KyTYs7NCguPYNkg09J1MkJhiTmqO2Rkh0bFOFCchMXFaJwskepIwRKIhCSMkWpIwQ4IjRTZI0HeyQmIgCSMkRpIwQ4J9bCskBpIwQmIkCSMkZpIwQILj2JZIsGdXnsTAOmGKBH0nGyQ4G9MCiZGzMY2QCOOnXLfDAgnOULZFgl6sBRI9SRgg8cLn6r1X/iTuDWvtkUhZIkFzUfPQb/M8g/cc1TPK6Lnbif9vk4spLnJu+H7gPsQzSMcOnTf+HLKxyeYrf9xHv/+9e+mvR5+gNJ237iDSgEUL/toVqRihIt7ze3/OnvvFb0Vp8rHEJxx74o8kExtM2MLY5LLt/7ZIwwiNHb/3ym9bf+a3pGKEym487iD2+c/9X9h7TjqF6ewona14jRN/99Dek0tpLnLMe91/Fgn94tUnF2tc0H+R65CPFT5s+e2w+Og/nTnGK60QeeHvthu3e1GnM233yccan6wNfTJrdIJHduTT8CGmg3ys8XkZr3Tsjz9i22OOziv3JZkYYxIYkIktJm/8d3pm1qh85e//Q0xDuOa/yMcYn3f+21HME8nYIrPt70Am1pgEhb+LPvPPjJwZ5oMZACRki9COXodcbHHZjaM0exw5M0fm68jlhFzMcNnzmhyRhxkeQY0wckYiVojwyZinwIVxTJt0juOszHBNxsus0Al15nBlFtNbv//EcS6TZUasQdbonLK2mOHx0h+37zA6w3pihctrr8WpP/aYdcUQkxOvyaVGYkJaScYOmauoz0WK/zOGaYXOzVUYZCYg4wFW6TAaYI2NrJshz2mSjA0y7/x5r0nDDI3D2Offcj/53469/mEs89JvT/357NXY4RTmmeUoJ59tts/ojU/HnvcNyMcWn60YISAVW1Toq9llI9402xy7hFbH09jyWKUkCh+SizEuu/6uz0nFCBWOO9ujweimRSaYqSFrnJKOJTpB3R9iXknFAhWs1kg7ZomJnE8ednhg7kx4BjB8Ih9bfIImZ/6XfXIxxeXKcZ0z+3yyNoxhWqPDdc5s8+E6Z5bpcJ0ze0zY17THhOucWaTCdc5s8+E6Z1bJcJ0zi0y4ztnT4MN1zmwS4siATS5c58wqGa5zZovLbtRj331PIkaIoIaEWJmMbIZYwDkjzcYIhefROW/GCpNv4p25yokNKuc+L33MzRdk8RtY/N2fEcr0x9gO7MVzwxMU/7hD81rTXFHxRRXvqfiCirc+xTMVX1zxmoovqHhPO76o4p3/o+JLKt7HlrOj4ospPsY091R8UcV7Kr6g4jN7QAUUr6n4oorXLOMLK95Q8YUVb6n4woqzB7Sk4k1Mc8O4yoKK94zWLqz4QMUXVpw9oGUVb6M3zh7QsoqzB7S04uwBLa04e0BLK84e0NKKc5xzWcUb+iqLKj7FFNccA1pY8Y5lfDHFJVZLq7Kk4j0VL6B4Q8UXVryl4osrzhGJZRWnr7K04gMVX1jxkYovrjj7nEsrPlDxhRUfqfjCis9UfEHFOc5ZQnH2gJZTfGAZL6I4fZVlFecsuCUVHzkLbmHFw7gbn8tfUnHO9CyjOL3DJRXvqfiCir/wqcd7GkO+D6j8QsoHbUW1Q7/N483vOUpUmMVztxP/36b+RfQPCpzF7wfuQ7w7KSxP4Y3XmAzKMsAq8GG9/gO2zYtReOvPuFixRME/uqL6C6svXml+m7goSg4lOIT1X/nm0OW1ZwtQVv9t/7dF1RdWfcfvDe+OaH06+JaipdXfjecfxD5weAtB2Mt3ESxFYUcpbMUUnDh5Yzf1X0r/oOlFLPth/5mT9z/zvULl9If/L70xcliaA1vg5TX/6D+dOcbdllb+hb/qbtzuRT3OtP0lh1Icsgb0gUpRCB7QkT/+Q7wfOZTi8NKF9zMd+3sfsW0oRuGV+5LaF9I+aE3ty2gf3kpJT6iU+l85vO0wpIhvPCzF4Z3/dhTTTgJlCGz7K1H7UtoHJb+LvujPjAwZ4IARYpIoQ2Inpob6l9J/N44S7HGEphgBvL+e+i+t/57P+xF1X1z3kOswQkPll1aeTwZY0p/xuLIUjuMsuW1/HuNBS1MIdeBwZXbK23gG56hYYMEaUYrCKUv/4rq/9MftO4wOsNwvrf9rf/SpP/aYZb+A9ic+75cagQhpIoHlCVxFHS5SXJqxuKUp3HxaW2ZssX9cmgJ7x6UYyHP08hwZCSxL4J2/zmuqvrjqh7EPvOV+8r8de53D2Nil3576a7FXsDyPME8oR+v4LKUdFm/8OXu+jSaHMhy2Yo+Z6pdRn75ReQbipbJNKE9iddyGLUNpGqLkIfUvpP+uv/pzqr+w+hyvLKc6o3QltceIvaz1RwolKAQVf4h5ovpLqo9Vzmh/SmjPpzZK6Y65EuHZpb14LjmU4BDyfuZ/2af+RfS/clxnyA6HrAFjcaUocJ0hGxy4zpAFClxnqJz27JOV057rDJVUn+sM2eDAdYZKE+A6QyW15zpDtjhwnaGyJBixLqs/1xkqTYDrDJXRfzfme999T+UXVh4lPsSCZKQs9I3PGRktRCI858p5Ektr/008iqsbLKv+uU9zH1P9BTVfW/N/j2si3lQdV9+O1xUv/pmTGednquRFPD7f5TaNWnNTkYURFj1ZmGDR+rzMZGGIRU0WJlj0bC+MsOj8H1nYYNHHtrsjCwMsxpibniyMsOjJwgSLmX09UyxqsjDComa9MMOiIQszLFqyMMOCfT0bLJqYm4bxKBMsesbMzbAYyMIMC/b1rLBoY++CfT0rLNjXs8OCfT07LNjXs8OCfT07LDjebYVFQz/KCIsp5qXmuJ4ZFh3rhQEWEjGnjbLBoicLUywasjDDoiULQyw4lmSFBf0oOywGsjDDYiQLQyzY77bDYiALMyxGsjDDYiYLEyw43m2LBft6FlgMrBfGWNCPssKCczhtsBg5h9MMizDKyvVAbLDg3GZrLOjT2mDRk4UJFi98vvD20aDIAZkUZxJUFz0P/TbPSHjPkT+zlJ67nfj/NskYIyPnhu8H7kM8g3ws8XnjzyEdq3Tw1ovwHpIDegcG+Lz1512s2LXgu12Rixku4kuHFdP33C8Ob5AhIVuEwrF837AlKmxprJLZ9n9b5GGGx47fG94H1Poz+WY4O1x243EHMQ4Q3lET9p6TT3E+O8pnK17jxB3Hlp9kypORY97r/rPI6Be+Yc4kGfRn5DokZIcQfQBLND76T2eOkUw7TF7E64ftXlTqTD0AErJHKKtD/8wen+CdHflUfIgpISF7hF7GKx3744/YBhnk88p9SSrmqAQKpGKNSnjXM700e1y+cngbcbgm30hsj9A7/+0o5opsrLHZ9ncgFXtUgsbfRQ/6Z0bUTBPCTAEyssZoR69DMtbI7MZRnD2OrRlk83Ukc0IyhsjseVWOSMQQkaBHGFsjEztM+GTN0yDDCKdVPsdxJme4JuNodviEenO4Mufprd9/4jjzyTYl1iJ7fE5ZYwwReemP23cYvWFdsUPmtVfj1B97zPpiisqJV+VS4zMhtWRjic1VVOgijQ4wummHz811HWTuIGMEdvkwQmCPjqzFIc97ko0VNu/8ea/JwxCPwxgH2HI/+d+OPYEw3nnpt6f+fPZyLJEK89Jy/JPPST8FSm98Sva8l0BC1ghtxagBuVjjQr/NMh3xrdn2WGa0OuLGFsguJ9H4kGTMkdn193lOLma4cHTaIg/GPW1SwZwOWU2VfGzxCfr+EHNLLja4YE1IWjNbVOR8ErFEBPNswpOE4RMJWSMUVDnzv+yTjDEyV47rqD0FQlkdRjft8eE6atYJcR0123y4jppFKux9WqTCddRscuE6atYJcR01u2y4jppNKlxH7akQ4jpqVhlx3MAqGa6jZpcN11GzRmY3KrLvvicTM0xQS0IMTUY/Q3zgnFFoc4zC0+2cY2OHyjfx3lw7xQqXc5+bPubnC9L4TTT+7s8J5fpjbA/24tnh+Yt/3KF6ramuqPnCmvfUfFHNW5/mmZoX0Lym5otq3tOeL6x55/+o+bKa97EN7aj5gpqPMdU9NV9Y856aL6r5zD5REc1rar6w5jXL+eKaN9R8cc1bar645uwTLat5E1PdMN6yqOY9Y7mLaz5Q88U1Z59oac3b6J2zT7S05uwTLa85+0TLa84+0fKas0+0vOYcD11a84Z+y8KaTzHNNceJFte8YzlfUHOJ5NK2LKt5T82LaN5Q88U1b6l5Ac05ZrG05vRbltd8oOaLaz5S8wKasx+6vOYDNV9c85GaL675TM0X1ZzjoWU0Z59oSc0HlvNCmtNvWVpzzp1bVvORc+cW1zyMzvF5/2U15xzRUprTV1xW856aL6r5C59+vD8y5PyA2i+mfVBXdDv02zwy/Z4jScVpPHc78f9tEihEIGhwFr8fuA/x/uRQgsMbrzIplKaAVejDGwMO2EovyOGtP+NixR4FX+mK+i+uv/io+Z3noilJlCERVp3lW01LqM+WoDSBbf+3Rd0X133H7w1vsGh9SvjOpOX1343nH8R+cXgTQth7Tg6LcdhRDlsxDSdO3itOAssRCKpexPIf9p85eUc133JUkgD6A9I/I4nlSbAtLqH6R//pzDEit7z2L+J1wnYvKnKmLTFJlCORVaA/VI5D8IaO/PEf4h1JohyJly68L+rY3/2IbURBDq/cl1S/mPpBbapfSv3wxkx6ReX0/8rhPYwhTXwXYzkS7/y3o5h6MijFYNtfieqXUz9o+V30TH9mxMgECYwkk0UpFjsxPSRQjsBuHEXY4xhOQQbyHvcTEihAYM/n/ojKF1A+5DuM4VD75bXnkwW2CDBSV5rDcZxZt+3PY5xoeQ6hHhyuzGV5G8/gjBYbNFgrynE4ZQ0ooPxLf9y+w+gBy/7yBF77o0/9sccs/0XUP/G5v9S4REgVGZRgcBWVuEhRa0bpludw8/lvmePFPnN5Duwxl6Mgz+bL82hksDSDdz7/r6l7Ad0PY794y/3kfzv2Sofxs0u/PfXXYi+hBJEwryjH8fhcpiUab/w5e761JolSJLZiL5r6l9KffpIFCuKzsm2wwGJ1ZIctRHkeouUhCRQjsOuv95z6L64/RzVL6s74XVn1MbYvqwqSQxkOQccfYq6o/7L6Yy01WqEy6vO5j3LKY15FeAJqL55LEmVIhNyf+V/2SaAQgSvHdYwskcgqMEpXjgPXMbJCgusY2eDAdYxKqs9eWkn1uY5RWf25jpEVElzHqDwDrmNUVn2uY2SNBNcxKs2C8ezSBLiOUXkGXMeoFIHdmPN99z21X1x7lPoQI5LRtNBfPmfUtBiL8NQs51Qsr/438SiumbC0/uc+1X1M9xdUfW3VX3l93tx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byfTXl+ewon614jRN3HFt+kilPRo55r/vPIqNf+LY5k2TQn5HrkJAdQvQBLNH46D+dOUYy7TB54cKbwMJ2Lyp1ph4ACdkjlNWhf2aPT/DOjnwqPsSUkJA9Qi/jlY798UdsgwzyeeW+JBVzVAIFUrFGJbzxmV6aPS5fObyPOFyT7yS2R+id/3YUc0U21ths+zuQij0qQePvogf9MyNqpglhpgAZWWO0o9chGWtkduMozh7H1gyy+TqSOSEZQ2T2vCpHJGKISNAjjK2RiR0mfLLmaZBhhNMqn+M4kzNck3E0O3xCvTlcmfP01u8/cZz5ZJsSa5E9PqesMYaIvPTH7TuM3rCu2CHz2qtx6o89Zn0xReXEq3Kp8ZmQWrKxxOYqKnSRRgcY3bTD5+a6DjJ3kDECu3wYIbBHR9bikOc9ycYKm3f+vNfkYYjHYYwDbLmf/G/HnkAY77z021N/Pns5lkiFeWk5/snnpJ8CpTc+JXveSyAha4S2YtSAXKxxod9mmY741mx7LDNaHXFjC2SXk2h8SDLmyOz6Oz0nFzNcODptkQfjnjapYE6HrKZKPrb4BH1/iLklFxtcsCYkrZktKnI+iVgignk24UnC8ImErBEKqpz5X/ZJxhiZK8d11J4CoawOo5v2+HAdNeuEuI6abT5cR80iFfY+LVLhOmo2uXAdNeuEuI6aXTZcR80mFa6j9lQIcR01q4w4bmCVDNdRs8uG66hZI7MbFdl335OJGSaoJSGGJqOfIT5wzii0OUbh6XbOsbFD5Zt4b66dYoXLuc9NH/PzBWn8Jhp/9+eEcv0xtgd78ezw/MU/7lC91lRX1HxhzXtqvqjmrU/zTM0LaF5T80U172nPF9a883/UfFnN+9iGdtR8Qc3HmOqemi+seU/NF9V8Zp+oiOY1NV9Y85rlfHHNG2q+uOYtNV9cc/aJltW8ialuGG9ZVPOesdzFNR+o+eKas0+0tOZt9M7ZJ1pac/aJltecfaLlNWefaHnN2SdaXnOOhy6teUO/ZWHNp5jmmuNEi2vesZwvqLlEcmlbltW8p+ZFNG+o+eKat9S8gOYcs1hac/oty2s+UPPFNR+peQHN2Q9dXvOBmi+u+UjNF9d8puaLas7x0DKas0+0pOYDy3khzem3LK05584tq/nIuXOLax5G5/i8/7Kac45oKc3pKy6reU/NF9X8hU8/3h8Zcn5A7RfTPqgruh36bR6Zfs+RpOI0nrud+P82CRQiEDQ4i98P3Id4f3IoweGNV5kUSlPAKvThjQEHbKUX5PDWn3GxYo+Cr3RF/RfXX3zU/M5z0ZQkypAIq87yraYl1GdLUJrAtv/bou6L677j94Y3WLQ+JXxn0vL678bzD2K/OLwJIezl+xCW47CjHLZiGk6cvFecBJYjEFS9iOU/7D9z8o5qvuWoJAH0B6R/RhLLk2BbXEL1j/7TmWNEbnntX/gr7cbtXlTkTFtikihHIqtAf6gch+ANHfnjP8Q7kkQ5Ei9deF/Usb/7EduIghxeuS+pfjH1g9pUv5T64Y2Z9IrK6f+Vw3sYQ5r4LsZyJN75b0cx9WRQisG2vxLVL6d+0PK76Jn+zIiRCRIYSSaLUix2YnpIoByB3TiKsMcxnIIM5D3uJyRQgMCez/0RlS+gfMh3GMOh9strzycLbBFgpK40h+M4s27bn8c40fIcQj04XJnL8jaewRktNmiwVpTjcMoaUED5l/64fYfRA5b95Qm89kef+mOPWf6LqH/ic3+pcYmQKjIoweAqKnGRotaM0i3P4ebz3zLHi33m8hzYYy5HQZ7Nl+fRyGBpBu98/l9T9wK6H8Z+8Zb7yf927JUO42eXfnvqr8VeQgkiYV5RjuPxuUxLNN74c/Z8a00SpUhsxV409S+lP/0kCxTEZ2XbYIHF6sgOW4jyPETLQxIoRmDXX/E59V9cf45qltSd8buy6mNsX1YVJIcyHIKOP8RcUf9l9cdaarRCZdTncx/llMe8ivAE1F48lyTKkAi5P/O/7JNAIQJXjusYWSKRVWCUrhwHrmNkhQTXMbLBgesYlVSfvbSS6nMdo7L6cx0jKyS4jlF5BlzHqKz6XMfIGgmuY1SaBePZpQlwHaPyDLiOUSkCuzHn++57ar+49ij1IUYko2mhv3zOqGkxFuGpWc6pWF79b+JRXDNhaf3Pfar7mO4vqPraqr92b2MkYVV1XH07Xld8+mdOZqufqZIX8fh8l9s0as1NRRZGWPRkYYJF6/Myk4UhFjVZmGDRs70wwqLzf2Rhg0Uf2+6OLAywGGNuerIwwqInCxMsZvb1TLGoycIIi5r1wgyLhizMsGjJwgwL9vVssGhibhrGo0yw6BkzN8NiIAszLNjXs8Kijb0L9vWssGBfzw4L9vXssGBfzw4L9vXssOB4txUWDf0oIyymmJea43pmWHSsFwZYSMScNsoGi54sTLFoyMIMi5YsDLHgWJIVFvSj7LAYyMIMi5EsDLFgv9sOi4EszLAYycIMi5ksTLDgeLctFuzrWWAxsF4YY0E/ygoLzuG0wWLkHE4zLMIoK9cDscGCc5utsaBPa4NFTxYmWLzw+cL7SoMiB2RSnElQXfQ89Ns8I+E9R/7MUnruduL/2yRjjIycG74fuA/xDPKxxOeNP4d0rNLBWzDCm0kO6B0Y4PPWn3exYteC73ZFLma4iC8dVk3fc784vFGGhGwRCsfyrcSWqLClsUpm2/9tkYcZHjt+b3gzUOvP5Lvi7HDZjccdxDhAeFNN2Mv31ZTns6N8tuI1TtxxbPlJpjwZOea97j+LjH7h2+ZMkkF/Rq5DQnYI0QewROOj/3TmGMm0w+SFv99u3O5Fpc7UAyAhe4SyOvTP7PEJ3tmRT8WHmBISskfoZbzSsT/+iG2QQT6v3JekYo5KoEAq1qiENz7TS7PH5SuH9xGHa/KdxPYIvfPfjmKuyMYam+14F1KxRiVo/F30oH9mRM00IcwUICNrjHb0OiRjjcxuHMXZ49iaQTZfRzInJGOIzJ5X5YhEDBEJeoSxNTKxw4RP1jwNMoxwWuVzHGdyhmsyjmaHT6g3hytznt76/SeOM59sU2ItssfnlDXGEJGX/rh9h9Eb1hU7ZF57NU79scesL6aonHhVLjU+E1JLNpbYXEWFLtLoAKObdvjcXNdB5g4yRmCXDyME9ujIWhzyvCfZWGHzzp/3mjwM8TiMcYAt95P/7dgTCOOdl3576s9nL8cSqTAvLcc/+Zz0U6D0xqdkz3sJJGSN0FaMGpCLNS702yzTEd+abY9lRqsjbmyB7HISjQ9JxhyZXX/f5+RihgtHpy3yYNzTJhXM6ZDVVMnHFp+g7w8xt+RigwvWhKQ1s0VFzicRS0QwzyY8SRg+kZA1QkGVM//LPskYI3PluI7aUyCU1WF00x4frqNmnRDXUbPNh+uoWaTC3qdFKlxHzSYXrqNmnRDXUbPLhuuo2aTCddSeCiGuo2aVEccNrJLhOmp22XAdNWtkdqMi++57MjHDBLUkxNBk9DPEB84ZhTbHKDzdzjk2dqh8E+/NtVOscDn3ueljfr4gjd9E4+/+nFCuP8b2YC+eHZ6/+Mcdqtea6oqaL6x5T80X1bz1aZ6peQHNa2q+qOY97fnCmnf+j5ovq3kf29COmi+o+RhT3VPzhTXvqfmims/sExXRvKbmC2tes5wvrnlDzRfXvKXmi2vOPtGymjcx1Q3jLYtq3jOWu7jmAzVfXHP2iZbWvI3eOftES2vOPtHymrNPtLzm7BMtrzn7RMtrzvHQpTVv6LcsrPkU01xznGhxzTuW8wU1l0gubcuymvfUvIjmDTVfXPOWmhfQnGMWS2tOv2V5zQdqvrjmIzUvoDn7octrPlDzxTUfqfnims/UfFHNOR5aRnP2iZbUfGA5L6Q5/ZalNefcuWU1Hzl3bnHNw+gcn/dfVnPOES2lOX3FZTXvqfmimr/w6cf7I0POD6j9YtoHdUW3Q7/NI9PvOZJUnMZztxP/3yaBQgSCBmfx+4H7EO9PDiU4vPEqk0JpCliFPrwx4ICt9IIc3vozLlbsUfCVrqj/4vqLj5rfeS6akkQZEmHVWb7VtIT6bAlKE9j2f1vUfXHdd/ze8AaL1qeE70xaXv/deP5B7BeHNyGEvXwfwnIcdpTDVkzDiZP3ipPAcgSCqhex/If9Z07eUc23HJUkgP6A9M9IYnkSbItLqP7RfzpzjMgtr/0Lf93duN2LipxpS0wS5UhkFegPleMQvKEjf/yHeEeSKEfipQvvizr2dz9iG1GQwyv3JdUvpn5Qm+qXUj+8MZNeUTn9v3J4D2NIE9/FWI7EO//tKKaeDEox2I5Xo/ql1A9afhc9058ZMTJBAiPJZFGKxU5MDwmUI7AbRxH2OIZTkIG8x/2EBAoQ2PO5P6LyBZQP+Q5jONR+ee35ZIEtAozUleZwHGfWbfvzGCdankOoB4crc1nexjM4o8UGDdaKchxOWQMKKP/SH7fvMHrAsr88gdf+6FN/7DHLfxH1T3zuLzUuEVJFBiUYXEUlLlLUmlG65TncfP5b5nixz1yeA3vM5SjIs/nyPBoZLM3gnc//a+peQPfD2C/ecj/534690mH87NJvT/212EsoQSTMK8pxPD6XaYnGG3/Onm+tSaIUia3Yi6b+pfSnn2SBgvisbBsssFgd2WELUZ6HaHlIAsUI7PrrP6f+i+vPUc2SujN+V1Z9jO3LqoLkUIZD0PGHmCvqv6z+WEuNVqiM+nzuo5zymFcRnoDai+eSRBkSIfdn/pd9EihE4MpxHSNLJLIKjNKV48B1jKyQ4DpGNjhwHaOS6rOXVlJ9rmNUVn+uY2SFBNcxKs+A6xiVVZ/rGFkjwXWMSrNgPLs0Aa5jVJ4B1zEqRWA35nzffU/tF9cepT7EiGQ0LfSXzxk1LcYiPDXLORXLq/9NPIprJiyt/7lPdR/T/QVVX1v1//C/n99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aek09xPjvKZyte48Qdx5afZMqTkWPe6/6zyOgXvm3OJBn0Z+Q6JGSHEH0ASzQ++k9njpFMO0xe+Pvtxu1eVOpMPQASskcoq0P/zB6f4J0d+VR8iCkhIXuEXsYrHfvjj9gGGeTzyn1JKuaoBAqkYo1KeOMzvTR7XL5yeB9xuCbfSWyP0Dv/7Sjmimyssdl2fyMVg1SCxt9FD/pnRtRME8JMATKyxmhHr0My1sjsxlGcPY6tGWTzdSRzQjKGyOz56x+RiCEiQY8wtkYmdpjwyZqnQYYRTqt8juNMznBNxtHs8An15nBlztNbv//EceaTbUqsRfb4nLLGGCLy0h+37zB6w7pih8xrr8apP/aY9cUUlRN//UuNz4TUko0lNldRoYs0OsDoph0+N9d1kLmDjBHY5cMIgT06shaHPO9JNlbYvPPnvSYPQzwOYxxgy/3kfzv2BMJ456Xfnvrz2cuxRCrMS8vxTz4n/RQovfEp2fNeAglZI7QVowbkYo0L/TbLdMS3ZttjmdHqiBtbILucRONDkjFHZtff9zm5mOHC0WmLPBj3tEkFczpkNVXyscUn6PtDzC252OCCNSFpzWxRkfNJxBIRzLMJTxKGTyRkjVBQ5cz/sk8yxshcOa6j9hQIZXUY3bTHh+uoWSfEddRs8+E6ahapsPdpkQrXUbPJheuoWSfEddTssuE6ajapcB21p0KI66hZZcRxA6tkuI6aXTZcR80amd2oyL77nkzMMEEtCTE0Gf0M8YFzRqHNMQpPt3OOjR0q38R7c+0UK1zOfW76mJ8vSOM30fi73xfK9cfYHuzFs8PzF/+4Q/VaU11R84U176n5opq3Ps0zNS+geU3NF9W8pz1fWPPO/1HzZTXvYxvaUfMFNR9jqntqvrDmPTVfVPOZfaIimtfUfGHNa5bzxTVvqPnimrfUfHHN2SdaVvMmprphvGVRzXvGchfXfKDmi2vOPtHSmrfRO2efaGnN2SdaXnP2iZbXnH2i5TVnn2h5zTkeurTmDf2WhTWfYpprjhMtrnnHcr6g5hLJpW1ZVvOemhfRvKHmi2veUvMCmnPMYmnN6bcsr/lAzRfXfKTmBTRnP3R5zQdqvrjmIzVfXPOZmi+qOcdDy2jOPtGSmg8s54U0p9+ytOacO7es5iPnzi2ueRid4/P+y2rOOaKlNKevuKzmPTVfVPMXPv14f2TI+QG1X0z7oK7odui3eWT6PUeSitN47nbi/9skUIhA0OAsfj9wH+L9yaEEhzdeZVIoTQGr0Ic3BhywlV6Qw1t/xsWKPQq+0hX1X1x/8VHzO89FU5IoQyKsOsu3mpZQny1BaQLb/m+Lui+u+47fG95g0fqU8J1Jy+u/G88/iP3i8CaEsPecHBbjsKMctmIaTpy8V5wEliMQVL2I5T/sP3Pyjmq+5agkAfQHpH9GEsuTYFtcQvWP/tOZY0Ruee1f+Ovuxu1eVORMW2KSKEciq0B/qByH4A0d+eM/xDuSRDkSL114X9Sxv/sR24iCHF65L6l+MfWD2lS/lPrhjZn0isrp/5XDexhDmvguxnIk3vlvRzH1ZFCKwba/EtUvp37Q8rvomf7MiJEJEhhJJotSLHZiekigHIHdOIqwxzGcggzkPe4nJFCAwJ6/zhGVL6B8yHcYw6H2y2vPJwtsEWCkrjSH4zizbtufxzjR8hxCPThcmcvyNp7BGS02aLBWlONwyhpQQPmX/rh9h9EDlv3lCbz2R5/6Y49Z/ouof+Kvc6lxiZAqMijB4CoqcZGi1ozSLc/h5vPfMseLfebyHNhjLkdBns2X59HIYGkG73z+X1P3Arofxn7xlvvJ/3bslQ7jZ5d+e+qvxV5CCSJhXlGO4/G5TEs03vhz9nxrTRKlSGzFXjT1L6U//SQLFMRnZdtggcXqyA5biPI8RMtDEihGYNdf/zn1X1x/jmqW1J3xu7LqY2xfVhUkhzIcgo4/xFxR/2X1x1pqtEJl1OdzH+WUx7yK8ATUXjyXJMqQCLk/87/sk0AhAleO6xhZIpFVYJSuHAeuY2SFBNcxssGB6xiVVJ+9tJLqcx2jsvpzHSMrJLiOUXkGXMeorPpcx8gaCa5jVJoF49mlCXAdo/IMuI5RKQK7Mef77ntqv7j2KPUhRiSjaaG/fM6oaTEW4alZzqlYXv1v4lFcM2Fp/c99qvuY7i+o+r2qv4j6nbsw4+p5nHW1eYvETQK40+pVnjmZuX6mql7E4/Mdb5OpNWcVuRjk0pOLOS6tz9dMLka51ORijkvP9sUgl87/kYs9Ln1s9ztyMcZljDnrycUgl55czHGZ2a80y6UmF4NcatYXk1wacjHJpSUXk1zYr7THpYk5axgfM8elZ5zfJJeBXExyYb/SIpc29l7Yr7TIhf1Km1zYr7TJhf1Km1zYr7TJheP7Frk09McMcplivmqOV5rk0rG+GOMiUX7aMXtcenIxy6UhF5NcWnIxyoXjYha50B+zyWUgF5NcRnIxyoX9fZtcBnIxyWUkF5NcZnIxx4Xj+3a5sF9pjcvA+mKYC/0xi1w4D9Yel5HzYE1yCSPJXB/GHhfOG7fMhX6yPS49uZjj8sLnEe/EDeockI8pPoGAaHvot3k2xnuOaD4JYs/dTvx/m5QMU5Jzw/cD9yGeQVZWWb3x55DUUyCFt7SEN+cc0LMwxuqtv9LFiu0LPuAVGZlkJP55WO1/z/3i8CYk0rJLKxzLN2tbJcSW6SlQ2vZ/W2Rjks2O3xvegNX6M/lORJuMduNxBzH+EN7OFPbyHU22WO0oq62YzhN3HL0GUrJFSY55r/vPIq9f+OZF85TQX5LrkJZNWvQfrJL56D+dOUZZbfJ54e+zG7d7UbUz9R5IyzatrBT9PNusgpd35K/1IV6PtGzTeunPPPDX+qdnxjbLNqtX7ksSMk0oECEhy4TCW9fp7dlm9JXD+8FDuvmOcNu03vlvRzGH5GSZ07a/AwnZJhT0/i565T8zwvdkaGFmBHlZ5rUT00xKtintxlGoPY4TGuf0daR0QkpGKe35Ox+RjlE6QZswTkg+NvnwyaanR4nR16fA6jjOgN325zGuZ5NVqE+HK/PA3sa0cDbY0yHG2mWb1SlrklE6L/1x+w6jT6xDNim99sqc+mOPWY/MEgp3vtQYUUg5OVnldBXVukgjGoy82mR1cw0PmWfJ2MTTYMXIhG1SsgaLPJ9LThY5vfPnvSYbo2wOY/xhy/3kfzv2NMI47qXfnvrz2YuySi3M28uxWT7v/tSIvfHX2/MeBmlZprUVoxVkZJkR/b+nQkr8dbZVT4XX6ughW6ynwUz0PiQl05R2/f2ek5FJRhyBt86GMVn7hDCfRVbyJSu7rM7ivX8gI5OMsO4oLZ5dQgeOz6ZZpoP5RuFpz/CJtCzTCgqd+V/2SckwpSvHdfieGq2sFCOvtllxHb6nRIvr8D0dVlyHzzoh9nStE+I6fPYZcR2+p0SL6/A9DU5ch88+Ia7D9xRpcR2+p8CLYx1PgRLX4XsanLgOn2VKu1Gdffc9+Zjkg9oTYnoyqhviEueMlpvmFVYs4Fwjm4S+iVfg+jkWGZ37nPUxb18YIvNX92ffPh74/Jy7f/PfrlKuw/faHzn5FF/HT4O/V/jUutmN+mnyf/Jr5X+XfaP/XT71/p98av0R8imoIJ8qvUrjt7V+mvTcZuW+nZ7bpBTU/tOgnyo9Llyt109DPCOUpEa3+N7rdojbOp7baErCNty9i5+uY56muH+K54d01LptdIv9vW6HuG31e6vX66IO4X/8Pup9Wt0Ouh31eDmv13R0ur/X+7YxXeH4Tre9/l7rFtdtVLlW9Wpu6IW71qo0zuuUaruScvDr9VOn1Lqok6gJik26W60pr1XhSVNaJYVDToNOk27xe6vbQfeP+r3Rba/7W93iuE5/x7bW/bOmelJt65WyNKZPvX7q9FOjKZOSNqsWteo26ZUq3dapBlR6TpvKaZ00rbX0Ven8VtNWp7tWeo82/dakWoBaFQhC3UFzixrVpjzNKS29atJqzkG1i0fJFkdUUbVR6UxKZ1K1J1V/SvQa/Y5tpftrvQ7OH3Rb63bU4yr9jnqK8ot0QSnwaTR/nZ4j9mlwsEUgMae81qoDciFscFyb6DTJeuXyPK6UhtbBPuG+qC3NilUaV0pNp7QmTXMo02JXOrVPnea7U/vUaQnptWZ1WnvELkxae0bl0mipn7QmT1rvJy0zk9qHSevlpDpOyn1SOzRpOZq0tk7KYdJaOGn5mlSjScvJpDQmLVmT8po075PW1klrzqSletLaXCcF6lQrRC9cJdsn3D/bp1HvCPs0JOJjynWlaoJnq2WhUcVGtS+N2p9RS/CoJXxUnqNec9QyNGqJHrUmjloDRq0hYW+rWxzX6e/Y1rof9mnWM1By6/RbrXep9Ti0ojiuThRr1W3SK1W6zfapS9eBdUBb0Sa9unR+tk9onSstAdl2gUmjlITgrFcYNLewT12qyXNKS6+8a5ftE1KA63R6hOSo1/2DHjeodoOqPyR6jX7HttL9tV4H5w+6rXU76nGVfkc9RflFupBO5KpNZXZKuRlSGZ0TPVjnLpV7WEdpa+FnoR1pk+Vr9e5in2CVwLhZuW+XWuMhaT2mUoPyU6X7VqpDo2WiUTvSqB1B+4561GiaGrULvV69V50brcm9lqReOfZaLnqtfb3q2Gs56TU3verap+tM6T69bifdhv2DWoxB89ar3oPao15V77VW9lqvBrV3g9qrPtWTJtUT+JKiV6NHoQ708bwh+VitlvNe7YQwhcc8JjUaVTP7T6hLteZUSnKTct4nhWv9LjnqVLle79urMl06r9PtqPt73eK4QX/HttUtyjOYrJalNn2qk13JpRQWptYzJ73mpGkeUl7QLufSiXa5VqskNWvS0jbpeb2DfYJ9AcEp/ZZ90j71E5CSQa/UpxrVpZxkOwxNcsvfpvIDTXCE5KjV/Z3mtNVUtUl9/N7pfmwb3d/qd5w/6Rb7Zz0O90O9hcK1pg9Ko/2Al9OlktmpCnXyvuvkT9cr/nKbNG2T8m2qH20qxW1qG5rUbjXJQjYr9+1T3RoS7SmVLvQrq9QOVZof9Adh1xpND/ywZuW4Ubch17PWnjn1XMTuzFqSZ633s9qHWdM/q52Z9Xqzcp/VDs2a/nnlPr1uJ93K/knPmzQdY9qP+1Z6/KDbUX9vdYvrZvuULQbs+axXQ3+hW7l/tk+zphj2KXvROdeNqpn9J/htjaaoU/s06/XapHCt3yVHjV6z1Ry0qkyTzut0O+r+Xrc4btDfsW11m+1Tr3dGCUJ5rZPnXyd71iZ7LntFi1a3lV4Jecn2CX5+l6wD+mdtajVRGuDr5J52o3VjXrFd2SeFFapW8jJpLrN9gk84p7QgvUOqs10qR7VeZ9AjJEe17m/0OChQJ/Xxe6f7sW10f6vfcf6kW+yf9Tjcb1BlkPta0welYZ/apDW2OU8oy9AN1us6pn/Uba9blOZJvze6rXSLcoPz5HogDDsEa4WWaUjbTre9bnFcpd9H3YoHIukYkqUWT2RIv4/6Xe4zqEUa1CINqtyg1x20Tg6ajkHTMWi+BrUQQ/JMxnTepFvZP6V0DHp8o1vcf9bjcN3st6J9QBmXfMLDHfT8QXXAfcABXm+v+yfVr1bdK93Wet1edZPvTdJz1O+DblvdX+u20/29fq902+p+XA/HNfp7o99n3cKvQT4rTe+o2163KJezpn9S3WbdDnp9pH9WPXB8r1uUn1q3k943RzjkuEb1w36Ud5RflL9O74d0zrqF7ihHaCFGPQ9blAtJR6X7a81PrTrWqmuduFT6vdLzJv0Ozxznd/p91u+9bnE86l2r6UC6Bt22ml/oDwU7rWNSZnNPLPuOsDTZVx8S7aw32r7WIebQJPWaZI2blfvmuANSkLnWKWZXpXMrLf3NSsvb6bbXrViPSf2XUf0b0KxSD6JSMtkPr1KZrFItrpJdrFyOLqLsVEnVKtnJKuWqSja5Sla5Su1xlSx3lcpc5fqVq0zpU47e55QO6dwmfcrpm9MZ+W65FcWnOqVgTvfN/u+wokHuo+UUgHb2jseU5s5hfCB7RvB5m3RXsTltimNVrlqhM6Z9Q/rUpl/r9KlLv/ZpX5U+tenXfI98RpOOa9K+OX1COc3lD30t2C35BD+jT5ogLbWWMiEwp09Dum/OL9qF1VgWvLI8NiT2u1nROo9S5FGNOmmR25/ci85k55WrdCkl6ImgJNepfNQrJSq3cF3a16yUo1wuxfeZ1HcSNWdtqWY3q88zrxCvdE+lZ076HV46rtDp91m/97rF8bASbUpLTl9mCpWzLzUl1XLfG1ohui/2Mo/3oV3oE6t2hRpqUJUs4phoIdbVrNw3j7MMKX3ZSubSnMsB+ni15rpW21in/egDY1Rq1K2MJQgXjBugH9rrcb2W1V7P77Xc9Uq6d4hi1NqXR4SmTr+3eh/ZjxhUpX3yRs9r9L5N2j/p+Z0eX+kW9x91i3xA4TZ9yjV9TEflVqjT89H2IepQrzDNfT/kBmrm2BT68hiVmbWuSsnv3JgU7vV7p9tat7P+3uj3VreT7pfjBj1uTMdV+nul33E/tOFzOgJWK4/E5dhCjofOqaTVSe1Rt51eCXlBDcgxrjzGlq1aLm3IC+pQne6KklCl32D3mpU2F7mcNffwaJpkYWs3p7Qg3od6l8eg57RFDiVHve4fNKe9qj0k9fH7pL9jO+h+jEl3+r3R76N+b3WL41EfkXukq9Mt8tKkPOTo3ZDKMco4xn5F2+z15nGg3IOc06ccQ4RVGldKA/y5fF/4So3LsbMppTS3xbBtlUOktlf71Kud6dU+9Q59YIxKjbqVERVJz+QQ05r1u9TkKVl9tB6Vti+iy6Q6Tsp90jI+aTmaVLVJa+GktXBKsaVKW5dKW58q7Z/0/E6Pr3SL+4+6RT5glXJ9yx4LUjm6bJ+Qr2yfcEdQy5GNMakCNbMHli1Vo/doVUlRsE8K9/q9022t21l/b/R7q9tJ98txGI3t03GV/l7pd9wv26dOj8heVZM+5XF65BeeYK2twqR2aNJyPmntmlZ6KrCGuU9ep7a/VTverOQl26DsL9d6j/wbakH21+ekbqNXgn3KUZw8Htan0pbtE8pJr1uUJ8lRq/s7zSmO75L6+H3S37EddD/GpDv93uj3Ub+3usXxqI+tpgPp6nSb7X4eYc69iNwfhw80rdgseEioFa3LEch2hQ7KfpXqzOiy15R9Kty3S6oPKX0gUaX2rUpeWJV+xbgGrB5YoUahvwgPQq4FrwH9YIwzYiwA8WP0l1otYZgT02pJgH1GH7vVWoM5GRjZR18MerVamzGGjfYYMVmM/8N6IMKNeoF+R7tileAP1yv9BNwlxxl7vS6UbLVE5RG9NvWMupTbPBMtWyW09eiZd1onMbumSQrju9yn1pw0mgPM0mlUgUav1+hxtR7X6HG1KtKkba/bHCuZ9Mo5ptylT7BUea5G7i9Vemav14RabcpLHjOC99Im64BecOvqVAqREtSheoXSrPfAb8hB43IcA+Wj09zndiHfd0pp6VXr7AFD/U63bcqhXLfS/bXmtFK1q6Q+fkf8BdtO9yMqALqVfu/1e61b3G9SZZBSpA9KIy9NykOOguVxhjw2DY8Ls/DEZqF09y57TTnmmeewwSqNK6UBPlW+L9qCxuW5dbmFypEO+G2Vw1gd7EurNahV/wmRc9jrNh0vczGk9owO/UNJ1ag1edR6PzrMbun0PLEzY7qOcB81B6Peb9TaOmotHLUWjlq+RuUyajkZ1W6NWrJG5TWqlqPW1lFrzqilenR5vLpLuuYYEeYXNS7bp0HPz/Zp0JSBGiIi6JONLs88y/ZpTp8qvUetSkrOqqQwvktMGLN0Ks0BZulUqkCl6UFsd9bjpEQODrNoqrTtdZtj6Y1eOc+zy5/ynCbkF1a31tIwaikatXSNWrvGZHfQvtQux9Zrh94vbDD63GOyXJijKJRQMrJ9Qi3oVwgOqm6lVwKBHA+b06c+XTPbJ5STVs+f9AiJoEsdHFSzQb2RwU1Jffw+6H5sO92PkSHQrfR7r99r3eJ+kyrTajpaTR+UznY/98KuVWXR4lp9rmuHGdLSF0XLc73C6XqlRZBvGPO/Ti0jFM32HpYKSqNFQMlBWwc7dq265bnl6MHkuJ9sc/Qa7c918r7kf/hZ1w7jrfI/RtDhs12ntifbyWuHsViMyF67HFlHT0Wufe2k533tchwEcbQ8U/XawR+Qfj1mcl0nm4C5FNcr1lmYiyIYKbx2mFcHS3jthlSKrh3GMjHidu0wv67WknPt8vwDzFWEj4Q6hVp+vWLZrx3mAWC25bXLM2/hZ8HPhT+La2KO67WD/3Xt8jxxePnwoa4d5nzCYl6vlBwZ30bfBn0NzKa9dpi/jllV1w4ztjD36TpFYBD1ul6JuVw7zM3HPK1rhzlcOXp9naIFUo+EZhuf8rj5ZEfY8zE+YXzXUx+1g8crI5ObTua+SGnfcNL7l3kCoeRuOunZIIY3aDxCZixtOuktSJuLVkN6+jLbcYzH9NqLyxERGW+eYwpgwSRiKnGWTSdxUon6YxZvq610FY8QX7TS/myendRoP7z3x8i83Uq9tT7mEWNnXcyBjFjLODPGqqSNFku6qW1xoz3bOV4jKNOpjyKzsiXK1GiqtvwxlUNUf9SjNp3MfJw0jau2ZtZ2XYjMDrPqpTXu434ZBR5SnxezqBAF3dRWR+Jc4Rp4dmRS67jpMPNN/KZADN5ppR6FpEDGCzGT8jqmTI4ST7hLx8OnkzGlTTepjy5jFJKX1fEBmX0l7Cf1R7NPKqNQ0idu4j1lLg0sh8ydCvne1BRK5AD+II6V8bRN12hepfeFGK5YC6nRkq9WW2pEjMTPa2MJaRzmpmHOrZBotNctqRRfA+MJ4sFIfFlqkkT8xYuCJZu1pMrMMdFOoqNSH2XGssTcNtWDEk8YM7s2nMy6bzUdbToTMdCgQqXtuqSgdojXyuxkod7rfTGi1SkbmRUsR0hvEZ6b2AFJk4yXbDqJG2Lu5oaTOLXUgD6WokE9Q8zllFT06klUUYdGy460VOJTNdpXlPzIsyC91sdZLVOld5CoY+Py0x4Sz5DcScnC3A95AmfSs1q1LY1+w+yMWS2dlNBNl+MVEjGTOF8VFZA7YqxH5sDN0RZ2Wntz7FBKukRD2lg/xVYMDjHSKdWITSdz9qVm4RkPieyKtRQ7IbP20DMRGypRAZm3t6n1D1HWQVsDmXU3azpnvVubauagqZ8jIYlvIBIis+hklKCNV5DyLzP9ME4kT5AMqpNY7jqRnlVlpALzIuQ46c22yWpI7KFLNgzP+MhTKY1aMnga4kfLTLkuliCZPYc5tlIKhfOg9U3qImZtSCmetcS32rpMyQZfu9vWWM6flFjrMONdrtGrNZY+ch6VbdWqVaqTjLBMyRNotbWV2aqbDnPXZW546/AcjjyVM2mNGzR3Ui+vtSVsk03adDJ3Sp6NQB9N2iSpz00kgnkvmHNcOTy/iB7SppbqyqFXJCPbndoiGXuZtdXEPK02tbCD1s1GqY0xtY3Wf5kTsan1UGarY0yu07rcrxAWC5xjL5OWa2kboCOeIJBrjtrKSH0cNL1DajtaVWrTybwmKdM5atVr69ConZFYdZ5pJE8btTGVk95pdBjvh42R8YJNtWsy7pOf5Ji1ZrV6jMRd85M8k+ZB2NbauuU5SBtOIi1tTKPUU5RU9CcmbT/EJo9qJyuHOVUbrk75aNRajtriIb6y4WQuMErPqD6KtLjSv9hw4gtKCZ3UPg1agsQz3nAyN1BGjTc1t62y6x1Ggm4fUWnrMjlEQyRSWyu9UWvwrKoIb2ldxEqN6gFizuWs5axX77ZJ3mWeBS/2SeZINPFeMhqPJ4t7bd8mvYvUnkFbKcyEG7SUderBVLrN45nyHGSbLG4+Cv26Xi3zoBZLShcig1J7q+S7jKoBPPxO7VSVSuy4Ql5iXKP6wk2ynJNeeUPLcKWt06bWAukhDElxlHCxZxJhECvU6TEyF0EiQJ2WZ5lri7nKo1oD8d2rmOZalcDTj53WoEm9mVl9jhzrrLTcyW+ttvPi70gplGeQZJ7kppKQGiOeAGpUpT6M9CereKVJW1n8DS4/VTcqA7H+my7HVaWsdOmsTfXaMN43qteHut4qCbF5mGVbaa4GJSrj+PkZpUm167WObmo5z/MMer0L+kWYPb6h5ULiYp22fINDbFH85z55J63WrfxMi1jQUdv/TYe43qzlUSLV4ie0rk7qyPNis+rbaxkRFQf1gWaHkW2ZTyLebq3Wu1X7glhxrcTkCptaCmTuFKL0o5Z8eapW/PrOYeastOSTenzSa+q0Rc5PLjSakl59ukbPz6VMvMRGLafEWCf1JhChqNWioj+U263G4ak7Kat1qsOT2kXE/uBndGqhZaQHURQZkazVZxo0pzIijnG+0eGpH7F0rVootAAgMWirPTiMVmIW8YZau1b9LsxhqrVVmrWfI/0eyanMm5IcIKaJWVpj8sQn7Z1UDk/N/h4xhOxXyZMfs8Ooa6N+QK12alLtRocxuMfjAegrN2ptR61Pcv/c95cew6yWqFH7LXaojWq02qaLnRFPAr3A7CfAOsh8jk3Xa10VTdfrW6HNGVKZblW1/Gxsoz4IogzShmLe64ba7MphroPcRWpFo9apSdZsUosza4mRVGUrLk90SN3Y1LKFWfkbyV5UWlOlLk6qM+K5s3oyvXokiEdhZQQwbjTVjV5doljDSo4kvgrr0DpEJzCvt1ULISqK1ylPjcF3XcfCIRaOHiPs/KDtMmazSHuCXnCt18H4D54DntTSiQWTmf94/kNKjNjrUX1c+EGtWrBarSx4DupD5KeNu9RGwqqL34rnN2WsdtJWqlatpcVD/3lSmy2Rpi6WPTzNIHVO6nuvfhbilZif9Fg8adQWU9pzxCVn9bPQN5HRx059nNrlWBDWSYFXKfMWNvWq0rrmOW6DWqRWy/Sgtqt1iOQ1eo1aa/2gpQIzlh6OW0nb22m+W+2rdQ6j0dWK51Y7RHs7LedV8saEjFgNudegqZAjpK5K7148U9jBPA9MfHOpQ5VqjOuLfZeaPal9kJhx7ntV6fhGlepTOzU7jEd3WvPkuEFz0cTjpFWSyC3GuHvVFF4rfCzQy3NaK62hlZasKXkr93lD9/tQct6gdXnUVq7XtgSzqeF/rqYN5Qotj1iJ2SGKdxdHzMKRtmJys95r+OR4xMtnbX1F9exN3WQkJUmu2uh+rKIgUbBNh0hSrxZycIhF3PSpZRwCFkJS2KmdmbXejWrnpO3b1FrYaxs1aFm+VuvZaHu5+oceEpSq1Ieq1KZJHwtzC+SeldYWmTGO8QvM5lnvbyO2peLnikUQi9xrOz+vjCB8+tckKzdpmzarpZQezZZSu+vcQb0eKeESAZQ5WEL2oftuaM9kdjnKIVamUc1Xz5Yee6vtongfrXpoaEfh6TQOT/ghh31qUzYd1vF4vE/ca/uIlm3W1nlymDfy+X8bTiIAEmGTuGSTPLVVKnelefWvVcvSJ48lq1G5/o57t1qPxP/vtX2VvuBdx9/8u10C7s/J3X+P373XNlW85Vm9ihwLfKgkrqYLs8jv+xPb3mscRfoG0qPCcxiIrkjfFfNosTpLrXWm0folZRjzqMUiSQuX1RDPvlMPE6NoaEvFYvTqGW+qjzUka4D2ZNJ2XsrspL6/PKvX6n0mtUZ9SmXnMNaCVZ6yly/WFzFgRGfQ58AM6lH9FESXZv2lSn7yzRLSq8fTp/4Gnk+VSGStPnudarf0wDAetan3EN8A43lzarU3HVZV2NB+3qTe5GZq11ef34PXLGtQbaqOs8Nsx1p7poh9SU9A/Ij6k/xtqI9WO4xczFpWqlSS5Rli+EV5/YzWYQyjV28G9rbRa8u4GeJNm1rzNxzms0vLh1UkNpzMu560VIxaM8XDlPLbaCsmXgZG+jA/b1ixILJf+sCDtkiybtLNCNqoaam1FR91z+r17xpJxDMvEgFptA8vucd6FyhBs0P8FmP94U+imrXDfAK51qA9ijzPYta7YpxO0tpqqyD9rUq1Fx9PvGw8kzw7RL1HtVvo1eB5oPVGoKTO3hyBqpO/DpawiphPjliztDbibXRqaaUP3Gp9qR1GOFctHEZj4clIDL5RjySP2E5qkW+O8oj1GpLmEsfBvAGM8klrOSkFqVky9jVpKzRrjyD3XvBMRKUWRuiO2vZL7Fa0bbUkjeoNSy2fXX6GHDlo1fuetO4hviDRS4xbyEhzfvpP7i59aoz9iZ3HCgSDy2NMrVqu/Gww2qdBbTHGgjBT/lr9WEmflKBe7Q1mAg3q03eqK0bUMftZ4iaNtvHw1SWmiCfvJGIjPSPx/2XUe7U2SOskUdhWPULMUbjZcsJiDWqDMXNH/H/MARErXWtvpE72RNrGKtm1UXuQmL0v5b1S+12rx445jrVet3eIWkxqJeExT+rbSn9oU1tGSTHWmJR0tarHoCVE+hJtqh2r8yCqG79U6j3LKEuT2hE8WYXWEhEOjIJUes1Oj7k9CoK8ycinjGJJ7ArPlEpMstY6IWu+9Q4zYaSlk3RILwJ3lh7F7NC7khYFPoRY61Z7WNIWiO2btU/U67Xr1PPBuK60OY1DPxjHdFrPJK7WqYXvtMQj9or5j10qQ5vqO00uP3H86+ZCdOpziUXrU+rQSmHNDolhbjr0i8VjnbWMtW7T4QmlXts7sbCb2hZILA99EIn1Sw1r9KqIQY+pDGFWf6c9lbxaSuUwg0MiWVUqWfl5AunVwC8U/wKzWCV+mCNDndoXrHvX6dXb9Ls884i1BXK/QcY+ENPDM6DiaXd6fazWlNsUiZrlGFG18oennWVmTqethbSOtcNaWpPDmhdSGuRuYhMmh7WNW4cxTplhInayT+nHXITa5fkpnVpsaYEwYjBryyAxeYwRSTRFRr/GFY8Zlki8r1nbPUQSEUHDbBx42eKPSp8QZb9zWNWzc4hpTGrjQUiY1trmYJy6Ui8Sz0vVaoVmzavE33uHta0mpd6pn3DTD9hINhzcZm2HxWpivFzKKCKek4P3jzmqQ/ISpQVEZENqIJ7EEh+p0dYO/SewxwymyiH6WWlty0/pNqm9aLSWSF829yDGVK+lBKF9wPyANqUTkTCMYs7aask8lc5hdij61UJYWoVGey2NwyyQIdWBPBYnHoKMYmHV4Q2H8bkmlgqZKyitZLYkUjalBzBqKUfUfkgpx7MYmK+FWWeNwxq5iI2PLke7kDOh2qSS8Fj/e0NbU5lPMmiJET8Ma0VI5B9WrNHWc9QamK3FqNYCs1YwslA5rIaKMSnM0kKbuP5cNYzryupK6FW3WkY7hxXPZc5ro3lqlBfmnz82V018Z+nFNZpGaefEH5LedeUw03DUEoQ5StcO88Tz8yuj1uncHjdaw/BsvaR8Sv77sFI+pP+ZRzHyHEyJmEvvSEon5jng6UqM0YvnNGr7h5FBrI3aq19WOUSbMdqGNcLm5BmjjyP+9ezWmZWGWdJN8oZkDVhED0WzzeSlDA4RzWzVpLeB3iXmM7UOTwr36gk1KZ/oJWNervhEsH0yFjOpj5mfEpGYQeMqTWevXLE+CCK6s9b2Tv2+1SeBK7VyGDms9b6z1hhpNTG3L/vxncPIeav1GW22+JFCCiubYKZLo+UYtgzPusE3lPyJ79NpXcZK44/NR5OVXVqtBVIy4engSYg6pap1eS7P6PD8icTApAcu7bxY587lVRar1IepUu2ftDXFGofoC2NujvSU8CTmhsP83DGVEGn5OodVFDYcnpCa1fPMs9awGuHSs9Iwf6XXcoDoEmJl0qLPWpdlJoaMIdQur/Yyq28qfkWneZd8iYcjo0Kza1Y8g0l9ofz8HmYwd1oCK21f0F9r1EtGmy82K48OZ39n9U5SAmuH52NlRF4I9NpPwupfGPUWDxHjA1J3J20bMVL++LMYYkUnrY2YByCRdqmLDz2ZUKsFkD6FWEHxAfBc7ePPLoh3P2qrJpHuShXA839SZqT129QzMTaFeGmrRAe19rgubBpKN7RA9EF4YWW5DW2nKvU0MCt/SpYNlrhX7hK9vDkquOGwptnoMBNBat7ksIZrttxD6gNVqkDnMANLeqt9Yis9sUFtKp61fIp/q2MSjZabTfUZYXnFY5y0ncOqmfkPq4E1qlyXON81WvHwH0YKe/XuNhMtRKLX+dtwj0e0Jfe3Y9Q3r/Jbxi9Xr/N43FTyPjrMdMJMGUQTa4cxZInxY7wA9rBXfxOxIJTS5kbqNpw8iSGe4aAtEEbAW7XYs/oU6JGhxXk8gvq4Dg9Hij7v73Ou9ltGk2+WiMeiJb3DKESl/h1iPJ3DHPNK65JEmOQ7nggYteyvkpS5nJV6pWK/8TQjejQSQd90GEXsHHqfKOtSBqUN3lRfWjwo6bWJT9E5zLCR+RKYnwWb+ng05bEysNoT3lB7MiVfFPE+6dHebzFu96hX/9bp60qNe7wnm/9+y6yCVQXW6Un16t2LvcCMMymBQgOzSDFjdHRY4R3z1qXN3HSIXQ0OcWpYAswkmV1+kmRweOIao5itw2xJKX9Y70lmbOH5llX2KEnSi630rPZGP2fDjeo5YSyocXiCB/0YzDN6qDf00N/neGmj/vXay5g076BwP8/173L7zHV8qvD3uDd087rrz2DBU8Di+2FmlYzK5qf3am0F8tgynijCc2kbrlGvT3htahmFz5TX3Rq01W219MKPbT/RBxFGrPoHzy3HLlutTxi5xFgCxgla7X1I72/TYUX+WtsIzNKd1P40Dis1bTg8M9FqfqS3M6g+ed2zRnuBmw5zbPNz4uhjixUV+4JZupi/vM4xubzIHNxeW+pGvfn20V8xU6lR+4UnZYQYVodb5xi0OYN6h5W2J1hz5uFfseaP9GPE+mxqHcCKJ48fIdYYbX2t6t9fR1dtuJQ3jEZuOqxFMjk8Hb3psNbdoG1QpzUDkbONB66zceeVNu651oZ7fMbrQ8/1flrzb9YZzFee1KLIuHheXXJKWkv9kHk1t/0geQYh1wU8LyMea37q6tMaPKjll2NmPX50WEmo1hrTp77xrLZFfG6sITVoSyitNerdp/Ze7jqp9UKUF+ucSI9aajvWZYCPNDrMhZdREvHQZ/WT8VY46ZvKOEynUaLp3r33txmPzS1f7xjEgKvUe8UzyXlF4VmtKyLr8NfwrGajLa6UOUTg0I/Odufh+2yscaeNR++14R6fDQ/KWJFS4q0SC8BM39VVWfPKADKCI1EqrI8r9rJTC9+q3cU7uOBHVuoP4OkXKYESaZa5ebNrXXejRG6k6ID47Vhj+b79UgZlzB4zCeQTRrjbtY749A8rUOO9fnherde2S6wRZrFhVQ5p63ot0ZJnaWkRscJM91FrGdrL26nYUL+oVx8Oqxh2SW3EA/FUQV7jB7OdOi1p0lYPLs99RJQaTw2KRzE7xCFa9Rgxy29IPg5Wid1wWCVLPDmx0XjOB28nkLdAyHharx6IlMzcJm04icm26o10ag16hzla0hJg5letbQVme+DdNY16TvJUtUSBJc6JFeo31HfCjExpU6SHi3F1mWEjcUSJQGxqGcDsAkSRJQ/CEU+gzskjGLSNkFZKnsyc1VuuU9v28DN2G9qijQ6j9cK119KL+ZDSvx615udVusQK1lpWK60FWEUG8xoww2B41BfYSGVKrIeMQGH+dZ+88E2HdZzl995h9miX2jKsIoyn8mWFgk21YqPD+v6rf1AVz3ahjfq05mCtiNGtznNrtS5ifBDv3pJSO6n1XY1x3q8Eanqb6LRqIfCmBYyRycgrZn3VDs/8iv3If5PW0vxU16A9lcblsYVebcLtfNd6b4nRNOoVYz1paR9Gl+cNIWaRVweTOWt4Rh5PVyLOe/e1N9a4+saD18dTJA89lXeX/lhfstU6I2MwjfYnMTOzdeiVbTqsxykjJpPWiNFh3qL0h27qKvNiZMxZbCDWaMFMZonNYF0GjBtfq90QC3bzr3ZYOfnudLR3pAPjSZXDHJDrFYuC9lquhyfCET2Tuaijy2O8g8Nboepk9cWf3NQjZWxfWnN4vKP2tWSeVOWwzuCoNQH2Z1AlsN746DDGLqPQYg3EK/u0HN+s73c/Pf94RPzuP5lngzGUPFKNldM/vf/d65Gt/sms0bwusFjvST2NWfOKOeMytid2oNJ2AeO8lcNqBYO2ho2WJsxImd2nsZv7/aKHvKYN9/jz2+IxPt7urtOm3t9ejsnKPH6nddrvh1vnUevs421vpXQxD75yGDOWNlcIy+yBTls8zP/6tCTJjDaxQI3DPMJJPbL8LHyjVh4RyE7b/E97bRsO88nwBDueN8Y6nfDQJK35yYBGfcbbUWdRScbvMfKT57e3LkclMLqT39CIZ+1bh3mOlcuzuFdbKfAT/VvtWWOdTzyXgBFmeHaz2h6sdbp6xV7/Bo1nIFV5TZ8mnSmjDHiH6qyek8SzRtUTsXXMa0L7jCcHJHerduuutRbP3YXfc+H3nKc1Fq9/9T+xQe1ae//If3/sHfPVH7/P8nm3/O/z1Pj12q1bDpdKz+9Ten5rah/as/5vd+1/Op/+2Bz817n6Q98eK8HlKZcsXb9Ogd+q2x+hu12WFtX69bWr/KeS6VmnfXzMzqzbxn5u7f2c9ns96p/Xjn9u6n99rn6b5frtvs36ftbvUfd+f66/lumv99g+r658Xu36PevuEnR/jb6/tr5+rk3/dbbt80rOr7cfv9+9fuu/dcvFH1+q+Ymf+OmP+fRrW9Rf3y6Uz/Pn6PB0Pq1nd/8rafRHl93f5gfZYP5f5dN/xbL7eb7s5/mr5XP4uam3VmL+u1vW+718lksbrJcpl5/fv/utV1+/t/x5Zffz9titnevXsd9H0c+jaKdG/jEl9vcrV8tbm8+x6et4KL+W/WO17Y9V7I8oseuq8ZjN+2MsrU3drNZy67p9Tp39o/LyW0mWrIPL293/vp/+CB1+7/KyVKrW9RU+p539o8r5H+OJ/f6Wb+nr/NayE+b8fjrH96/uo/8U9n4bf9lzW+7M//3o/4Xff91zC/zjH//4xz/+8Y9//OMf//74v+DjP+zPhyNexSP+lp7/C3tl37/HXsG+P/bYnfrvx/68E3068Nj9v3isrPckvQnsC72IPX9G+PS93/OveK/n/kr7/gqX/hoX7k+u1rUGKvcXn9a7f+3v/RVPVT/0a33Pr50+V373r/ODqZr12ef7fq0fPLd58Nf2wV/vT7M8Wd/ck1+sYHzfuQ/lt1W+9/96f45a5XD/r/fnSJ4Nvv/X5gEKsoJSd8+vovJ952IV84d+bR78tX3k17sZya/3pxmr4N//6/jIr8ODv44P/jrf++v9ZQO/3pdfrCtx969Ybf/uXx8qsfj17vu+cP/p3rvX/lvYG2zjXUe99se999bv2B367XO3E//fXuPYF37/Wfx+4D743x8/4437+pHj30Zb/HiqcdxX7p/+mPDppd/z8LE7fu+V37Y+1d8+eORubB8OohLnMV504f+/64yv/eeLeNx+bDve+zbnF98arHfs1/4+vyQlHz7n7hTj9xe+FduN29DyHcRW7MRrs945lzE6FtR+OJc4I+TxyN/hg//3mDI456VP04E//p/+zLvZ3z7jlftyreNCGVvnuDf++3qKfOXT+UPM255P9b/WOued/3YUlV/n6G3vg6x3XPBfvov6/bxmGcjnoHasc9aOT/vJmsfuxvK790g5x9Ffx2NPHjl2z5ejo0eOCSX0o///4aNuWqXHy0c48nClNr6Nnt/jdfL2edt++3BZeemP2E9l6+FjX/ucnvrjjx9JRbCU5zGte9Fm3m0DcfQ7n6/XjxxxGHO15X7yvwVfOPC+9NtTn+6H0yx1IDNY13rePu+Nv++ep7fOOVtRp3WOlLZIWoF1jpfW6nPzsOtL/fMHj3y8nMgRj5dcHIcSKK3m42cE+/CD/3voSLSWj6Uh2A2U02Bx9mLL87Ad2Yl9rQt/xqX//fFjrz6zZcvnrNuy4YzPadlwzvotG854rGXDcetof7VWy4YjP6dlwznrtWw4+rGWLR+3fsv26TnrtGw4a73WCkev01rhmEBSynsgcP5IefnGXdyy/VvxCPn+J3/eK3+dQPOd+8Jtevbbaxz177GVffy4V740vVnjuNe+/fvbGsf9h//9/I7jXsTW8zxamOfRymzeOvcvMYKSYyV/vbUeE1YWl5VcZUXa1l2nFRLlPc2Vu9bVv2SdaFlJSt5pIO9JknXe+nikrM3d6aq48tZNvPNNVsG9jv0wGV+WtdvwxuH8bqxet/IrVvTEe+sr3coI9RyPuXZYFz5ca3SySqHskf/xhnVZp1jW0ZNfZGUsOR8paJ2sjCnr14WrT07WuJfRblnXWd4XKOvTXTt5Z4K8iS6/IVPeKHetK4nKm1LxzvnWXTu8RU2uLHeUVIpiopPkVY4RhWWlcVFKiEiusZq2vBPk2uGtTJIjeQdp5WSFz3CkvGNTlG6drJUvq5vLqtvXumKlrEcm75jpdR3T1l3runiy1r2s/ijvzx20VEiqJOWSqmvV41rL2XWMB921XtifV2J+N397Hv3TM18XnrkN/y/YhWApnmn/9Dzah2+9DZOW6aN63WH/i3jmafxf2rpnvraEq8OzC0eFNv5K28/Vs8UbPYh1L5z5P/1Z4hk987Xvx3jOmf8V5zzzViPsufI1F9d+5e/1o2/7wj2fxTuFVPwzpedbzdE//Tnnsc7v63liBf/s/leyhP/bH/tjzPm/x6NP43658o8+pdi/7z+987+KMv9csZDPkiLP1JL86I/ec4jNisKvvX29qe7nXwOtyep10NYcRA/lWcxjiBscxLP+l/bzoff//uTO12r3Jcfo31xHD+ksWr+L6OP+EGntxvtcRu8mpE3SIPGIZ7dalHO/ZyceH7yOq3SVsP8wpvqj/yRRjmfR4zvTFEGBn1OJCmcEfaSkfRupSL9JlJGW7tt4pHiEN/P13DPfWSkrZ06iNqfxDrdVyJ7EM/X1z1JpfO2v9OKenK1/lVVv/Tr6T880+nS4ktqrqFX4tn3HUbhm0A51+U0sZdDm03Nu/56vIfXymfrmz9RXv5nSZ550LpMhl59/hV13obX0+tYvX/pPP0S2YI341n3W5Fmszc9iv+9DHOv4NvbIzlLJXOUh/eUNTfGzZImEy7cp5RLNuzv9j6XkP/zZx8r4b/rrZbz+Q+c+j2XoOFpQ1LTP1UBS+WPst4u+4Y6rZfA+i7w+hftK95uo7D+jZmHPx09Uu1kXb1sJ6e1l+3DX8Wex7QrpumnRbh99u6atRxk2We60aidEL7QRN+uPpOVCWyypD+taAMQOYInvKrFS89e1WrfvAKtwfE/axZLdvMZ92txm9FDNelz7XLegwvW917idixfRoznWe8voprT3B7HtEhVhZS7dRTz/X2qxz9WXkByc6TmXesSup7WXauvDv396vb/FvoSU6r177nmzRAjLcL0jLc/H8bibHG56K9faUkKfFzdKRNDrMpaTI1XjWfzlW61HEis71xL3o1qOu/28u+zFM+1/ii+56p/czulX0S79qJ7Cv+6oU9d6rXDly5jSjZj+v63YnPN7jrodZbn7KIkigMZ997vpP30V9drz1zxIub77zE89zLt81bvOfKlxqPMVOlt61MW9Z6E3f77ie4v6991lNd4Tvoezflb/8CHdbmuy/pk3I1nPUi/7MnJ46MxX8Z6XqsaXqssPD56DUgJPPUdQ7j5+tfZ9SmrVot08+9zBh7/PDr+I9fNiJSUov7lUr3PUOmXxsausx/1z0/LrrnJXL+zx9D9WOx67wu2acn</a:t>
            </a:r>
          </a:p>
        </p:txBody>
      </p:sp>
      <p:sp>
        <p:nvSpPr>
          <p:cNvPr id="48" name="WORKBKFUNCTIONCACHE1" hidden="1">
            <a:extLst>
              <a:ext uri="{FF2B5EF4-FFF2-40B4-BE49-F238E27FC236}">
                <a16:creationId xmlns:a16="http://schemas.microsoft.com/office/drawing/2014/main" id="{00000000-0008-0000-0300-000005000000}"/>
              </a:ext>
            </a:extLst>
          </p:cNvPr>
          <p:cNvSpPr txBox="1">
            <a:spLocks noChangeArrowheads="1"/>
          </p:cNvSpPr>
          <p:nvPr/>
        </p:nvSpPr>
        <p:spPr bwMode="auto">
          <a:xfrm>
            <a:off x="2407152" y="3232317"/>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Gjrjx29qe25bEzHiqHj517O9L5+BmP1ZTHzscIGvz3h49ev848dKXP73eF8YnVtuv6hjcSUgaPYbWtXIfuTQuVe9I3/aA8qnWgKbjPn/10ZOu2j/qpTmF8MBA8vtXLR+pv30NGu0T3/y9eH6NeuWWGVnkU7C6fcnUcJJ+Tx0MOosWRfNw8czUufKyKPuyLB89C4jkX6nVIL+G2OiFNG75nf6bpwXF3RS9uR3seU+72WOb9R2arsRdtHq58d9ToU1VXR4ouk/V4TCMpn7nPGuj+X7X58m213IPXF/F6B7FM3FVacj2ScccQTflXLOmS1h9cjpSt6vFpv+dmj0AswmU8+jjGW9Y7B30NRIruatlQF296yajl76KGYP5w+fjUa71pI+4+5q6rrZuSm9dHLh+ON65aph817nM70nBT109TeDeRl/Gu2Rq90H7LP93BZ14Z3B735u/WD0o81J+53eP7T3cQU/vszrPvinP/93w+7nNmEt8/a/jP6dzd6FWcxTIjvxzGNirbwhfRMh7F3/9/nCUMKA==&lt;/compressed&gt;</a:t>
            </a:r>
          </a:p>
          <a:p>
            <a:pPr algn="l" rtl="0">
              <a:defRPr sz="1000"/>
            </a:pPr>
            <a:endParaRPr lang="en-US" sz="1000" b="0" i="0" u="none" strike="noStrike" baseline="0">
              <a:solidFill>
                <a:srgbClr val="000000"/>
              </a:solidFill>
              <a:latin typeface="Arial"/>
              <a:cs typeface="Arial"/>
            </a:endParaRPr>
          </a:p>
          <a:p>
            <a:pPr algn="l" rtl="0">
              <a:defRPr sz="1000"/>
            </a:pPr>
            <a:endParaRPr lang="en-US" sz="1000" b="0" i="0" u="none" strike="noStrike" baseline="0">
              <a:solidFill>
                <a:srgbClr val="000000"/>
              </a:solidFill>
              <a:latin typeface="Arial"/>
              <a:cs typeface="Arial"/>
            </a:endParaRPr>
          </a:p>
        </p:txBody>
      </p:sp>
      <p:pic>
        <p:nvPicPr>
          <p:cNvPr id="313388" name="WORKBKFUNCTIONCACHE" hidden="1">
            <a:extLst>
              <a:ext uri="{FF2B5EF4-FFF2-40B4-BE49-F238E27FC236}">
                <a16:creationId xmlns:a16="http://schemas.microsoft.com/office/drawing/2014/main" id="{37C14F0D-F81B-41DB-B9F0-0F7062ECA0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19200" y="152400"/>
            <a:ext cx="714375"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6" name="object 45">
            <a:extLst>
              <a:ext uri="{FF2B5EF4-FFF2-40B4-BE49-F238E27FC236}">
                <a16:creationId xmlns:a16="http://schemas.microsoft.com/office/drawing/2014/main" id="{1627892C-3258-16C7-632F-4E09DD9A1CD4}"/>
              </a:ext>
            </a:extLst>
          </p:cNvPr>
          <p:cNvSpPr txBox="1"/>
          <p:nvPr/>
        </p:nvSpPr>
        <p:spPr>
          <a:xfrm>
            <a:off x="953729" y="1185383"/>
            <a:ext cx="10441857" cy="335348"/>
          </a:xfrm>
          <a:prstGeom prst="rect">
            <a:avLst/>
          </a:prstGeom>
          <a:solidFill>
            <a:srgbClr val="D86018"/>
          </a:solidFill>
        </p:spPr>
        <p:txBody>
          <a:bodyPr vert="horz" wrap="square" lIns="0" tIns="57785" rIns="0" bIns="0" rtlCol="0">
            <a:spAutoFit/>
          </a:bodyPr>
          <a:lstStyle/>
          <a:p>
            <a:pPr marL="898525" algn="ctr">
              <a:lnSpc>
                <a:spcPct val="100000"/>
              </a:lnSpc>
              <a:spcBef>
                <a:spcPts val="455"/>
              </a:spcBef>
            </a:pPr>
            <a:r>
              <a:rPr lang="en-US" sz="1800" b="1" spc="-5" dirty="0">
                <a:solidFill>
                  <a:srgbClr val="FFFFFF"/>
                </a:solidFill>
                <a:latin typeface="Noto Sans"/>
                <a:cs typeface="Noto Sans"/>
              </a:rPr>
              <a:t>Key Events</a:t>
            </a:r>
            <a:endParaRPr sz="1800" dirty="0">
              <a:latin typeface="Noto Sans"/>
              <a:cs typeface="Noto Sans"/>
            </a:endParaRPr>
          </a:p>
        </p:txBody>
      </p:sp>
      <p:sp>
        <p:nvSpPr>
          <p:cNvPr id="61" name="TextBox 60">
            <a:extLst>
              <a:ext uri="{FF2B5EF4-FFF2-40B4-BE49-F238E27FC236}">
                <a16:creationId xmlns:a16="http://schemas.microsoft.com/office/drawing/2014/main" id="{F7808179-88FF-31A1-8428-9A1AC6C0D7FD}"/>
              </a:ext>
            </a:extLst>
          </p:cNvPr>
          <p:cNvSpPr txBox="1"/>
          <p:nvPr/>
        </p:nvSpPr>
        <p:spPr>
          <a:xfrm>
            <a:off x="312358" y="2124265"/>
            <a:ext cx="2827910" cy="1329269"/>
          </a:xfrm>
          <a:prstGeom prst="rect">
            <a:avLst/>
          </a:prstGeom>
          <a:noFill/>
          <a:ln>
            <a:noFill/>
          </a:ln>
        </p:spPr>
        <p:txBody>
          <a:bodyPr wrap="square" lIns="0" tIns="0" rIns="0" bIns="0" rtlCol="0" anchor="t" anchorCtr="0">
            <a:noAutofit/>
          </a:bodyPr>
          <a:lstStyle/>
          <a:p>
            <a:pPr marL="457200" indent="-457200" algn="l">
              <a:lnSpc>
                <a:spcPts val="3500"/>
              </a:lnSpc>
              <a:buFont typeface="Arial" panose="020B0604020202020204" pitchFamily="34" charset="0"/>
              <a:buChar char="•"/>
            </a:pPr>
            <a:endParaRPr lang="en-US" sz="3200" dirty="0">
              <a:latin typeface="+mn-lt"/>
              <a:cs typeface="Etelka Text Pro"/>
            </a:endParaRPr>
          </a:p>
        </p:txBody>
      </p:sp>
      <p:sp>
        <p:nvSpPr>
          <p:cNvPr id="63" name="Rectangle 62">
            <a:extLst>
              <a:ext uri="{FF2B5EF4-FFF2-40B4-BE49-F238E27FC236}">
                <a16:creationId xmlns:a16="http://schemas.microsoft.com/office/drawing/2014/main" id="{3ACAEB86-DE06-DB1A-B5E5-3E318D0B70C4}"/>
              </a:ext>
            </a:extLst>
          </p:cNvPr>
          <p:cNvSpPr/>
          <p:nvPr/>
        </p:nvSpPr>
        <p:spPr>
          <a:xfrm>
            <a:off x="1031769" y="2124265"/>
            <a:ext cx="10285775" cy="5909310"/>
          </a:xfrm>
          <a:prstGeom prst="rect">
            <a:avLst/>
          </a:prstGeom>
        </p:spPr>
        <p:txBody>
          <a:bodyPr wrap="square" lIns="0" tIns="0" rIns="0" bIns="0" numCol="2" anchor="t">
            <a:spAutoFit/>
          </a:bodyPr>
          <a:lstStyle/>
          <a:p>
            <a:r>
              <a:rPr lang="en-US" sz="1200" b="1" dirty="0">
                <a:latin typeface="Noto Sans" panose="020B0502040504020204" pitchFamily="34" charset="0"/>
              </a:rPr>
              <a:t>	Major News: </a:t>
            </a:r>
          </a:p>
          <a:p>
            <a:endParaRPr lang="en-US" sz="1200" dirty="0">
              <a:latin typeface="Noto Sans" panose="020B0502040504020204" pitchFamily="34" charset="0"/>
            </a:endParaRPr>
          </a:p>
          <a:p>
            <a:pPr marL="171450" indent="-171450" algn="just">
              <a:buFont typeface="Arial" panose="020B0604020202020204" pitchFamily="34" charset="0"/>
              <a:buChar char="•"/>
            </a:pPr>
            <a:r>
              <a:rPr lang="en-US" sz="1200" dirty="0">
                <a:latin typeface="Noto Sans" panose="020B0502040504020204" pitchFamily="34" charset="0"/>
              </a:rPr>
              <a:t>Menzies has been awarded 7 ground handling licenses by the Spanish Airport Authority (“AENA”) for a period of seven years during which they will provide full ramp and passenger services at these airports from early 2024 to 2031. </a:t>
            </a:r>
          </a:p>
          <a:p>
            <a:pPr marL="171450" indent="-171450" algn="just">
              <a:buFont typeface="Arial" panose="020B0604020202020204" pitchFamily="34" charset="0"/>
              <a:buChar char="•"/>
            </a:pPr>
            <a:endParaRPr lang="en-AU" sz="1200" dirty="0">
              <a:latin typeface="Noto Sans" panose="020B0502040504020204" pitchFamily="34" charset="0"/>
            </a:endParaRPr>
          </a:p>
          <a:p>
            <a:pPr marL="171450" indent="-171450" algn="just">
              <a:buFont typeface="Arial" panose="020B0604020202020204" pitchFamily="34" charset="0"/>
              <a:buChar char="•"/>
            </a:pPr>
            <a:endParaRPr lang="en-AU" sz="1200" dirty="0">
              <a:latin typeface="Noto Sans" panose="020B0502040504020204" pitchFamily="34" charset="0"/>
            </a:endParaRPr>
          </a:p>
          <a:p>
            <a:pPr marL="171450" indent="-171450" algn="just">
              <a:buFont typeface="Arial" panose="020B0604020202020204" pitchFamily="34" charset="0"/>
              <a:buChar char="•"/>
            </a:pPr>
            <a:endParaRPr lang="en-AU" sz="1200" dirty="0">
              <a:latin typeface="Noto Sans" panose="020B0502040504020204" pitchFamily="34" charset="0"/>
            </a:endParaRPr>
          </a:p>
          <a:p>
            <a:pPr marL="171450" indent="-171450" algn="just">
              <a:buFont typeface="Arial" panose="020B0604020202020204" pitchFamily="34" charset="0"/>
              <a:buChar char="•"/>
            </a:pPr>
            <a:r>
              <a:rPr lang="en-AU" sz="1200" dirty="0">
                <a:latin typeface="Noto Sans" panose="020B0502040504020204" pitchFamily="34" charset="0"/>
              </a:rPr>
              <a:t>Agility has signed a </a:t>
            </a:r>
            <a:r>
              <a:rPr lang="en-US" sz="1200" dirty="0">
                <a:latin typeface="Noto Sans" panose="020B0502040504020204" pitchFamily="34" charset="0"/>
              </a:rPr>
              <a:t>memorandum of understanding signed with the Ministry of Investment of the Kingdom of Saudi Arabia (</a:t>
            </a:r>
            <a:r>
              <a:rPr lang="en-US" sz="1200" dirty="0">
                <a:latin typeface="Noto Sans" panose="020B0502040504020204" pitchFamily="34" charset="0"/>
                <a:hlinkClick r:id="rId8">
                  <a:extLst>
                    <a:ext uri="{A12FA001-AC4F-418D-AE19-62706E023703}">
                      <ahyp:hlinkClr xmlns:ahyp="http://schemas.microsoft.com/office/drawing/2018/hyperlinkcolor" val="tx"/>
                    </a:ext>
                  </a:extLst>
                </a:hlinkClick>
              </a:rPr>
              <a:t>MISA</a:t>
            </a:r>
            <a:r>
              <a:rPr lang="en-US" sz="1200" dirty="0">
                <a:latin typeface="Noto Sans" panose="020B0502040504020204" pitchFamily="34" charset="0"/>
              </a:rPr>
              <a:t>) to explore areas of collaboration to strengthen the healthcare sector in the kingdom.</a:t>
            </a:r>
          </a:p>
          <a:p>
            <a:pPr marL="171450" indent="-171450" algn="just">
              <a:buFont typeface="Arial" panose="020B0604020202020204" pitchFamily="34" charset="0"/>
              <a:buChar char="•"/>
            </a:pPr>
            <a:endParaRPr lang="en-US" sz="1200" dirty="0">
              <a:latin typeface="Noto Sans" panose="020B0502040504020204" pitchFamily="34" charset="0"/>
            </a:endParaRPr>
          </a:p>
          <a:p>
            <a:pPr marL="171450" indent="-171450" algn="just">
              <a:buFont typeface="Arial" panose="020B0604020202020204" pitchFamily="34" charset="0"/>
              <a:buChar char="•"/>
            </a:pPr>
            <a:endParaRPr lang="en-US" sz="1200" dirty="0">
              <a:latin typeface="Noto Sans" panose="020B0502040504020204" pitchFamily="34" charset="0"/>
            </a:endParaRPr>
          </a:p>
          <a:p>
            <a:pPr marL="171450" indent="-171450" algn="just">
              <a:buFont typeface="Arial" panose="020B0604020202020204" pitchFamily="34" charset="0"/>
              <a:buChar char="•"/>
            </a:pPr>
            <a:endParaRPr lang="en-US" sz="1200" dirty="0">
              <a:latin typeface="Noto Sans" panose="020B0502040504020204" pitchFamily="34" charset="0"/>
            </a:endParaRPr>
          </a:p>
          <a:p>
            <a:pPr marL="171450" indent="-171450" algn="just">
              <a:buFont typeface="Arial" panose="020B0604020202020204" pitchFamily="34" charset="0"/>
              <a:buChar char="•"/>
            </a:pPr>
            <a:endParaRPr lang="en-US" sz="1200" dirty="0">
              <a:latin typeface="Noto Sans" panose="020B0502040504020204" pitchFamily="34" charset="0"/>
            </a:endParaRPr>
          </a:p>
          <a:p>
            <a:pPr marL="171450" indent="-171450" algn="just">
              <a:buFont typeface="Arial" panose="020B0604020202020204" pitchFamily="34" charset="0"/>
              <a:buChar char="•"/>
            </a:pPr>
            <a:endParaRPr lang="en-US" sz="1200" dirty="0">
              <a:latin typeface="Noto Sans" panose="020B0502040504020204" pitchFamily="34" charset="0"/>
            </a:endParaRPr>
          </a:p>
          <a:p>
            <a:pPr marL="171450" indent="-171450" algn="just">
              <a:buFont typeface="Arial" panose="020B0604020202020204" pitchFamily="34" charset="0"/>
              <a:buChar char="•"/>
            </a:pPr>
            <a:endParaRPr lang="en-US" sz="1200" dirty="0">
              <a:latin typeface="Noto Sans" panose="020B0502040504020204" pitchFamily="34" charset="0"/>
            </a:endParaRPr>
          </a:p>
          <a:p>
            <a:pPr algn="just"/>
            <a:endParaRPr lang="en-US" sz="1200" dirty="0">
              <a:latin typeface="Noto Sans" panose="020B0502040504020204" pitchFamily="34" charset="0"/>
            </a:endParaRPr>
          </a:p>
          <a:p>
            <a:pPr marL="171450" indent="-171450" algn="just">
              <a:buFont typeface="Arial" panose="020B0604020202020204" pitchFamily="34" charset="0"/>
              <a:buChar char="•"/>
            </a:pPr>
            <a:endParaRPr lang="en-US" sz="1200" dirty="0">
              <a:latin typeface="Noto Sans" panose="020B0502040504020204" pitchFamily="34" charset="0"/>
            </a:endParaRPr>
          </a:p>
          <a:p>
            <a:pPr marL="171450" indent="-171450" algn="just">
              <a:buFont typeface="Arial" panose="020B0604020202020204" pitchFamily="34" charset="0"/>
              <a:buChar char="•"/>
            </a:pPr>
            <a:endParaRPr lang="en-US" sz="1200" dirty="0">
              <a:latin typeface="Noto Sans" panose="020B0502040504020204" pitchFamily="34" charset="0"/>
            </a:endParaRPr>
          </a:p>
          <a:p>
            <a:pPr marL="171450" indent="-171450" algn="just">
              <a:buFont typeface="Arial" panose="020B0604020202020204" pitchFamily="34" charset="0"/>
              <a:buChar char="•"/>
            </a:pPr>
            <a:endParaRPr lang="en-US" sz="1200" dirty="0">
              <a:latin typeface="Noto Sans" panose="020B0502040504020204" pitchFamily="34" charset="0"/>
            </a:endParaRPr>
          </a:p>
          <a:p>
            <a:pPr marL="171450" indent="-171450" algn="just">
              <a:buFont typeface="Arial" panose="020B0604020202020204" pitchFamily="34" charset="0"/>
              <a:buChar char="•"/>
            </a:pPr>
            <a:endParaRPr lang="en-US" sz="1200" dirty="0">
              <a:latin typeface="Noto Sans" panose="020B0502040504020204" pitchFamily="34" charset="0"/>
            </a:endParaRPr>
          </a:p>
          <a:p>
            <a:pPr marL="171450" indent="-171450" algn="just">
              <a:buFont typeface="Arial" panose="020B0604020202020204" pitchFamily="34" charset="0"/>
              <a:buChar char="•"/>
            </a:pPr>
            <a:endParaRPr lang="en-US" sz="1200" dirty="0">
              <a:latin typeface="Noto Sans" panose="020B0502040504020204" pitchFamily="34" charset="0"/>
            </a:endParaRPr>
          </a:p>
          <a:p>
            <a:pPr marL="171450" indent="-171450" algn="just">
              <a:buFont typeface="Arial" panose="020B0604020202020204" pitchFamily="34" charset="0"/>
              <a:buChar char="•"/>
            </a:pPr>
            <a:endParaRPr lang="en-US" sz="1200" dirty="0">
              <a:latin typeface="Noto Sans" panose="020B0502040504020204" pitchFamily="34" charset="0"/>
            </a:endParaRPr>
          </a:p>
          <a:p>
            <a:pPr marL="171450" indent="-171450" algn="just">
              <a:buFont typeface="Arial" panose="020B0604020202020204" pitchFamily="34" charset="0"/>
              <a:buChar char="•"/>
            </a:pPr>
            <a:endParaRPr lang="en-US" sz="1200" dirty="0">
              <a:latin typeface="Noto Sans" panose="020B0502040504020204" pitchFamily="34" charset="0"/>
            </a:endParaRPr>
          </a:p>
          <a:p>
            <a:pPr marL="171450" indent="-171450" algn="just">
              <a:buFont typeface="Arial" panose="020B0604020202020204" pitchFamily="34" charset="0"/>
              <a:buChar char="•"/>
            </a:pPr>
            <a:endParaRPr lang="en-US" sz="1200" dirty="0">
              <a:latin typeface="Noto Sans" panose="020B0502040504020204" pitchFamily="34" charset="0"/>
            </a:endParaRPr>
          </a:p>
          <a:p>
            <a:pPr marL="171450" indent="-171450" algn="just">
              <a:buFont typeface="Arial" panose="020B0604020202020204" pitchFamily="34" charset="0"/>
              <a:buChar char="•"/>
            </a:pPr>
            <a:endParaRPr lang="en-AU" sz="1200" dirty="0">
              <a:latin typeface="Noto Sans" panose="020B0502040504020204" pitchFamily="34" charset="0"/>
            </a:endParaRPr>
          </a:p>
          <a:p>
            <a:pPr marL="171450" indent="-171450" algn="just">
              <a:buFont typeface="Arial" panose="020B0604020202020204" pitchFamily="34" charset="0"/>
              <a:buChar char="•"/>
            </a:pPr>
            <a:endParaRPr lang="en-AU" sz="1200" dirty="0">
              <a:latin typeface="Noto Sans" panose="020B0502040504020204" pitchFamily="34" charset="0"/>
            </a:endParaRPr>
          </a:p>
          <a:p>
            <a:pPr marL="171450" indent="-171450" algn="just">
              <a:buFont typeface="Arial" panose="020B0604020202020204" pitchFamily="34" charset="0"/>
              <a:buChar char="•"/>
            </a:pPr>
            <a:endParaRPr lang="en-AU" sz="1200" dirty="0">
              <a:latin typeface="Noto Sans" panose="020B0502040504020204" pitchFamily="34" charset="0"/>
            </a:endParaRPr>
          </a:p>
          <a:p>
            <a:pPr marL="171450" indent="-171450" algn="just">
              <a:buFont typeface="Arial" panose="020B0604020202020204" pitchFamily="34" charset="0"/>
              <a:buChar char="•"/>
            </a:pPr>
            <a:endParaRPr lang="en-AU" sz="1200" dirty="0">
              <a:latin typeface="Noto Sans" panose="020B0502040504020204" pitchFamily="34" charset="0"/>
            </a:endParaRPr>
          </a:p>
          <a:p>
            <a:pPr lvl="1" algn="just"/>
            <a:r>
              <a:rPr lang="en-AU" sz="1200" dirty="0">
                <a:latin typeface="Noto Sans" panose="020B0502040504020204" pitchFamily="34" charset="0"/>
              </a:rPr>
              <a:t>               </a:t>
            </a:r>
            <a:r>
              <a:rPr lang="en-US" sz="1200" b="1" dirty="0">
                <a:latin typeface="Noto Sans" panose="020B0502040504020204" pitchFamily="34" charset="0"/>
                <a:ea typeface="Noto Sans" panose="020B0502040504020204" pitchFamily="34" charset="0"/>
                <a:cs typeface="Noto Sans" panose="020B0502040504020204" pitchFamily="34" charset="0"/>
              </a:rPr>
              <a:t>Legal Dispute:</a:t>
            </a:r>
          </a:p>
          <a:p>
            <a:pPr lvl="1" algn="just"/>
            <a:endParaRPr lang="en-US" sz="1200" dirty="0">
              <a:latin typeface="Noto Sans" panose="020B0502040504020204" pitchFamily="34" charset="0"/>
              <a:ea typeface="Noto Sans" panose="020B0502040504020204" pitchFamily="34" charset="0"/>
              <a:cs typeface="Noto Sans" panose="020B0502040504020204" pitchFamily="34" charset="0"/>
            </a:endParaRPr>
          </a:p>
          <a:p>
            <a:pPr marL="1085850" lvl="2" indent="-171450" algn="just">
              <a:buFont typeface="Arial" panose="020B0604020202020204" pitchFamily="34" charset="0"/>
              <a:buChar char="•"/>
            </a:pPr>
            <a:r>
              <a:rPr lang="en-US" sz="1200" dirty="0">
                <a:latin typeface="Noto Sans" panose="020B0502040504020204" pitchFamily="34" charset="0"/>
                <a:ea typeface="Noto Sans" panose="020B0502040504020204" pitchFamily="34" charset="0"/>
                <a:cs typeface="Noto Sans" panose="020B0502040504020204" pitchFamily="34" charset="0"/>
              </a:rPr>
              <a:t>Agility continues to face some uncertainty related to some of the land contracts leased from the Public Authority for Industry, Agility believes its contracts have been legally renewed and has filed several legal cases. Agility will continue to pursue those claims to protect its rights and the rights of its shareholders. </a:t>
            </a:r>
          </a:p>
          <a:p>
            <a:pPr marL="1085850" lvl="2" indent="-171450" algn="just">
              <a:buFont typeface="Arial" panose="020B0604020202020204" pitchFamily="34" charset="0"/>
              <a:buChar char="•"/>
            </a:pPr>
            <a:endParaRPr lang="en-US" sz="1200" dirty="0">
              <a:latin typeface="Noto Sans" panose="020B0502040504020204" pitchFamily="34" charset="0"/>
              <a:ea typeface="Noto Sans" panose="020B0502040504020204" pitchFamily="34" charset="0"/>
              <a:cs typeface="Noto Sans" panose="020B0502040504020204" pitchFamily="34" charset="0"/>
            </a:endParaRPr>
          </a:p>
          <a:p>
            <a:pPr marL="1085850" lvl="2" indent="-171450" algn="just">
              <a:buFont typeface="Arial" panose="020B0604020202020204" pitchFamily="34" charset="0"/>
              <a:buChar char="•"/>
            </a:pPr>
            <a:endParaRPr lang="en-US" sz="1200" dirty="0">
              <a:latin typeface="Noto Sans" panose="020B0502040504020204" pitchFamily="34" charset="0"/>
              <a:ea typeface="Noto Sans" panose="020B0502040504020204" pitchFamily="34" charset="0"/>
              <a:cs typeface="Noto Sans" panose="020B0502040504020204" pitchFamily="34" charset="0"/>
            </a:endParaRPr>
          </a:p>
          <a:p>
            <a:endParaRPr lang="en-US" sz="1200" dirty="0">
              <a:latin typeface="Noto Sans" panose="020B0502040504020204" pitchFamily="34" charset="0"/>
              <a:ea typeface="Noto Sans" panose="020B0502040504020204" pitchFamily="34" charset="0"/>
              <a:cs typeface="Noto Sans" panose="020B0502040504020204" pitchFamily="34" charset="0"/>
            </a:endParaRPr>
          </a:p>
        </p:txBody>
      </p:sp>
      <p:pic>
        <p:nvPicPr>
          <p:cNvPr id="9" name="Graphic 8" descr="Handshake with solid fill">
            <a:extLst>
              <a:ext uri="{FF2B5EF4-FFF2-40B4-BE49-F238E27FC236}">
                <a16:creationId xmlns:a16="http://schemas.microsoft.com/office/drawing/2014/main" id="{2728E89A-BB32-751D-6F19-D5CAF9416BD9}"/>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145655" y="1839069"/>
            <a:ext cx="734217" cy="734217"/>
          </a:xfrm>
          <a:prstGeom prst="rect">
            <a:avLst/>
          </a:prstGeom>
        </p:spPr>
      </p:pic>
      <p:pic>
        <p:nvPicPr>
          <p:cNvPr id="26" name="Graphic 25" descr="Scales of justice with solid fill">
            <a:extLst>
              <a:ext uri="{FF2B5EF4-FFF2-40B4-BE49-F238E27FC236}">
                <a16:creationId xmlns:a16="http://schemas.microsoft.com/office/drawing/2014/main" id="{F7473763-B6B3-633A-D14A-958E6C0450F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6631597" y="2053670"/>
            <a:ext cx="398206" cy="398206"/>
          </a:xfrm>
          <a:prstGeom prst="rect">
            <a:avLst/>
          </a:prstGeom>
        </p:spPr>
      </p:pic>
    </p:spTree>
    <p:extLst>
      <p:ext uri="{BB962C8B-B14F-4D97-AF65-F5344CB8AC3E}">
        <p14:creationId xmlns:p14="http://schemas.microsoft.com/office/powerpoint/2010/main" val="40853172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A7F2AC3-1BD2-44DB-B05E-45E85C5386F1}"/>
              </a:ext>
            </a:extLst>
          </p:cNvPr>
          <p:cNvSpPr/>
          <p:nvPr/>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7" name="Imagen 9" descr="Agility_logos_ppt-03.png">
            <a:extLst>
              <a:ext uri="{FF2B5EF4-FFF2-40B4-BE49-F238E27FC236}">
                <a16:creationId xmlns:a16="http://schemas.microsoft.com/office/drawing/2014/main" id="{E9323AFE-149E-4FFD-8520-11FFEDFEEA3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9146540" y="3261361"/>
            <a:ext cx="2550160" cy="705669"/>
          </a:xfrm>
          <a:prstGeom prst="rect">
            <a:avLst/>
          </a:prstGeom>
        </p:spPr>
      </p:pic>
      <p:sp>
        <p:nvSpPr>
          <p:cNvPr id="5" name="Text Placeholder 4"/>
          <p:cNvSpPr>
            <a:spLocks noGrp="1"/>
          </p:cNvSpPr>
          <p:nvPr>
            <p:ph type="body" sz="quarter" idx="10"/>
          </p:nvPr>
        </p:nvSpPr>
        <p:spPr>
          <a:xfrm>
            <a:off x="827314" y="2707436"/>
            <a:ext cx="8507755" cy="1127586"/>
          </a:xfrm>
        </p:spPr>
        <p:txBody>
          <a:bodyPr>
            <a:normAutofit fontScale="92500" lnSpcReduction="10000"/>
          </a:bodyPr>
          <a:lstStyle/>
          <a:p>
            <a:r>
              <a:rPr lang="en-US" sz="4500" dirty="0">
                <a:latin typeface="+mj-lt"/>
                <a:cs typeface="Arial" panose="020B0604020202020204" pitchFamily="34" charset="0"/>
              </a:rPr>
              <a:t>Group Financial Performance </a:t>
            </a:r>
            <a:br>
              <a:rPr lang="en-US" sz="4500" b="0" dirty="0">
                <a:latin typeface="+mj-lt"/>
                <a:cs typeface="Arial" panose="020B0604020202020204" pitchFamily="34" charset="0"/>
              </a:rPr>
            </a:br>
            <a:r>
              <a:rPr lang="en-US" sz="4000" b="0" dirty="0">
                <a:latin typeface="+mj-lt"/>
                <a:cs typeface="Arial" panose="020B0604020202020204" pitchFamily="34" charset="0"/>
              </a:rPr>
              <a:t>Financial Highlights Q3 2023</a:t>
            </a:r>
            <a:endParaRPr lang="en-US" sz="4500" b="0" dirty="0">
              <a:latin typeface="+mj-lt"/>
              <a:cs typeface="Arial" panose="020B0604020202020204" pitchFamily="34" charset="0"/>
            </a:endParaRPr>
          </a:p>
        </p:txBody>
      </p:sp>
      <p:sp>
        <p:nvSpPr>
          <p:cNvPr id="20" name="Freeform: Shape 19">
            <a:extLst>
              <a:ext uri="{FF2B5EF4-FFF2-40B4-BE49-F238E27FC236}">
                <a16:creationId xmlns:a16="http://schemas.microsoft.com/office/drawing/2014/main" id="{B2EB830E-8508-470E-98B7-D73FEA9F17C1}"/>
              </a:ext>
            </a:extLst>
          </p:cNvPr>
          <p:cNvSpPr/>
          <p:nvPr/>
        </p:nvSpPr>
        <p:spPr>
          <a:xfrm>
            <a:off x="0" y="4297680"/>
            <a:ext cx="431781" cy="2560320"/>
          </a:xfrm>
          <a:custGeom>
            <a:avLst/>
            <a:gdLst>
              <a:gd name="connsiteX0" fmla="*/ 0 w 431781"/>
              <a:gd name="connsiteY0" fmla="*/ 0 h 2560320"/>
              <a:gd name="connsiteX1" fmla="*/ 1 w 431781"/>
              <a:gd name="connsiteY1" fmla="*/ 0 h 2560320"/>
              <a:gd name="connsiteX2" fmla="*/ 431781 w 431781"/>
              <a:gd name="connsiteY2" fmla="*/ 1066753 h 2560320"/>
              <a:gd name="connsiteX3" fmla="*/ 0 w 431781"/>
              <a:gd name="connsiteY3" fmla="*/ 2560320 h 2560320"/>
              <a:gd name="connsiteX4" fmla="*/ 0 w 431781"/>
              <a:gd name="connsiteY4" fmla="*/ 0 h 25603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1781" h="2560320">
                <a:moveTo>
                  <a:pt x="0" y="0"/>
                </a:moveTo>
                <a:lnTo>
                  <a:pt x="1" y="0"/>
                </a:lnTo>
                <a:lnTo>
                  <a:pt x="431781" y="1066753"/>
                </a:lnTo>
                <a:lnTo>
                  <a:pt x="0" y="2560320"/>
                </a:lnTo>
                <a:lnTo>
                  <a:pt x="0" y="0"/>
                </a:lnTo>
                <a:close/>
              </a:path>
            </a:pathLst>
          </a:custGeom>
          <a:solidFill>
            <a:srgbClr val="AF27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9" name="Freeform: Shape 18">
            <a:extLst>
              <a:ext uri="{FF2B5EF4-FFF2-40B4-BE49-F238E27FC236}">
                <a16:creationId xmlns:a16="http://schemas.microsoft.com/office/drawing/2014/main" id="{F7537461-7E13-4FE8-BA6C-597D8C3B42E6}"/>
              </a:ext>
            </a:extLst>
          </p:cNvPr>
          <p:cNvSpPr/>
          <p:nvPr/>
        </p:nvSpPr>
        <p:spPr>
          <a:xfrm>
            <a:off x="431781" y="4297680"/>
            <a:ext cx="308393" cy="1066754"/>
          </a:xfrm>
          <a:custGeom>
            <a:avLst/>
            <a:gdLst>
              <a:gd name="connsiteX0" fmla="*/ 308392 w 308393"/>
              <a:gd name="connsiteY0" fmla="*/ 0 h 1066754"/>
              <a:gd name="connsiteX1" fmla="*/ 308393 w 308393"/>
              <a:gd name="connsiteY1" fmla="*/ 0 h 1066754"/>
              <a:gd name="connsiteX2" fmla="*/ 1 w 308393"/>
              <a:gd name="connsiteY2" fmla="*/ 1066754 h 1066754"/>
              <a:gd name="connsiteX3" fmla="*/ 0 w 308393"/>
              <a:gd name="connsiteY3" fmla="*/ 1066753 h 1066754"/>
              <a:gd name="connsiteX4" fmla="*/ 308392 w 308393"/>
              <a:gd name="connsiteY4" fmla="*/ 0 h 106675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08393" h="1066754">
                <a:moveTo>
                  <a:pt x="308392" y="0"/>
                </a:moveTo>
                <a:lnTo>
                  <a:pt x="308393" y="0"/>
                </a:lnTo>
                <a:lnTo>
                  <a:pt x="1" y="1066754"/>
                </a:lnTo>
                <a:lnTo>
                  <a:pt x="0" y="1066753"/>
                </a:lnTo>
                <a:lnTo>
                  <a:pt x="308392" y="0"/>
                </a:lnTo>
                <a:close/>
              </a:path>
            </a:pathLst>
          </a:custGeom>
          <a:solidFill>
            <a:srgbClr val="AF272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
        <p:nvSpPr>
          <p:cNvPr id="17" name="Freeform: Shape 16">
            <a:extLst>
              <a:ext uri="{FF2B5EF4-FFF2-40B4-BE49-F238E27FC236}">
                <a16:creationId xmlns:a16="http://schemas.microsoft.com/office/drawing/2014/main" id="{4D2DF776-4D12-4A90-B02E-6C71191C5E40}"/>
              </a:ext>
            </a:extLst>
          </p:cNvPr>
          <p:cNvSpPr/>
          <p:nvPr/>
        </p:nvSpPr>
        <p:spPr>
          <a:xfrm>
            <a:off x="0" y="5364434"/>
            <a:ext cx="1036320" cy="1493566"/>
          </a:xfrm>
          <a:custGeom>
            <a:avLst/>
            <a:gdLst>
              <a:gd name="connsiteX0" fmla="*/ 431781 w 1036320"/>
              <a:gd name="connsiteY0" fmla="*/ 0 h 1493566"/>
              <a:gd name="connsiteX1" fmla="*/ 1036320 w 1036320"/>
              <a:gd name="connsiteY1" fmla="*/ 1493566 h 1493566"/>
              <a:gd name="connsiteX2" fmla="*/ 0 w 1036320"/>
              <a:gd name="connsiteY2" fmla="*/ 1493566 h 1493566"/>
              <a:gd name="connsiteX3" fmla="*/ 431781 w 1036320"/>
              <a:gd name="connsiteY3" fmla="*/ 0 h 1493566"/>
            </a:gdLst>
            <a:ahLst/>
            <a:cxnLst>
              <a:cxn ang="0">
                <a:pos x="connsiteX0" y="connsiteY0"/>
              </a:cxn>
              <a:cxn ang="0">
                <a:pos x="connsiteX1" y="connsiteY1"/>
              </a:cxn>
              <a:cxn ang="0">
                <a:pos x="connsiteX2" y="connsiteY2"/>
              </a:cxn>
              <a:cxn ang="0">
                <a:pos x="connsiteX3" y="connsiteY3"/>
              </a:cxn>
            </a:cxnLst>
            <a:rect l="l" t="t" r="r" b="b"/>
            <a:pathLst>
              <a:path w="1036320" h="1493566">
                <a:moveTo>
                  <a:pt x="431781" y="0"/>
                </a:moveTo>
                <a:lnTo>
                  <a:pt x="1036320" y="1493566"/>
                </a:lnTo>
                <a:lnTo>
                  <a:pt x="0" y="1493566"/>
                </a:lnTo>
                <a:lnTo>
                  <a:pt x="431781"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US"/>
          </a:p>
        </p:txBody>
      </p:sp>
    </p:spTree>
    <p:extLst>
      <p:ext uri="{BB962C8B-B14F-4D97-AF65-F5344CB8AC3E}">
        <p14:creationId xmlns:p14="http://schemas.microsoft.com/office/powerpoint/2010/main" val="307514395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25045623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92" imgH="661" progId="TCLayout.ActiveDocument.1">
                  <p:embed/>
                </p:oleObj>
              </mc:Choice>
              <mc:Fallback>
                <p:oleObj name="think-cell Slide" r:id="rId33" imgW="592" imgH="661" progId="TCLayout.ActiveDocument.1">
                  <p:embed/>
                  <p:pic>
                    <p:nvPicPr>
                      <p:cNvPr id="13" name="Object 12"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000" dirty="0">
              <a:latin typeface="Noto Sans" panose="020B0502040504020204" pitchFamily="34"/>
              <a:sym typeface="Noto Sans" panose="020B0502040504020204" pitchFamily="34"/>
            </a:endParaRPr>
          </a:p>
        </p:txBody>
      </p:sp>
      <p:sp>
        <p:nvSpPr>
          <p:cNvPr id="7" name="Rectangle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000" dirty="0">
              <a:sym typeface="+mn-lt"/>
            </a:endParaRPr>
          </a:p>
        </p:txBody>
      </p:sp>
      <p:sp>
        <p:nvSpPr>
          <p:cNvPr id="49" name="Text Placeholder 8">
            <a:extLst>
              <a:ext uri="{FF2B5EF4-FFF2-40B4-BE49-F238E27FC236}">
                <a16:creationId xmlns:a16="http://schemas.microsoft.com/office/drawing/2014/main" id="{405E3712-BFDB-4D75-9DB9-4D73062E9849}"/>
              </a:ext>
            </a:extLst>
          </p:cNvPr>
          <p:cNvSpPr>
            <a:spLocks noGrp="1"/>
          </p:cNvSpPr>
          <p:nvPr>
            <p:ph type="body" sz="quarter" idx="34"/>
          </p:nvPr>
        </p:nvSpPr>
        <p:spPr>
          <a:xfrm>
            <a:off x="304799" y="79095"/>
            <a:ext cx="10594539" cy="337873"/>
          </a:xfrm>
        </p:spPr>
        <p:txBody>
          <a:bodyPr/>
          <a:lstStyle/>
          <a:p>
            <a:r>
              <a:rPr lang="en-US" dirty="0"/>
              <a:t>Agility Income Statement – Q3 2023      </a:t>
            </a:r>
          </a:p>
          <a:p>
            <a:r>
              <a:rPr lang="en-US" dirty="0"/>
              <a:t>(KD </a:t>
            </a:r>
            <a:r>
              <a:rPr lang="en-US" dirty="0" err="1"/>
              <a:t>Mln</a:t>
            </a:r>
            <a:r>
              <a:rPr lang="en-US" dirty="0"/>
              <a:t>) </a:t>
            </a:r>
          </a:p>
        </p:txBody>
      </p:sp>
      <p:sp>
        <p:nvSpPr>
          <p:cNvPr id="54" name="Rectangle 53">
            <a:extLst>
              <a:ext uri="{FF2B5EF4-FFF2-40B4-BE49-F238E27FC236}">
                <a16:creationId xmlns:a16="http://schemas.microsoft.com/office/drawing/2014/main" id="{3EECECDA-415E-4336-AB3B-E1E8F88658C1}"/>
              </a:ext>
            </a:extLst>
          </p:cNvPr>
          <p:cNvSpPr/>
          <p:nvPr/>
        </p:nvSpPr>
        <p:spPr>
          <a:xfrm flipH="1">
            <a:off x="312358" y="1291969"/>
            <a:ext cx="5716859" cy="24763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69965" tIns="17998" rIns="449941" bIns="17998" rtlCol="0" anchor="ctr"/>
          <a:lstStyle/>
          <a:p>
            <a:pPr defTabSz="457109" fontAlgn="base">
              <a:spcBef>
                <a:spcPct val="0"/>
              </a:spcBef>
              <a:spcAft>
                <a:spcPct val="0"/>
              </a:spcAft>
            </a:pPr>
            <a:endParaRPr lang="en-US" sz="1600" b="1" dirty="0">
              <a:solidFill>
                <a:srgbClr val="D86018"/>
              </a:solidFill>
              <a:latin typeface="+mj-lt"/>
              <a:ea typeface="Noto Sans" panose="020B0502040504020204" pitchFamily="34" charset="0"/>
              <a:cs typeface="Noto Sans" panose="020B0502040504020204" pitchFamily="34" charset="0"/>
            </a:endParaRPr>
          </a:p>
        </p:txBody>
      </p:sp>
      <p:sp>
        <p:nvSpPr>
          <p:cNvPr id="55" name="Rectangle 54">
            <a:extLst>
              <a:ext uri="{FF2B5EF4-FFF2-40B4-BE49-F238E27FC236}">
                <a16:creationId xmlns:a16="http://schemas.microsoft.com/office/drawing/2014/main" id="{A1A05378-D1F3-43AB-8404-999E0079DE02}"/>
              </a:ext>
            </a:extLst>
          </p:cNvPr>
          <p:cNvSpPr/>
          <p:nvPr/>
        </p:nvSpPr>
        <p:spPr>
          <a:xfrm flipH="1">
            <a:off x="6170341" y="1291969"/>
            <a:ext cx="5716859" cy="24763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69965" tIns="17998" rIns="449941" bIns="17998" rtlCol="0" anchor="ctr"/>
          <a:lstStyle/>
          <a:p>
            <a:pPr defTabSz="457109" fontAlgn="base">
              <a:spcBef>
                <a:spcPct val="0"/>
              </a:spcBef>
              <a:spcAft>
                <a:spcPct val="0"/>
              </a:spcAft>
            </a:pPr>
            <a:endParaRPr lang="en-US" sz="1600" b="1" dirty="0">
              <a:solidFill>
                <a:srgbClr val="D86018"/>
              </a:solidFill>
              <a:latin typeface="+mj-lt"/>
              <a:ea typeface="Noto Sans" panose="020B0502040504020204" pitchFamily="34" charset="0"/>
              <a:cs typeface="Noto Sans" panose="020B0502040504020204" pitchFamily="34" charset="0"/>
            </a:endParaRPr>
          </a:p>
        </p:txBody>
      </p:sp>
      <p:sp>
        <p:nvSpPr>
          <p:cNvPr id="56" name="Rectangle 55">
            <a:extLst>
              <a:ext uri="{FF2B5EF4-FFF2-40B4-BE49-F238E27FC236}">
                <a16:creationId xmlns:a16="http://schemas.microsoft.com/office/drawing/2014/main" id="{5EC0ADE6-F38E-43BE-A1B8-ADE7F20669FD}"/>
              </a:ext>
            </a:extLst>
          </p:cNvPr>
          <p:cNvSpPr/>
          <p:nvPr/>
        </p:nvSpPr>
        <p:spPr>
          <a:xfrm flipH="1">
            <a:off x="304799" y="3902139"/>
            <a:ext cx="5716859" cy="24763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69965" tIns="17998" rIns="449941" bIns="17998" rtlCol="0" anchor="ctr"/>
          <a:lstStyle/>
          <a:p>
            <a:pPr defTabSz="457109" fontAlgn="base">
              <a:spcBef>
                <a:spcPct val="0"/>
              </a:spcBef>
              <a:spcAft>
                <a:spcPct val="0"/>
              </a:spcAft>
            </a:pPr>
            <a:endParaRPr lang="en-US" sz="1600" b="1" dirty="0">
              <a:solidFill>
                <a:srgbClr val="D86018"/>
              </a:solidFill>
              <a:latin typeface="+mj-lt"/>
              <a:ea typeface="Noto Sans" panose="020B0502040504020204" pitchFamily="34" charset="0"/>
              <a:cs typeface="Noto Sans" panose="020B0502040504020204" pitchFamily="34" charset="0"/>
            </a:endParaRPr>
          </a:p>
        </p:txBody>
      </p:sp>
      <p:sp>
        <p:nvSpPr>
          <p:cNvPr id="57" name="Rectangle 56">
            <a:extLst>
              <a:ext uri="{FF2B5EF4-FFF2-40B4-BE49-F238E27FC236}">
                <a16:creationId xmlns:a16="http://schemas.microsoft.com/office/drawing/2014/main" id="{05FE08A6-EDDE-4DDC-83A8-C2285B8E40EF}"/>
              </a:ext>
            </a:extLst>
          </p:cNvPr>
          <p:cNvSpPr/>
          <p:nvPr/>
        </p:nvSpPr>
        <p:spPr>
          <a:xfrm flipH="1">
            <a:off x="6170341" y="3902139"/>
            <a:ext cx="5716859" cy="24763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69965" tIns="17998" rIns="449941" bIns="17998" rtlCol="0" anchor="ctr"/>
          <a:lstStyle/>
          <a:p>
            <a:pPr defTabSz="457109" fontAlgn="base">
              <a:spcBef>
                <a:spcPct val="0"/>
              </a:spcBef>
              <a:spcAft>
                <a:spcPct val="0"/>
              </a:spcAft>
            </a:pPr>
            <a:endParaRPr lang="en-US" sz="1600" b="1" dirty="0">
              <a:solidFill>
                <a:srgbClr val="D86018"/>
              </a:solidFill>
              <a:latin typeface="+mj-lt"/>
              <a:ea typeface="Noto Sans" panose="020B0502040504020204" pitchFamily="34" charset="0"/>
              <a:cs typeface="Noto Sans" panose="020B0502040504020204" pitchFamily="34" charset="0"/>
            </a:endParaRPr>
          </a:p>
        </p:txBody>
      </p:sp>
      <p:sp>
        <p:nvSpPr>
          <p:cNvPr id="66" name="TextBox 340">
            <a:extLst>
              <a:ext uri="{FF2B5EF4-FFF2-40B4-BE49-F238E27FC236}">
                <a16:creationId xmlns:a16="http://schemas.microsoft.com/office/drawing/2014/main" id="{93E6DAF7-E327-4692-BBAD-907D5A799E6E}"/>
              </a:ext>
            </a:extLst>
          </p:cNvPr>
          <p:cNvSpPr txBox="1">
            <a:spLocks noChangeArrowheads="1"/>
          </p:cNvSpPr>
          <p:nvPr/>
        </p:nvSpPr>
        <p:spPr bwMode="auto">
          <a:xfrm>
            <a:off x="443994" y="1385419"/>
            <a:ext cx="3456437" cy="307777"/>
          </a:xfrm>
          <a:prstGeom prst="rect">
            <a:avLst/>
          </a:prstGeom>
          <a:noFill/>
          <a:ln w="9525">
            <a:noFill/>
            <a:miter lim="800000"/>
            <a:headEnd/>
            <a:tailEnd/>
          </a:ln>
        </p:spPr>
        <p:txBody>
          <a:bodyPr wrap="square" lIns="0" rIns="0" anchor="ctr">
            <a:spAutoFit/>
          </a:bodyPr>
          <a:lstStyle/>
          <a:p>
            <a:r>
              <a:rPr lang="en-US" sz="1400" b="1" dirty="0">
                <a:cs typeface="Arial" panose="020B0604020202020204" pitchFamily="34" charset="0"/>
              </a:rPr>
              <a:t>Revenue</a:t>
            </a:r>
          </a:p>
        </p:txBody>
      </p:sp>
      <p:cxnSp>
        <p:nvCxnSpPr>
          <p:cNvPr id="68" name="Straight Connector 67">
            <a:extLst>
              <a:ext uri="{FF2B5EF4-FFF2-40B4-BE49-F238E27FC236}">
                <a16:creationId xmlns:a16="http://schemas.microsoft.com/office/drawing/2014/main" id="{FF2F0399-169B-451D-AF21-AA6D793BE024}"/>
              </a:ext>
            </a:extLst>
          </p:cNvPr>
          <p:cNvCxnSpPr>
            <a:cxnSpLocks/>
          </p:cNvCxnSpPr>
          <p:nvPr/>
        </p:nvCxnSpPr>
        <p:spPr>
          <a:xfrm>
            <a:off x="343299" y="1416196"/>
            <a:ext cx="0" cy="246888"/>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6" name="TextBox 340">
            <a:extLst>
              <a:ext uri="{FF2B5EF4-FFF2-40B4-BE49-F238E27FC236}">
                <a16:creationId xmlns:a16="http://schemas.microsoft.com/office/drawing/2014/main" id="{E1180D2C-CF35-4E8A-AB11-4994C632764A}"/>
              </a:ext>
            </a:extLst>
          </p:cNvPr>
          <p:cNvSpPr txBox="1">
            <a:spLocks noChangeArrowheads="1"/>
          </p:cNvSpPr>
          <p:nvPr/>
        </p:nvSpPr>
        <p:spPr bwMode="auto">
          <a:xfrm>
            <a:off x="6313298" y="1385419"/>
            <a:ext cx="3456437" cy="307777"/>
          </a:xfrm>
          <a:prstGeom prst="rect">
            <a:avLst/>
          </a:prstGeom>
          <a:noFill/>
          <a:ln w="9525">
            <a:noFill/>
            <a:miter lim="800000"/>
            <a:headEnd/>
            <a:tailEnd/>
          </a:ln>
        </p:spPr>
        <p:txBody>
          <a:bodyPr wrap="square" lIns="0" rIns="0" anchor="ctr">
            <a:spAutoFit/>
          </a:bodyPr>
          <a:lstStyle/>
          <a:p>
            <a:r>
              <a:rPr lang="en-US" sz="1400" b="1" dirty="0">
                <a:cs typeface="Arial" panose="020B0604020202020204" pitchFamily="34" charset="0"/>
              </a:rPr>
              <a:t>Net Revenue</a:t>
            </a:r>
          </a:p>
        </p:txBody>
      </p:sp>
      <p:cxnSp>
        <p:nvCxnSpPr>
          <p:cNvPr id="78" name="Straight Connector 77">
            <a:extLst>
              <a:ext uri="{FF2B5EF4-FFF2-40B4-BE49-F238E27FC236}">
                <a16:creationId xmlns:a16="http://schemas.microsoft.com/office/drawing/2014/main" id="{FCCDC39B-E70B-4276-9B61-88F46DD267BF}"/>
              </a:ext>
            </a:extLst>
          </p:cNvPr>
          <p:cNvCxnSpPr>
            <a:cxnSpLocks/>
          </p:cNvCxnSpPr>
          <p:nvPr/>
        </p:nvCxnSpPr>
        <p:spPr>
          <a:xfrm>
            <a:off x="6212603" y="1416196"/>
            <a:ext cx="0" cy="246888"/>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Box 340">
            <a:extLst>
              <a:ext uri="{FF2B5EF4-FFF2-40B4-BE49-F238E27FC236}">
                <a16:creationId xmlns:a16="http://schemas.microsoft.com/office/drawing/2014/main" id="{76D29A1A-0BAA-438D-B0BA-7CA035E9B364}"/>
              </a:ext>
            </a:extLst>
          </p:cNvPr>
          <p:cNvSpPr txBox="1">
            <a:spLocks noChangeArrowheads="1"/>
          </p:cNvSpPr>
          <p:nvPr/>
        </p:nvSpPr>
        <p:spPr bwMode="auto">
          <a:xfrm>
            <a:off x="443994" y="4052228"/>
            <a:ext cx="3456437" cy="307777"/>
          </a:xfrm>
          <a:prstGeom prst="rect">
            <a:avLst/>
          </a:prstGeom>
          <a:noFill/>
          <a:ln w="9525">
            <a:noFill/>
            <a:miter lim="800000"/>
            <a:headEnd/>
            <a:tailEnd/>
          </a:ln>
        </p:spPr>
        <p:txBody>
          <a:bodyPr wrap="square" lIns="0" rIns="0" anchor="ctr">
            <a:spAutoFit/>
          </a:bodyPr>
          <a:lstStyle/>
          <a:p>
            <a:r>
              <a:rPr lang="en-US" sz="1400" b="1" dirty="0">
                <a:cs typeface="Arial" panose="020B0604020202020204" pitchFamily="34" charset="0"/>
              </a:rPr>
              <a:t>EBITDA</a:t>
            </a:r>
          </a:p>
        </p:txBody>
      </p:sp>
      <p:cxnSp>
        <p:nvCxnSpPr>
          <p:cNvPr id="67" name="Straight Connector 66">
            <a:extLst>
              <a:ext uri="{FF2B5EF4-FFF2-40B4-BE49-F238E27FC236}">
                <a16:creationId xmlns:a16="http://schemas.microsoft.com/office/drawing/2014/main" id="{24D88B72-B417-47FA-A143-17DD7E524814}"/>
              </a:ext>
            </a:extLst>
          </p:cNvPr>
          <p:cNvCxnSpPr>
            <a:cxnSpLocks/>
          </p:cNvCxnSpPr>
          <p:nvPr/>
        </p:nvCxnSpPr>
        <p:spPr>
          <a:xfrm>
            <a:off x="1378293" y="1540816"/>
            <a:ext cx="4429930" cy="0"/>
          </a:xfrm>
          <a:prstGeom prst="line">
            <a:avLst/>
          </a:prstGeom>
          <a:ln w="3175">
            <a:solidFill>
              <a:schemeClr val="bg1">
                <a:lumMod val="85000"/>
              </a:schemeClr>
            </a:solidFill>
          </a:ln>
        </p:spPr>
        <p:style>
          <a:lnRef idx="1">
            <a:schemeClr val="accent4"/>
          </a:lnRef>
          <a:fillRef idx="0">
            <a:schemeClr val="accent4"/>
          </a:fillRef>
          <a:effectRef idx="0">
            <a:schemeClr val="accent4"/>
          </a:effectRef>
          <a:fontRef idx="minor">
            <a:schemeClr val="tx1"/>
          </a:fontRef>
        </p:style>
      </p:cxnSp>
      <p:cxnSp>
        <p:nvCxnSpPr>
          <p:cNvPr id="87" name="Straight Connector 86">
            <a:extLst>
              <a:ext uri="{FF2B5EF4-FFF2-40B4-BE49-F238E27FC236}">
                <a16:creationId xmlns:a16="http://schemas.microsoft.com/office/drawing/2014/main" id="{F1548C47-B198-49B4-9730-6404B128E351}"/>
              </a:ext>
            </a:extLst>
          </p:cNvPr>
          <p:cNvCxnSpPr>
            <a:cxnSpLocks/>
          </p:cNvCxnSpPr>
          <p:nvPr/>
        </p:nvCxnSpPr>
        <p:spPr>
          <a:xfrm>
            <a:off x="1261641" y="4207625"/>
            <a:ext cx="4546582" cy="0"/>
          </a:xfrm>
          <a:prstGeom prst="line">
            <a:avLst/>
          </a:prstGeom>
          <a:ln w="3175">
            <a:solidFill>
              <a:schemeClr val="bg1">
                <a:lumMod val="85000"/>
              </a:schemeClr>
            </a:solidFill>
          </a:ln>
        </p:spPr>
        <p:style>
          <a:lnRef idx="1">
            <a:schemeClr val="accent4"/>
          </a:lnRef>
          <a:fillRef idx="0">
            <a:schemeClr val="accent4"/>
          </a:fillRef>
          <a:effectRef idx="0">
            <a:schemeClr val="accent4"/>
          </a:effectRef>
          <a:fontRef idx="minor">
            <a:schemeClr val="tx1"/>
          </a:fontRef>
        </p:style>
      </p:cxnSp>
      <p:cxnSp>
        <p:nvCxnSpPr>
          <p:cNvPr id="88" name="Straight Connector 87">
            <a:extLst>
              <a:ext uri="{FF2B5EF4-FFF2-40B4-BE49-F238E27FC236}">
                <a16:creationId xmlns:a16="http://schemas.microsoft.com/office/drawing/2014/main" id="{A0B03092-7BB4-466D-B523-C03123E04B35}"/>
              </a:ext>
            </a:extLst>
          </p:cNvPr>
          <p:cNvCxnSpPr>
            <a:cxnSpLocks/>
          </p:cNvCxnSpPr>
          <p:nvPr/>
        </p:nvCxnSpPr>
        <p:spPr>
          <a:xfrm>
            <a:off x="343299" y="4083005"/>
            <a:ext cx="0" cy="246888"/>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6" name="TextBox 340">
            <a:extLst>
              <a:ext uri="{FF2B5EF4-FFF2-40B4-BE49-F238E27FC236}">
                <a16:creationId xmlns:a16="http://schemas.microsoft.com/office/drawing/2014/main" id="{FA02C4F9-E774-4452-BD5D-19AF3D0E6A61}"/>
              </a:ext>
            </a:extLst>
          </p:cNvPr>
          <p:cNvSpPr txBox="1">
            <a:spLocks noChangeArrowheads="1"/>
          </p:cNvSpPr>
          <p:nvPr/>
        </p:nvSpPr>
        <p:spPr bwMode="auto">
          <a:xfrm>
            <a:off x="6313298" y="4052228"/>
            <a:ext cx="3456437" cy="307777"/>
          </a:xfrm>
          <a:prstGeom prst="rect">
            <a:avLst/>
          </a:prstGeom>
          <a:noFill/>
          <a:ln w="9525">
            <a:noFill/>
            <a:miter lim="800000"/>
            <a:headEnd/>
            <a:tailEnd/>
          </a:ln>
        </p:spPr>
        <p:txBody>
          <a:bodyPr wrap="square" lIns="0" rIns="0" anchor="ctr">
            <a:spAutoFit/>
          </a:bodyPr>
          <a:lstStyle/>
          <a:p>
            <a:r>
              <a:rPr lang="en-US" sz="1400" b="1" dirty="0">
                <a:cs typeface="Arial" panose="020B0604020202020204" pitchFamily="34" charset="0"/>
              </a:rPr>
              <a:t>Net Profit</a:t>
            </a:r>
          </a:p>
        </p:txBody>
      </p:sp>
      <p:cxnSp>
        <p:nvCxnSpPr>
          <p:cNvPr id="77" name="Straight Connector 76">
            <a:extLst>
              <a:ext uri="{FF2B5EF4-FFF2-40B4-BE49-F238E27FC236}">
                <a16:creationId xmlns:a16="http://schemas.microsoft.com/office/drawing/2014/main" id="{B82A46CB-010B-4941-9065-015E73F3D1BE}"/>
              </a:ext>
            </a:extLst>
          </p:cNvPr>
          <p:cNvCxnSpPr>
            <a:cxnSpLocks/>
          </p:cNvCxnSpPr>
          <p:nvPr/>
        </p:nvCxnSpPr>
        <p:spPr>
          <a:xfrm>
            <a:off x="7670702" y="1540816"/>
            <a:ext cx="3995502" cy="0"/>
          </a:xfrm>
          <a:prstGeom prst="line">
            <a:avLst/>
          </a:prstGeom>
          <a:ln w="3175">
            <a:solidFill>
              <a:schemeClr val="bg1">
                <a:lumMod val="85000"/>
              </a:schemeClr>
            </a:solidFill>
          </a:ln>
        </p:spPr>
        <p:style>
          <a:lnRef idx="1">
            <a:schemeClr val="accent4"/>
          </a:lnRef>
          <a:fillRef idx="0">
            <a:schemeClr val="accent4"/>
          </a:fillRef>
          <a:effectRef idx="0">
            <a:schemeClr val="accent4"/>
          </a:effectRef>
          <a:fontRef idx="minor">
            <a:schemeClr val="tx1"/>
          </a:fontRef>
        </p:style>
      </p:cxnSp>
      <p:cxnSp>
        <p:nvCxnSpPr>
          <p:cNvPr id="98" name="Straight Connector 97">
            <a:extLst>
              <a:ext uri="{FF2B5EF4-FFF2-40B4-BE49-F238E27FC236}">
                <a16:creationId xmlns:a16="http://schemas.microsoft.com/office/drawing/2014/main" id="{B61C1C7E-D1E9-415E-A9B9-281D0779E7AE}"/>
              </a:ext>
            </a:extLst>
          </p:cNvPr>
          <p:cNvCxnSpPr>
            <a:cxnSpLocks/>
          </p:cNvCxnSpPr>
          <p:nvPr/>
        </p:nvCxnSpPr>
        <p:spPr>
          <a:xfrm>
            <a:off x="6212603" y="4083005"/>
            <a:ext cx="0" cy="246888"/>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4" name="Chart 3">
            <a:extLst>
              <a:ext uri="{FF2B5EF4-FFF2-40B4-BE49-F238E27FC236}">
                <a16:creationId xmlns:a16="http://schemas.microsoft.com/office/drawing/2014/main" id="{F5C1603A-9AFB-9554-38AE-3DA2F278A934}"/>
              </a:ext>
            </a:extLst>
          </p:cNvPr>
          <p:cNvGraphicFramePr/>
          <p:nvPr>
            <p:custDataLst>
              <p:tags r:id="rId3"/>
            </p:custDataLst>
            <p:extLst>
              <p:ext uri="{D42A27DB-BD31-4B8C-83A1-F6EECF244321}">
                <p14:modId xmlns:p14="http://schemas.microsoft.com/office/powerpoint/2010/main" val="756128327"/>
              </p:ext>
            </p:extLst>
          </p:nvPr>
        </p:nvGraphicFramePr>
        <p:xfrm>
          <a:off x="584200" y="2133600"/>
          <a:ext cx="5157788" cy="1582738"/>
        </p:xfrm>
        <a:graphic>
          <a:graphicData uri="http://schemas.openxmlformats.org/drawingml/2006/chart">
            <c:chart xmlns:c="http://schemas.openxmlformats.org/drawingml/2006/chart" xmlns:r="http://schemas.openxmlformats.org/officeDocument/2006/relationships" r:id="rId35"/>
          </a:graphicData>
        </a:graphic>
      </p:graphicFrame>
      <p:cxnSp>
        <p:nvCxnSpPr>
          <p:cNvPr id="21" name="Straight Connector 20"/>
          <p:cNvCxnSpPr/>
          <p:nvPr>
            <p:custDataLst>
              <p:tags r:id="rId4"/>
            </p:custDataLst>
          </p:nvPr>
        </p:nvCxnSpPr>
        <p:spPr bwMode="auto">
          <a:xfrm flipV="1">
            <a:off x="1914525" y="2105025"/>
            <a:ext cx="0" cy="45243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p:cNvCxnSpPr>
            <a:cxnSpLocks/>
          </p:cNvCxnSpPr>
          <p:nvPr>
            <p:custDataLst>
              <p:tags r:id="rId5"/>
            </p:custDataLst>
          </p:nvPr>
        </p:nvCxnSpPr>
        <p:spPr bwMode="auto">
          <a:xfrm>
            <a:off x="1914525" y="2105025"/>
            <a:ext cx="24971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p:cNvCxnSpPr/>
          <p:nvPr>
            <p:custDataLst>
              <p:tags r:id="rId6"/>
            </p:custDataLst>
          </p:nvPr>
        </p:nvCxnSpPr>
        <p:spPr bwMode="auto">
          <a:xfrm>
            <a:off x="4411663" y="2105025"/>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0" name="Rectangle 99"/>
          <p:cNvSpPr/>
          <p:nvPr>
            <p:custDataLst>
              <p:tags r:id="rId7"/>
            </p:custDataLst>
          </p:nvPr>
        </p:nvSpPr>
        <p:spPr bwMode="auto">
          <a:xfrm>
            <a:off x="1666875" y="3533775"/>
            <a:ext cx="495300"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5A00CD8F-1A11-4F11-A0AF-99DDAB1F955D}" type="datetime'''''''''''''''''''''Q''''3 ''2''''''''''0''''''22'''''''''">
              <a:rPr lang="en-US" altLang="en-US" sz="1000" smtClean="0">
                <a:solidFill>
                  <a:schemeClr val="tx1"/>
                </a:solidFill>
                <a:latin typeface="Arial" panose="020B0604020202020204" pitchFamily="34" charset="0"/>
              </a:rPr>
              <a:pPr/>
              <a:t>Q3 2022</a:t>
            </a:fld>
            <a:endParaRPr lang="en-US" sz="10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5" name="Rectangle 24"/>
          <p:cNvSpPr/>
          <p:nvPr>
            <p:custDataLst>
              <p:tags r:id="rId8"/>
            </p:custDataLst>
          </p:nvPr>
        </p:nvSpPr>
        <p:spPr bwMode="auto">
          <a:xfrm>
            <a:off x="4164013" y="3533775"/>
            <a:ext cx="495300"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B700C4CA-9405-41EC-9E04-4DB446343D28}" type="datetime'''''''Q3'''''''''' ''''''2''''023'''''''''''''''''''">
              <a:rPr lang="en-US" altLang="en-US" sz="1000" smtClean="0">
                <a:solidFill>
                  <a:schemeClr val="tx1"/>
                </a:solidFill>
                <a:latin typeface="Arial" panose="020B0604020202020204" pitchFamily="34" charset="0"/>
              </a:rPr>
              <a:pPr/>
              <a:t>Q3 2023</a:t>
            </a:fld>
            <a:endParaRPr lang="en-US" sz="100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4" name="Oval 13"/>
          <p:cNvSpPr/>
          <p:nvPr>
            <p:custDataLst>
              <p:tags r:id="rId9"/>
            </p:custDataLst>
          </p:nvPr>
        </p:nvSpPr>
        <p:spPr bwMode="auto">
          <a:xfrm>
            <a:off x="2855914" y="1997075"/>
            <a:ext cx="614363" cy="215900"/>
          </a:xfrm>
          <a:prstGeom prst="ellips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B2D7E885-D0EF-4C87-8009-CD7FB4BAC10A}" type="datetime'''''''+''''''''40''.''''''''''8''''''''''''''''''''''%'''">
              <a:rPr lang="en-US" altLang="en-US" sz="1000" b="1" smtClean="0">
                <a:solidFill>
                  <a:schemeClr val="bg1"/>
                </a:solidFill>
                <a:effectLst/>
              </a:rPr>
              <a:pPr/>
              <a:t>+40.8%</a:t>
            </a:fld>
            <a:endParaRPr lang="en-US" sz="1000" b="1" dirty="0">
              <a:solidFill>
                <a:schemeClr val="bg1"/>
              </a:solidFill>
            </a:endParaRPr>
          </a:p>
        </p:txBody>
      </p:sp>
      <p:sp>
        <p:nvSpPr>
          <p:cNvPr id="221" name="TextBox 220"/>
          <p:cNvSpPr txBox="1"/>
          <p:nvPr/>
        </p:nvSpPr>
        <p:spPr>
          <a:xfrm>
            <a:off x="10306373" y="4673600"/>
            <a:ext cx="1359831" cy="250825"/>
          </a:xfrm>
          <a:prstGeom prst="rect">
            <a:avLst/>
          </a:prstGeom>
          <a:noFill/>
          <a:ln>
            <a:noFill/>
          </a:ln>
        </p:spPr>
        <p:txBody>
          <a:bodyPr wrap="square" lIns="0" tIns="0" rIns="0" bIns="0" rtlCol="0" anchor="t" anchorCtr="0">
            <a:noAutofit/>
          </a:bodyPr>
          <a:lstStyle/>
          <a:p>
            <a:pPr marL="457200" indent="-457200" algn="l">
              <a:lnSpc>
                <a:spcPts val="3500"/>
              </a:lnSpc>
              <a:buFont typeface="Arial" panose="020B0604020202020204" pitchFamily="34" charset="0"/>
              <a:buChar char="•"/>
            </a:pPr>
            <a:endParaRPr lang="en-US" sz="3200" dirty="0">
              <a:latin typeface="+mn-lt"/>
              <a:cs typeface="Etelka Text Pro"/>
            </a:endParaRPr>
          </a:p>
        </p:txBody>
      </p:sp>
      <p:cxnSp>
        <p:nvCxnSpPr>
          <p:cNvPr id="223" name="Straight Connector 222">
            <a:extLst>
              <a:ext uri="{FF2B5EF4-FFF2-40B4-BE49-F238E27FC236}">
                <a16:creationId xmlns:a16="http://schemas.microsoft.com/office/drawing/2014/main" id="{B82A46CB-010B-4941-9065-015E73F3D1BE}"/>
              </a:ext>
            </a:extLst>
          </p:cNvPr>
          <p:cNvCxnSpPr>
            <a:cxnSpLocks/>
          </p:cNvCxnSpPr>
          <p:nvPr/>
        </p:nvCxnSpPr>
        <p:spPr>
          <a:xfrm>
            <a:off x="7470477" y="4227024"/>
            <a:ext cx="3995502" cy="0"/>
          </a:xfrm>
          <a:prstGeom prst="line">
            <a:avLst/>
          </a:prstGeom>
          <a:ln w="3175">
            <a:solidFill>
              <a:schemeClr val="bg1">
                <a:lumMod val="85000"/>
              </a:schemeClr>
            </a:solidFill>
          </a:ln>
        </p:spPr>
        <p:style>
          <a:lnRef idx="1">
            <a:schemeClr val="accent4"/>
          </a:lnRef>
          <a:fillRef idx="0">
            <a:schemeClr val="accent4"/>
          </a:fillRef>
          <a:effectRef idx="0">
            <a:schemeClr val="accent4"/>
          </a:effectRef>
          <a:fontRef idx="minor">
            <a:schemeClr val="tx1"/>
          </a:fontRef>
        </p:style>
      </p:cxnSp>
      <p:sp>
        <p:nvSpPr>
          <p:cNvPr id="82" name="Text Placeholder 2">
            <a:extLst>
              <a:ext uri="{FF2B5EF4-FFF2-40B4-BE49-F238E27FC236}">
                <a16:creationId xmlns:a16="http://schemas.microsoft.com/office/drawing/2014/main" id="{BB544A93-ED35-417A-8B87-0905BBEB0817}"/>
              </a:ext>
            </a:extLst>
          </p:cNvPr>
          <p:cNvSpPr txBox="1">
            <a:spLocks/>
          </p:cNvSpPr>
          <p:nvPr/>
        </p:nvSpPr>
        <p:spPr>
          <a:xfrm>
            <a:off x="304799" y="841760"/>
            <a:ext cx="9163429" cy="367536"/>
          </a:xfrm>
          <a:prstGeom prst="rect">
            <a:avLst/>
          </a:prstGeom>
        </p:spPr>
        <p:txBody>
          <a:bodyPr lIns="17131" tIns="8565" rIns="17131" bIns="8565" anchor="ctr"/>
          <a:lstStyle>
            <a:lvl1pPr marL="356871" indent="-356871" algn="l" rtl="0" eaLnBrk="1" fontAlgn="base" hangingPunct="1">
              <a:spcBef>
                <a:spcPct val="20000"/>
              </a:spcBef>
              <a:spcAft>
                <a:spcPct val="0"/>
              </a:spcAft>
              <a:buChar char="•"/>
              <a:defRPr sz="1200">
                <a:solidFill>
                  <a:srgbClr val="888888"/>
                </a:solidFill>
                <a:latin typeface="Arial"/>
                <a:ea typeface="MS PGothic" pitchFamily="34" charset="-128"/>
                <a:cs typeface="Arial"/>
              </a:defRPr>
            </a:lvl1pPr>
            <a:lvl2pPr marL="773219" indent="-297392" algn="l" rtl="0" eaLnBrk="1" fontAlgn="base" hangingPunct="1">
              <a:spcBef>
                <a:spcPct val="20000"/>
              </a:spcBef>
              <a:spcAft>
                <a:spcPct val="0"/>
              </a:spcAft>
              <a:buChar char="–"/>
              <a:defRPr sz="1200">
                <a:solidFill>
                  <a:srgbClr val="888888"/>
                </a:solidFill>
                <a:latin typeface="Arial"/>
                <a:ea typeface="MS PGothic" pitchFamily="34" charset="-128"/>
                <a:cs typeface="Arial"/>
              </a:defRPr>
            </a:lvl2pPr>
            <a:lvl3pPr marL="1189569"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3pPr>
            <a:lvl4pPr marL="1665396"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4pPr>
            <a:lvl5pPr marL="2141224"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5pPr>
            <a:lvl6pPr marL="2617260" indent="-237931" algn="l" rtl="0" eaLnBrk="1" latinLnBrk="0" hangingPunct="1">
              <a:spcBef>
                <a:spcPct val="20000"/>
              </a:spcBef>
              <a:buChar char="•"/>
              <a:defRPr sz="2133">
                <a:solidFill>
                  <a:schemeClr val="tx1"/>
                </a:solidFill>
                <a:latin typeface="+mn-lt"/>
                <a:ea typeface="+mn-ea"/>
                <a:cs typeface="+mn-cs"/>
              </a:defRPr>
            </a:lvl6pPr>
            <a:lvl7pPr marL="3093125" indent="-237931" algn="l" rtl="0" eaLnBrk="1" latinLnBrk="0" hangingPunct="1">
              <a:spcBef>
                <a:spcPct val="20000"/>
              </a:spcBef>
              <a:buChar char="•"/>
              <a:defRPr sz="2133">
                <a:solidFill>
                  <a:schemeClr val="tx1"/>
                </a:solidFill>
                <a:latin typeface="+mn-lt"/>
                <a:ea typeface="+mn-ea"/>
                <a:cs typeface="+mn-cs"/>
              </a:defRPr>
            </a:lvl7pPr>
            <a:lvl8pPr marL="3568992" indent="-237931" algn="l" rtl="0" eaLnBrk="1" latinLnBrk="0" hangingPunct="1">
              <a:spcBef>
                <a:spcPct val="20000"/>
              </a:spcBef>
              <a:buChar char="•"/>
              <a:defRPr sz="2133">
                <a:solidFill>
                  <a:schemeClr val="tx1"/>
                </a:solidFill>
                <a:latin typeface="+mn-lt"/>
                <a:ea typeface="+mn-ea"/>
                <a:cs typeface="+mn-cs"/>
              </a:defRPr>
            </a:lvl8pPr>
            <a:lvl9pPr marL="4044857" indent="-237931" algn="l" rtl="0" eaLnBrk="1" latinLnBrk="0" hangingPunct="1">
              <a:spcBef>
                <a:spcPct val="20000"/>
              </a:spcBef>
              <a:buChar char="•"/>
              <a:defRPr sz="2133">
                <a:solidFill>
                  <a:schemeClr val="tx1"/>
                </a:solidFill>
                <a:latin typeface="+mn-lt"/>
                <a:ea typeface="+mn-ea"/>
                <a:cs typeface="+mn-cs"/>
              </a:defRPr>
            </a:lvl9pPr>
          </a:lstStyle>
          <a:p>
            <a:pPr marL="0" indent="0">
              <a:buFontTx/>
              <a:buNone/>
            </a:pPr>
            <a:r>
              <a:rPr lang="en-US" sz="1600" dirty="0">
                <a:latin typeface="+mn-lt"/>
              </a:rPr>
              <a:t>Solid operational performance and growth across all businesses</a:t>
            </a:r>
            <a:endParaRPr lang="en-US" sz="1600" kern="0" dirty="0">
              <a:latin typeface="Noto Sans" panose="020B0502040504020204" pitchFamily="34" charset="0"/>
              <a:ea typeface="Noto Sans" panose="020B0502040504020204" pitchFamily="34" charset="0"/>
              <a:cs typeface="Noto Sans" panose="020B0502040504020204" pitchFamily="34" charset="0"/>
            </a:endParaRPr>
          </a:p>
        </p:txBody>
      </p:sp>
      <p:graphicFrame>
        <p:nvGraphicFramePr>
          <p:cNvPr id="6" name="Chart 5">
            <a:extLst>
              <a:ext uri="{FF2B5EF4-FFF2-40B4-BE49-F238E27FC236}">
                <a16:creationId xmlns:a16="http://schemas.microsoft.com/office/drawing/2014/main" id="{723E0562-F0BA-9FB8-865C-2C9C05221A55}"/>
              </a:ext>
            </a:extLst>
          </p:cNvPr>
          <p:cNvGraphicFramePr/>
          <p:nvPr>
            <p:custDataLst>
              <p:tags r:id="rId10"/>
            </p:custDataLst>
            <p:extLst>
              <p:ext uri="{D42A27DB-BD31-4B8C-83A1-F6EECF244321}">
                <p14:modId xmlns:p14="http://schemas.microsoft.com/office/powerpoint/2010/main" val="1440937681"/>
              </p:ext>
            </p:extLst>
          </p:nvPr>
        </p:nvGraphicFramePr>
        <p:xfrm>
          <a:off x="6591300" y="2133600"/>
          <a:ext cx="5157788" cy="1582738"/>
        </p:xfrm>
        <a:graphic>
          <a:graphicData uri="http://schemas.openxmlformats.org/drawingml/2006/chart">
            <c:chart xmlns:c="http://schemas.openxmlformats.org/drawingml/2006/chart" xmlns:r="http://schemas.openxmlformats.org/officeDocument/2006/relationships" r:id="rId36"/>
          </a:graphicData>
        </a:graphic>
      </p:graphicFrame>
      <p:cxnSp>
        <p:nvCxnSpPr>
          <p:cNvPr id="195" name="Straight Connector 194">
            <a:extLst>
              <a:ext uri="{FF2B5EF4-FFF2-40B4-BE49-F238E27FC236}">
                <a16:creationId xmlns:a16="http://schemas.microsoft.com/office/drawing/2014/main" id="{CB5D94AD-70A6-51F2-2D6B-9527D69EC744}"/>
              </a:ext>
            </a:extLst>
          </p:cNvPr>
          <p:cNvCxnSpPr/>
          <p:nvPr>
            <p:custDataLst>
              <p:tags r:id="rId11"/>
            </p:custDataLst>
          </p:nvPr>
        </p:nvCxnSpPr>
        <p:spPr bwMode="auto">
          <a:xfrm flipV="1">
            <a:off x="7921625" y="2105025"/>
            <a:ext cx="0" cy="47942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ED62ED97-3E57-933B-6C1D-FC160C450A99}"/>
              </a:ext>
            </a:extLst>
          </p:cNvPr>
          <p:cNvCxnSpPr/>
          <p:nvPr>
            <p:custDataLst>
              <p:tags r:id="rId12"/>
            </p:custDataLst>
          </p:nvPr>
        </p:nvCxnSpPr>
        <p:spPr bwMode="auto">
          <a:xfrm>
            <a:off x="7921625" y="2105025"/>
            <a:ext cx="24971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DE3EE427-143A-01D3-430B-2CCFD6A918AE}"/>
              </a:ext>
            </a:extLst>
          </p:cNvPr>
          <p:cNvCxnSpPr/>
          <p:nvPr>
            <p:custDataLst>
              <p:tags r:id="rId13"/>
            </p:custDataLst>
          </p:nvPr>
        </p:nvCxnSpPr>
        <p:spPr bwMode="auto">
          <a:xfrm>
            <a:off x="10418763" y="2105025"/>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97" name="Rectangle 196">
            <a:extLst>
              <a:ext uri="{FF2B5EF4-FFF2-40B4-BE49-F238E27FC236}">
                <a16:creationId xmlns:a16="http://schemas.microsoft.com/office/drawing/2014/main" id="{E7640ECA-E65D-E2E9-BFF8-DC5F26069663}"/>
              </a:ext>
            </a:extLst>
          </p:cNvPr>
          <p:cNvSpPr/>
          <p:nvPr>
            <p:custDataLst>
              <p:tags r:id="rId14"/>
            </p:custDataLst>
          </p:nvPr>
        </p:nvSpPr>
        <p:spPr bwMode="auto">
          <a:xfrm>
            <a:off x="7673975" y="3533775"/>
            <a:ext cx="495300"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D7F6EC5C-DFD7-4B64-9138-03853E5ECE48}" type="datetime'''''Q3'' ''''''''''20''''''''2''''''''2'''''''''''''''''''''''">
              <a:rPr lang="en-US" altLang="en-US" sz="1000" smtClean="0">
                <a:solidFill>
                  <a:schemeClr val="tx1"/>
                </a:solidFill>
                <a:latin typeface="Arial" panose="020B0604020202020204" pitchFamily="34" charset="0"/>
              </a:rPr>
              <a:pPr/>
              <a:t>Q3 2022</a:t>
            </a:fld>
            <a:endParaRPr lang="en-US" sz="10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99" name="Rectangle 198">
            <a:extLst>
              <a:ext uri="{FF2B5EF4-FFF2-40B4-BE49-F238E27FC236}">
                <a16:creationId xmlns:a16="http://schemas.microsoft.com/office/drawing/2014/main" id="{D1F7884D-3852-ED96-CB65-4F60D84D5800}"/>
              </a:ext>
            </a:extLst>
          </p:cNvPr>
          <p:cNvSpPr/>
          <p:nvPr>
            <p:custDataLst>
              <p:tags r:id="rId15"/>
            </p:custDataLst>
          </p:nvPr>
        </p:nvSpPr>
        <p:spPr bwMode="auto">
          <a:xfrm>
            <a:off x="10171113" y="3533775"/>
            <a:ext cx="495300"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F2C6D09E-B6A9-4184-A069-1CA3EAB019DD}" type="datetime'''''Q''''3'' 2''''''''''0''''2''''''''''''''''''3'''''''''''">
              <a:rPr lang="en-US" altLang="en-US" sz="1000" smtClean="0">
                <a:solidFill>
                  <a:schemeClr val="tx1"/>
                </a:solidFill>
                <a:latin typeface="Arial" panose="020B0604020202020204" pitchFamily="34" charset="0"/>
              </a:rPr>
              <a:pPr/>
              <a:t>Q3 2023</a:t>
            </a:fld>
            <a:endParaRPr lang="en-US" sz="100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1" name="Oval 200">
            <a:extLst>
              <a:ext uri="{FF2B5EF4-FFF2-40B4-BE49-F238E27FC236}">
                <a16:creationId xmlns:a16="http://schemas.microsoft.com/office/drawing/2014/main" id="{B6AFEBB6-4208-E1DC-C13E-327C499C079F}"/>
              </a:ext>
            </a:extLst>
          </p:cNvPr>
          <p:cNvSpPr/>
          <p:nvPr>
            <p:custDataLst>
              <p:tags r:id="rId16"/>
            </p:custDataLst>
          </p:nvPr>
        </p:nvSpPr>
        <p:spPr bwMode="auto">
          <a:xfrm>
            <a:off x="8863013" y="1997075"/>
            <a:ext cx="614363" cy="215900"/>
          </a:xfrm>
          <a:prstGeom prst="ellips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6BB736C0-1349-4F0A-B36A-8F7C2B55BAE8}" type="datetime'''''''''''''''+''''''''4''''''''6.''''''2''''''''''''%'''">
              <a:rPr lang="en-US" altLang="en-US" sz="1000" b="1" smtClean="0">
                <a:solidFill>
                  <a:schemeClr val="bg1"/>
                </a:solidFill>
                <a:effectLst/>
              </a:rPr>
              <a:pPr/>
              <a:t>+46.2%</a:t>
            </a:fld>
            <a:endParaRPr lang="en-US" sz="1000" b="1" dirty="0">
              <a:solidFill>
                <a:schemeClr val="bg1"/>
              </a:solidFill>
            </a:endParaRPr>
          </a:p>
        </p:txBody>
      </p:sp>
      <p:graphicFrame>
        <p:nvGraphicFramePr>
          <p:cNvPr id="9" name="Chart 8">
            <a:extLst>
              <a:ext uri="{FF2B5EF4-FFF2-40B4-BE49-F238E27FC236}">
                <a16:creationId xmlns:a16="http://schemas.microsoft.com/office/drawing/2014/main" id="{7B13F84A-AD9A-1834-B609-7ED8DE82A286}"/>
              </a:ext>
            </a:extLst>
          </p:cNvPr>
          <p:cNvGraphicFramePr/>
          <p:nvPr>
            <p:custDataLst>
              <p:tags r:id="rId17"/>
            </p:custDataLst>
            <p:extLst>
              <p:ext uri="{D42A27DB-BD31-4B8C-83A1-F6EECF244321}">
                <p14:modId xmlns:p14="http://schemas.microsoft.com/office/powerpoint/2010/main" val="480312437"/>
              </p:ext>
            </p:extLst>
          </p:nvPr>
        </p:nvGraphicFramePr>
        <p:xfrm>
          <a:off x="584200" y="4837113"/>
          <a:ext cx="5157788" cy="1452562"/>
        </p:xfrm>
        <a:graphic>
          <a:graphicData uri="http://schemas.openxmlformats.org/drawingml/2006/chart">
            <c:chart xmlns:c="http://schemas.openxmlformats.org/drawingml/2006/chart" xmlns:r="http://schemas.openxmlformats.org/officeDocument/2006/relationships" r:id="rId37"/>
          </a:graphicData>
        </a:graphic>
      </p:graphicFrame>
      <p:cxnSp>
        <p:nvCxnSpPr>
          <p:cNvPr id="230" name="Straight Connector 229">
            <a:extLst>
              <a:ext uri="{FF2B5EF4-FFF2-40B4-BE49-F238E27FC236}">
                <a16:creationId xmlns:a16="http://schemas.microsoft.com/office/drawing/2014/main" id="{29BA76BE-D0FF-28B8-1467-8A3E94A53A82}"/>
              </a:ext>
            </a:extLst>
          </p:cNvPr>
          <p:cNvCxnSpPr/>
          <p:nvPr>
            <p:custDataLst>
              <p:tags r:id="rId18"/>
            </p:custDataLst>
          </p:nvPr>
        </p:nvCxnSpPr>
        <p:spPr bwMode="auto">
          <a:xfrm flipV="1">
            <a:off x="1914525" y="4808538"/>
            <a:ext cx="0" cy="350838"/>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DBD11DB4-A578-26E4-9817-F940CD6897F5}"/>
              </a:ext>
            </a:extLst>
          </p:cNvPr>
          <p:cNvCxnSpPr/>
          <p:nvPr>
            <p:custDataLst>
              <p:tags r:id="rId19"/>
            </p:custDataLst>
          </p:nvPr>
        </p:nvCxnSpPr>
        <p:spPr bwMode="auto">
          <a:xfrm>
            <a:off x="1914525" y="4808538"/>
            <a:ext cx="24971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3B97AD67-B503-1CDD-5681-FAE2D4266C77}"/>
              </a:ext>
            </a:extLst>
          </p:cNvPr>
          <p:cNvCxnSpPr/>
          <p:nvPr>
            <p:custDataLst>
              <p:tags r:id="rId20"/>
            </p:custDataLst>
          </p:nvPr>
        </p:nvCxnSpPr>
        <p:spPr bwMode="auto">
          <a:xfrm>
            <a:off x="4411663" y="4808538"/>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2" name="Rectangle 231">
            <a:extLst>
              <a:ext uri="{FF2B5EF4-FFF2-40B4-BE49-F238E27FC236}">
                <a16:creationId xmlns:a16="http://schemas.microsoft.com/office/drawing/2014/main" id="{82222D66-F334-71A2-EC9D-5B9D0457636F}"/>
              </a:ext>
            </a:extLst>
          </p:cNvPr>
          <p:cNvSpPr/>
          <p:nvPr>
            <p:custDataLst>
              <p:tags r:id="rId21"/>
            </p:custDataLst>
          </p:nvPr>
        </p:nvSpPr>
        <p:spPr bwMode="auto">
          <a:xfrm>
            <a:off x="1666875" y="6107113"/>
            <a:ext cx="495300"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01D52F90-2494-4001-AE0C-7860CC9BFD7C}" type="datetime'''''''Q''3'''''''''''''''''' 2''''0''''''2''''''''''''''2'">
              <a:rPr lang="en-US" altLang="en-US" sz="1000" smtClean="0">
                <a:solidFill>
                  <a:schemeClr val="tx1"/>
                </a:solidFill>
                <a:latin typeface="Arial" panose="020B0604020202020204" pitchFamily="34" charset="0"/>
              </a:rPr>
              <a:pPr/>
              <a:t>Q3 2022</a:t>
            </a:fld>
            <a:endParaRPr lang="en-US" sz="10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33" name="Rectangle 232">
            <a:extLst>
              <a:ext uri="{FF2B5EF4-FFF2-40B4-BE49-F238E27FC236}">
                <a16:creationId xmlns:a16="http://schemas.microsoft.com/office/drawing/2014/main" id="{D21D80F5-FBFF-A813-98CA-82B2DCEEEEA6}"/>
              </a:ext>
            </a:extLst>
          </p:cNvPr>
          <p:cNvSpPr/>
          <p:nvPr>
            <p:custDataLst>
              <p:tags r:id="rId22"/>
            </p:custDataLst>
          </p:nvPr>
        </p:nvSpPr>
        <p:spPr bwMode="auto">
          <a:xfrm>
            <a:off x="4164013" y="6107113"/>
            <a:ext cx="495300"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51ED9D63-C4C1-4E88-9827-2849EAC5303C}" type="datetime'Q''''''3 ''''20''''''2''''3'''''''''''''''''''''''''''">
              <a:rPr lang="en-US" altLang="en-US" sz="1000" smtClean="0">
                <a:solidFill>
                  <a:schemeClr val="tx1"/>
                </a:solidFill>
                <a:latin typeface="Arial" panose="020B0604020202020204" pitchFamily="34" charset="0"/>
              </a:rPr>
              <a:pPr/>
              <a:t>Q3 2023</a:t>
            </a:fld>
            <a:endParaRPr lang="en-US" sz="100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35" name="Oval 234">
            <a:extLst>
              <a:ext uri="{FF2B5EF4-FFF2-40B4-BE49-F238E27FC236}">
                <a16:creationId xmlns:a16="http://schemas.microsoft.com/office/drawing/2014/main" id="{563BF097-910A-71BD-82AC-1649E5045AC5}"/>
              </a:ext>
            </a:extLst>
          </p:cNvPr>
          <p:cNvSpPr/>
          <p:nvPr>
            <p:custDataLst>
              <p:tags r:id="rId23"/>
            </p:custDataLst>
          </p:nvPr>
        </p:nvSpPr>
        <p:spPr bwMode="auto">
          <a:xfrm>
            <a:off x="2855913" y="4700588"/>
            <a:ext cx="614363" cy="215900"/>
          </a:xfrm>
          <a:prstGeom prst="ellips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983492AE-53E4-4EB9-B51C-FA4EE3399A45}" type="datetime'''''''''''''''''''+''''''''2''''''''''''''''8''.''1%'''''">
              <a:rPr lang="en-US" altLang="en-US" sz="1000" b="1" smtClean="0">
                <a:solidFill>
                  <a:schemeClr val="bg1"/>
                </a:solidFill>
                <a:effectLst/>
              </a:rPr>
              <a:pPr/>
              <a:t>+28.1%</a:t>
            </a:fld>
            <a:endParaRPr lang="en-US" sz="1000" b="1" dirty="0">
              <a:solidFill>
                <a:schemeClr val="bg1"/>
              </a:solidFill>
            </a:endParaRPr>
          </a:p>
        </p:txBody>
      </p:sp>
      <p:graphicFrame>
        <p:nvGraphicFramePr>
          <p:cNvPr id="112" name="Chart 111">
            <a:extLst>
              <a:ext uri="{FF2B5EF4-FFF2-40B4-BE49-F238E27FC236}">
                <a16:creationId xmlns:a16="http://schemas.microsoft.com/office/drawing/2014/main" id="{3B470516-D152-FD4C-E69C-319D4927019D}"/>
              </a:ext>
            </a:extLst>
          </p:cNvPr>
          <p:cNvGraphicFramePr/>
          <p:nvPr>
            <p:custDataLst>
              <p:tags r:id="rId24"/>
            </p:custDataLst>
            <p:extLst>
              <p:ext uri="{D42A27DB-BD31-4B8C-83A1-F6EECF244321}">
                <p14:modId xmlns:p14="http://schemas.microsoft.com/office/powerpoint/2010/main" val="861232363"/>
              </p:ext>
            </p:extLst>
          </p:nvPr>
        </p:nvGraphicFramePr>
        <p:xfrm>
          <a:off x="6391275" y="4837113"/>
          <a:ext cx="5157788" cy="1452562"/>
        </p:xfrm>
        <a:graphic>
          <a:graphicData uri="http://schemas.openxmlformats.org/drawingml/2006/chart">
            <c:chart xmlns:c="http://schemas.openxmlformats.org/drawingml/2006/chart" xmlns:r="http://schemas.openxmlformats.org/officeDocument/2006/relationships" r:id="rId38"/>
          </a:graphicData>
        </a:graphic>
      </p:graphicFrame>
      <p:cxnSp>
        <p:nvCxnSpPr>
          <p:cNvPr id="282" name="Straight Connector 281">
            <a:extLst>
              <a:ext uri="{FF2B5EF4-FFF2-40B4-BE49-F238E27FC236}">
                <a16:creationId xmlns:a16="http://schemas.microsoft.com/office/drawing/2014/main" id="{B3D07357-49E6-39CF-4856-32649DDCE8BB}"/>
              </a:ext>
            </a:extLst>
          </p:cNvPr>
          <p:cNvCxnSpPr/>
          <p:nvPr>
            <p:custDataLst>
              <p:tags r:id="rId25"/>
            </p:custDataLst>
          </p:nvPr>
        </p:nvCxnSpPr>
        <p:spPr bwMode="auto">
          <a:xfrm flipV="1">
            <a:off x="7721600" y="4808538"/>
            <a:ext cx="0" cy="65087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E4BDFFF1-3757-D217-6136-556A8187516A}"/>
              </a:ext>
            </a:extLst>
          </p:cNvPr>
          <p:cNvCxnSpPr/>
          <p:nvPr>
            <p:custDataLst>
              <p:tags r:id="rId26"/>
            </p:custDataLst>
          </p:nvPr>
        </p:nvCxnSpPr>
        <p:spPr bwMode="auto">
          <a:xfrm>
            <a:off x="7721600" y="4808538"/>
            <a:ext cx="24971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A0B2C018-C2A1-8EDC-415C-27AAC96E3FFF}"/>
              </a:ext>
            </a:extLst>
          </p:cNvPr>
          <p:cNvCxnSpPr/>
          <p:nvPr>
            <p:custDataLst>
              <p:tags r:id="rId27"/>
            </p:custDataLst>
          </p:nvPr>
        </p:nvCxnSpPr>
        <p:spPr bwMode="auto">
          <a:xfrm>
            <a:off x="10218738" y="4808538"/>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86" name="Rectangle 285">
            <a:extLst>
              <a:ext uri="{FF2B5EF4-FFF2-40B4-BE49-F238E27FC236}">
                <a16:creationId xmlns:a16="http://schemas.microsoft.com/office/drawing/2014/main" id="{423486D8-6CC3-CEDC-2653-B9C810DA5880}"/>
              </a:ext>
            </a:extLst>
          </p:cNvPr>
          <p:cNvSpPr/>
          <p:nvPr>
            <p:custDataLst>
              <p:tags r:id="rId28"/>
            </p:custDataLst>
          </p:nvPr>
        </p:nvSpPr>
        <p:spPr bwMode="auto">
          <a:xfrm>
            <a:off x="7473950" y="6107113"/>
            <a:ext cx="495300"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7634FA04-0BEF-45F2-AC51-FB0AA9DD266A}" type="datetime'''''''''''''''''''''''''''''Q''''3 ''''20''''''22'''''''''''''">
              <a:rPr lang="en-US" altLang="en-US" sz="1000" smtClean="0">
                <a:solidFill>
                  <a:schemeClr val="tx1"/>
                </a:solidFill>
                <a:latin typeface="Arial" panose="020B0604020202020204" pitchFamily="34" charset="0"/>
              </a:rPr>
              <a:pPr/>
              <a:t>Q3 2022</a:t>
            </a:fld>
            <a:endParaRPr lang="en-US" sz="10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87" name="Rectangle 286">
            <a:extLst>
              <a:ext uri="{FF2B5EF4-FFF2-40B4-BE49-F238E27FC236}">
                <a16:creationId xmlns:a16="http://schemas.microsoft.com/office/drawing/2014/main" id="{29D306E4-60E5-54AB-E0A7-B4EAC64C0ECC}"/>
              </a:ext>
            </a:extLst>
          </p:cNvPr>
          <p:cNvSpPr/>
          <p:nvPr>
            <p:custDataLst>
              <p:tags r:id="rId29"/>
            </p:custDataLst>
          </p:nvPr>
        </p:nvSpPr>
        <p:spPr bwMode="auto">
          <a:xfrm>
            <a:off x="9971088" y="6107113"/>
            <a:ext cx="495300"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8C19B45C-48D3-4370-B32F-73AD892446D8}" type="datetime'''''''''Q''3 ''2''''''''0''''''2''''''''3'''''''''''''''">
              <a:rPr lang="en-US" altLang="en-US" sz="1000" smtClean="0">
                <a:solidFill>
                  <a:schemeClr val="tx1"/>
                </a:solidFill>
                <a:latin typeface="Arial" panose="020B0604020202020204" pitchFamily="34" charset="0"/>
              </a:rPr>
              <a:pPr/>
              <a:t>Q3 2023</a:t>
            </a:fld>
            <a:endParaRPr lang="en-US" sz="100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88" name="Oval 287">
            <a:extLst>
              <a:ext uri="{FF2B5EF4-FFF2-40B4-BE49-F238E27FC236}">
                <a16:creationId xmlns:a16="http://schemas.microsoft.com/office/drawing/2014/main" id="{4AA2FC47-3A7A-B293-0CB5-ADEA64240EC3}"/>
              </a:ext>
            </a:extLst>
          </p:cNvPr>
          <p:cNvSpPr/>
          <p:nvPr>
            <p:custDataLst>
              <p:tags r:id="rId30"/>
            </p:custDataLst>
          </p:nvPr>
        </p:nvSpPr>
        <p:spPr bwMode="auto">
          <a:xfrm>
            <a:off x="8613775" y="4700588"/>
            <a:ext cx="712788" cy="215900"/>
          </a:xfrm>
          <a:prstGeom prst="ellips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C8C11C86-181D-4EEA-9E25-C10141D6B6D3}" type="datetime'''''''''+''''''1''2''''''''''''''''3''''''''''.''0''''%'''''">
              <a:rPr lang="en-US" altLang="en-US" sz="1000" b="1" smtClean="0">
                <a:solidFill>
                  <a:schemeClr val="bg1"/>
                </a:solidFill>
                <a:effectLst/>
              </a:rPr>
              <a:pPr/>
              <a:t>+123.0%</a:t>
            </a:fld>
            <a:endParaRPr lang="en-US" sz="1000" b="1" dirty="0">
              <a:solidFill>
                <a:schemeClr val="bg1"/>
              </a:solidFill>
            </a:endParaRPr>
          </a:p>
        </p:txBody>
      </p:sp>
    </p:spTree>
    <p:extLst>
      <p:ext uri="{BB962C8B-B14F-4D97-AF65-F5344CB8AC3E}">
        <p14:creationId xmlns:p14="http://schemas.microsoft.com/office/powerpoint/2010/main" val="397817141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5965535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3" imgW="592" imgH="661" progId="TCLayout.ActiveDocument.1">
                  <p:embed/>
                </p:oleObj>
              </mc:Choice>
              <mc:Fallback>
                <p:oleObj name="think-cell Slide" r:id="rId33" imgW="592" imgH="661" progId="TCLayout.ActiveDocument.1">
                  <p:embed/>
                  <p:pic>
                    <p:nvPicPr>
                      <p:cNvPr id="13" name="Object 12" hidden="1"/>
                      <p:cNvPicPr/>
                      <p:nvPr/>
                    </p:nvPicPr>
                    <p:blipFill>
                      <a:blip r:embed="rId34"/>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000" dirty="0">
              <a:latin typeface="Noto Sans" panose="020B0502040504020204" pitchFamily="34"/>
              <a:sym typeface="Noto Sans" panose="020B0502040504020204" pitchFamily="34"/>
            </a:endParaRPr>
          </a:p>
        </p:txBody>
      </p:sp>
      <p:sp>
        <p:nvSpPr>
          <p:cNvPr id="7" name="Rectangle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000" dirty="0">
              <a:sym typeface="+mn-lt"/>
            </a:endParaRPr>
          </a:p>
        </p:txBody>
      </p:sp>
      <p:sp>
        <p:nvSpPr>
          <p:cNvPr id="49" name="Text Placeholder 8">
            <a:extLst>
              <a:ext uri="{FF2B5EF4-FFF2-40B4-BE49-F238E27FC236}">
                <a16:creationId xmlns:a16="http://schemas.microsoft.com/office/drawing/2014/main" id="{405E3712-BFDB-4D75-9DB9-4D73062E9849}"/>
              </a:ext>
            </a:extLst>
          </p:cNvPr>
          <p:cNvSpPr>
            <a:spLocks noGrp="1"/>
          </p:cNvSpPr>
          <p:nvPr>
            <p:ph type="body" sz="quarter" idx="34"/>
          </p:nvPr>
        </p:nvSpPr>
        <p:spPr>
          <a:xfrm>
            <a:off x="304799" y="79095"/>
            <a:ext cx="10594539" cy="337873"/>
          </a:xfrm>
        </p:spPr>
        <p:txBody>
          <a:bodyPr/>
          <a:lstStyle/>
          <a:p>
            <a:r>
              <a:rPr lang="en-US" dirty="0"/>
              <a:t>Agility Income Statement – 9M 2023      </a:t>
            </a:r>
          </a:p>
          <a:p>
            <a:r>
              <a:rPr lang="en-US" dirty="0"/>
              <a:t>(KD </a:t>
            </a:r>
            <a:r>
              <a:rPr lang="en-US" dirty="0" err="1"/>
              <a:t>Mln</a:t>
            </a:r>
            <a:r>
              <a:rPr lang="en-US" dirty="0"/>
              <a:t>) </a:t>
            </a:r>
          </a:p>
        </p:txBody>
      </p:sp>
      <p:sp>
        <p:nvSpPr>
          <p:cNvPr id="54" name="Rectangle 53">
            <a:extLst>
              <a:ext uri="{FF2B5EF4-FFF2-40B4-BE49-F238E27FC236}">
                <a16:creationId xmlns:a16="http://schemas.microsoft.com/office/drawing/2014/main" id="{3EECECDA-415E-4336-AB3B-E1E8F88658C1}"/>
              </a:ext>
            </a:extLst>
          </p:cNvPr>
          <p:cNvSpPr/>
          <p:nvPr/>
        </p:nvSpPr>
        <p:spPr>
          <a:xfrm flipH="1">
            <a:off x="312358" y="1291969"/>
            <a:ext cx="5716859" cy="24763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69965" tIns="17998" rIns="449941" bIns="17998" rtlCol="0" anchor="ctr"/>
          <a:lstStyle/>
          <a:p>
            <a:pPr defTabSz="457109" fontAlgn="base">
              <a:spcBef>
                <a:spcPct val="0"/>
              </a:spcBef>
              <a:spcAft>
                <a:spcPct val="0"/>
              </a:spcAft>
            </a:pPr>
            <a:endParaRPr lang="en-US" sz="1600" b="1" dirty="0">
              <a:solidFill>
                <a:srgbClr val="D86018"/>
              </a:solidFill>
              <a:latin typeface="+mj-lt"/>
              <a:ea typeface="Noto Sans" panose="020B0502040504020204" pitchFamily="34" charset="0"/>
              <a:cs typeface="Noto Sans" panose="020B0502040504020204" pitchFamily="34" charset="0"/>
            </a:endParaRPr>
          </a:p>
        </p:txBody>
      </p:sp>
      <p:sp>
        <p:nvSpPr>
          <p:cNvPr id="55" name="Rectangle 54">
            <a:extLst>
              <a:ext uri="{FF2B5EF4-FFF2-40B4-BE49-F238E27FC236}">
                <a16:creationId xmlns:a16="http://schemas.microsoft.com/office/drawing/2014/main" id="{A1A05378-D1F3-43AB-8404-999E0079DE02}"/>
              </a:ext>
            </a:extLst>
          </p:cNvPr>
          <p:cNvSpPr/>
          <p:nvPr/>
        </p:nvSpPr>
        <p:spPr>
          <a:xfrm flipH="1">
            <a:off x="6170341" y="1291969"/>
            <a:ext cx="5716859" cy="24763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69965" tIns="17998" rIns="449941" bIns="17998" rtlCol="0" anchor="ctr"/>
          <a:lstStyle/>
          <a:p>
            <a:pPr defTabSz="457109" fontAlgn="base">
              <a:spcBef>
                <a:spcPct val="0"/>
              </a:spcBef>
              <a:spcAft>
                <a:spcPct val="0"/>
              </a:spcAft>
            </a:pPr>
            <a:endParaRPr lang="en-US" sz="1600" b="1" dirty="0">
              <a:solidFill>
                <a:srgbClr val="D86018"/>
              </a:solidFill>
              <a:latin typeface="+mj-lt"/>
              <a:ea typeface="Noto Sans" panose="020B0502040504020204" pitchFamily="34" charset="0"/>
              <a:cs typeface="Noto Sans" panose="020B0502040504020204" pitchFamily="34" charset="0"/>
            </a:endParaRPr>
          </a:p>
        </p:txBody>
      </p:sp>
      <p:sp>
        <p:nvSpPr>
          <p:cNvPr id="56" name="Rectangle 55">
            <a:extLst>
              <a:ext uri="{FF2B5EF4-FFF2-40B4-BE49-F238E27FC236}">
                <a16:creationId xmlns:a16="http://schemas.microsoft.com/office/drawing/2014/main" id="{5EC0ADE6-F38E-43BE-A1B8-ADE7F20669FD}"/>
              </a:ext>
            </a:extLst>
          </p:cNvPr>
          <p:cNvSpPr/>
          <p:nvPr/>
        </p:nvSpPr>
        <p:spPr>
          <a:xfrm flipH="1">
            <a:off x="304799" y="3902139"/>
            <a:ext cx="5716859" cy="24763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69965" tIns="17998" rIns="449941" bIns="17998" rtlCol="0" anchor="ctr"/>
          <a:lstStyle/>
          <a:p>
            <a:pPr defTabSz="457109" fontAlgn="base">
              <a:spcBef>
                <a:spcPct val="0"/>
              </a:spcBef>
              <a:spcAft>
                <a:spcPct val="0"/>
              </a:spcAft>
            </a:pPr>
            <a:endParaRPr lang="en-US" sz="1600" b="1" dirty="0">
              <a:solidFill>
                <a:srgbClr val="D86018"/>
              </a:solidFill>
              <a:latin typeface="+mj-lt"/>
              <a:ea typeface="Noto Sans" panose="020B0502040504020204" pitchFamily="34" charset="0"/>
              <a:cs typeface="Noto Sans" panose="020B0502040504020204" pitchFamily="34" charset="0"/>
            </a:endParaRPr>
          </a:p>
        </p:txBody>
      </p:sp>
      <p:sp>
        <p:nvSpPr>
          <p:cNvPr id="57" name="Rectangle 56">
            <a:extLst>
              <a:ext uri="{FF2B5EF4-FFF2-40B4-BE49-F238E27FC236}">
                <a16:creationId xmlns:a16="http://schemas.microsoft.com/office/drawing/2014/main" id="{05FE08A6-EDDE-4DDC-83A8-C2285B8E40EF}"/>
              </a:ext>
            </a:extLst>
          </p:cNvPr>
          <p:cNvSpPr/>
          <p:nvPr/>
        </p:nvSpPr>
        <p:spPr>
          <a:xfrm flipH="1">
            <a:off x="6170341" y="3902139"/>
            <a:ext cx="5716859" cy="2476359"/>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69965" tIns="17998" rIns="449941" bIns="17998" rtlCol="0" anchor="ctr"/>
          <a:lstStyle/>
          <a:p>
            <a:pPr defTabSz="457109" fontAlgn="base">
              <a:spcBef>
                <a:spcPct val="0"/>
              </a:spcBef>
              <a:spcAft>
                <a:spcPct val="0"/>
              </a:spcAft>
            </a:pPr>
            <a:endParaRPr lang="en-US" sz="1600" b="1" dirty="0">
              <a:solidFill>
                <a:srgbClr val="D86018"/>
              </a:solidFill>
              <a:latin typeface="+mj-lt"/>
              <a:ea typeface="Noto Sans" panose="020B0502040504020204" pitchFamily="34" charset="0"/>
              <a:cs typeface="Noto Sans" panose="020B0502040504020204" pitchFamily="34" charset="0"/>
            </a:endParaRPr>
          </a:p>
        </p:txBody>
      </p:sp>
      <p:sp>
        <p:nvSpPr>
          <p:cNvPr id="66" name="TextBox 340">
            <a:extLst>
              <a:ext uri="{FF2B5EF4-FFF2-40B4-BE49-F238E27FC236}">
                <a16:creationId xmlns:a16="http://schemas.microsoft.com/office/drawing/2014/main" id="{93E6DAF7-E327-4692-BBAD-907D5A799E6E}"/>
              </a:ext>
            </a:extLst>
          </p:cNvPr>
          <p:cNvSpPr txBox="1">
            <a:spLocks noChangeArrowheads="1"/>
          </p:cNvSpPr>
          <p:nvPr/>
        </p:nvSpPr>
        <p:spPr bwMode="auto">
          <a:xfrm>
            <a:off x="443994" y="1385419"/>
            <a:ext cx="3456437" cy="307777"/>
          </a:xfrm>
          <a:prstGeom prst="rect">
            <a:avLst/>
          </a:prstGeom>
          <a:noFill/>
          <a:ln w="9525">
            <a:noFill/>
            <a:miter lim="800000"/>
            <a:headEnd/>
            <a:tailEnd/>
          </a:ln>
        </p:spPr>
        <p:txBody>
          <a:bodyPr wrap="square" lIns="0" rIns="0" anchor="ctr">
            <a:spAutoFit/>
          </a:bodyPr>
          <a:lstStyle/>
          <a:p>
            <a:r>
              <a:rPr lang="en-US" sz="1400" b="1" dirty="0">
                <a:cs typeface="Arial" panose="020B0604020202020204" pitchFamily="34" charset="0"/>
              </a:rPr>
              <a:t>Revenue</a:t>
            </a:r>
          </a:p>
        </p:txBody>
      </p:sp>
      <p:cxnSp>
        <p:nvCxnSpPr>
          <p:cNvPr id="68" name="Straight Connector 67">
            <a:extLst>
              <a:ext uri="{FF2B5EF4-FFF2-40B4-BE49-F238E27FC236}">
                <a16:creationId xmlns:a16="http://schemas.microsoft.com/office/drawing/2014/main" id="{FF2F0399-169B-451D-AF21-AA6D793BE024}"/>
              </a:ext>
            </a:extLst>
          </p:cNvPr>
          <p:cNvCxnSpPr>
            <a:cxnSpLocks/>
          </p:cNvCxnSpPr>
          <p:nvPr/>
        </p:nvCxnSpPr>
        <p:spPr>
          <a:xfrm>
            <a:off x="343299" y="1416196"/>
            <a:ext cx="0" cy="246888"/>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76" name="TextBox 340">
            <a:extLst>
              <a:ext uri="{FF2B5EF4-FFF2-40B4-BE49-F238E27FC236}">
                <a16:creationId xmlns:a16="http://schemas.microsoft.com/office/drawing/2014/main" id="{E1180D2C-CF35-4E8A-AB11-4994C632764A}"/>
              </a:ext>
            </a:extLst>
          </p:cNvPr>
          <p:cNvSpPr txBox="1">
            <a:spLocks noChangeArrowheads="1"/>
          </p:cNvSpPr>
          <p:nvPr/>
        </p:nvSpPr>
        <p:spPr bwMode="auto">
          <a:xfrm>
            <a:off x="6313298" y="1385419"/>
            <a:ext cx="3456437" cy="307777"/>
          </a:xfrm>
          <a:prstGeom prst="rect">
            <a:avLst/>
          </a:prstGeom>
          <a:noFill/>
          <a:ln w="9525">
            <a:noFill/>
            <a:miter lim="800000"/>
            <a:headEnd/>
            <a:tailEnd/>
          </a:ln>
        </p:spPr>
        <p:txBody>
          <a:bodyPr wrap="square" lIns="0" rIns="0" anchor="ctr">
            <a:spAutoFit/>
          </a:bodyPr>
          <a:lstStyle/>
          <a:p>
            <a:r>
              <a:rPr lang="en-US" sz="1400" b="1" dirty="0">
                <a:cs typeface="Arial" panose="020B0604020202020204" pitchFamily="34" charset="0"/>
              </a:rPr>
              <a:t>Net Revenue</a:t>
            </a:r>
          </a:p>
        </p:txBody>
      </p:sp>
      <p:cxnSp>
        <p:nvCxnSpPr>
          <p:cNvPr id="78" name="Straight Connector 77">
            <a:extLst>
              <a:ext uri="{FF2B5EF4-FFF2-40B4-BE49-F238E27FC236}">
                <a16:creationId xmlns:a16="http://schemas.microsoft.com/office/drawing/2014/main" id="{FCCDC39B-E70B-4276-9B61-88F46DD267BF}"/>
              </a:ext>
            </a:extLst>
          </p:cNvPr>
          <p:cNvCxnSpPr>
            <a:cxnSpLocks/>
          </p:cNvCxnSpPr>
          <p:nvPr/>
        </p:nvCxnSpPr>
        <p:spPr>
          <a:xfrm>
            <a:off x="6212603" y="1416196"/>
            <a:ext cx="0" cy="246888"/>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86" name="TextBox 340">
            <a:extLst>
              <a:ext uri="{FF2B5EF4-FFF2-40B4-BE49-F238E27FC236}">
                <a16:creationId xmlns:a16="http://schemas.microsoft.com/office/drawing/2014/main" id="{76D29A1A-0BAA-438D-B0BA-7CA035E9B364}"/>
              </a:ext>
            </a:extLst>
          </p:cNvPr>
          <p:cNvSpPr txBox="1">
            <a:spLocks noChangeArrowheads="1"/>
          </p:cNvSpPr>
          <p:nvPr/>
        </p:nvSpPr>
        <p:spPr bwMode="auto">
          <a:xfrm>
            <a:off x="443994" y="4052228"/>
            <a:ext cx="3456437" cy="307777"/>
          </a:xfrm>
          <a:prstGeom prst="rect">
            <a:avLst/>
          </a:prstGeom>
          <a:noFill/>
          <a:ln w="9525">
            <a:noFill/>
            <a:miter lim="800000"/>
            <a:headEnd/>
            <a:tailEnd/>
          </a:ln>
        </p:spPr>
        <p:txBody>
          <a:bodyPr wrap="square" lIns="0" rIns="0" anchor="ctr">
            <a:spAutoFit/>
          </a:bodyPr>
          <a:lstStyle/>
          <a:p>
            <a:r>
              <a:rPr lang="en-US" sz="1400" b="1" dirty="0">
                <a:cs typeface="Arial" panose="020B0604020202020204" pitchFamily="34" charset="0"/>
              </a:rPr>
              <a:t>EBITDA</a:t>
            </a:r>
          </a:p>
        </p:txBody>
      </p:sp>
      <p:cxnSp>
        <p:nvCxnSpPr>
          <p:cNvPr id="67" name="Straight Connector 66">
            <a:extLst>
              <a:ext uri="{FF2B5EF4-FFF2-40B4-BE49-F238E27FC236}">
                <a16:creationId xmlns:a16="http://schemas.microsoft.com/office/drawing/2014/main" id="{24D88B72-B417-47FA-A143-17DD7E524814}"/>
              </a:ext>
            </a:extLst>
          </p:cNvPr>
          <p:cNvCxnSpPr>
            <a:cxnSpLocks/>
          </p:cNvCxnSpPr>
          <p:nvPr/>
        </p:nvCxnSpPr>
        <p:spPr>
          <a:xfrm>
            <a:off x="1378293" y="1540816"/>
            <a:ext cx="4429930" cy="0"/>
          </a:xfrm>
          <a:prstGeom prst="line">
            <a:avLst/>
          </a:prstGeom>
          <a:ln w="3175">
            <a:solidFill>
              <a:schemeClr val="bg1">
                <a:lumMod val="85000"/>
              </a:schemeClr>
            </a:solidFill>
          </a:ln>
        </p:spPr>
        <p:style>
          <a:lnRef idx="1">
            <a:schemeClr val="accent4"/>
          </a:lnRef>
          <a:fillRef idx="0">
            <a:schemeClr val="accent4"/>
          </a:fillRef>
          <a:effectRef idx="0">
            <a:schemeClr val="accent4"/>
          </a:effectRef>
          <a:fontRef idx="minor">
            <a:schemeClr val="tx1"/>
          </a:fontRef>
        </p:style>
      </p:cxnSp>
      <p:cxnSp>
        <p:nvCxnSpPr>
          <p:cNvPr id="87" name="Straight Connector 86">
            <a:extLst>
              <a:ext uri="{FF2B5EF4-FFF2-40B4-BE49-F238E27FC236}">
                <a16:creationId xmlns:a16="http://schemas.microsoft.com/office/drawing/2014/main" id="{F1548C47-B198-49B4-9730-6404B128E351}"/>
              </a:ext>
            </a:extLst>
          </p:cNvPr>
          <p:cNvCxnSpPr>
            <a:cxnSpLocks/>
          </p:cNvCxnSpPr>
          <p:nvPr/>
        </p:nvCxnSpPr>
        <p:spPr>
          <a:xfrm>
            <a:off x="1261641" y="4207625"/>
            <a:ext cx="4546582" cy="0"/>
          </a:xfrm>
          <a:prstGeom prst="line">
            <a:avLst/>
          </a:prstGeom>
          <a:ln w="3175">
            <a:solidFill>
              <a:schemeClr val="bg1">
                <a:lumMod val="85000"/>
              </a:schemeClr>
            </a:solidFill>
          </a:ln>
        </p:spPr>
        <p:style>
          <a:lnRef idx="1">
            <a:schemeClr val="accent4"/>
          </a:lnRef>
          <a:fillRef idx="0">
            <a:schemeClr val="accent4"/>
          </a:fillRef>
          <a:effectRef idx="0">
            <a:schemeClr val="accent4"/>
          </a:effectRef>
          <a:fontRef idx="minor">
            <a:schemeClr val="tx1"/>
          </a:fontRef>
        </p:style>
      </p:cxnSp>
      <p:cxnSp>
        <p:nvCxnSpPr>
          <p:cNvPr id="88" name="Straight Connector 87">
            <a:extLst>
              <a:ext uri="{FF2B5EF4-FFF2-40B4-BE49-F238E27FC236}">
                <a16:creationId xmlns:a16="http://schemas.microsoft.com/office/drawing/2014/main" id="{A0B03092-7BB4-466D-B523-C03123E04B35}"/>
              </a:ext>
            </a:extLst>
          </p:cNvPr>
          <p:cNvCxnSpPr>
            <a:cxnSpLocks/>
          </p:cNvCxnSpPr>
          <p:nvPr/>
        </p:nvCxnSpPr>
        <p:spPr>
          <a:xfrm>
            <a:off x="343299" y="4083005"/>
            <a:ext cx="0" cy="246888"/>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sp>
        <p:nvSpPr>
          <p:cNvPr id="96" name="TextBox 340">
            <a:extLst>
              <a:ext uri="{FF2B5EF4-FFF2-40B4-BE49-F238E27FC236}">
                <a16:creationId xmlns:a16="http://schemas.microsoft.com/office/drawing/2014/main" id="{FA02C4F9-E774-4452-BD5D-19AF3D0E6A61}"/>
              </a:ext>
            </a:extLst>
          </p:cNvPr>
          <p:cNvSpPr txBox="1">
            <a:spLocks noChangeArrowheads="1"/>
          </p:cNvSpPr>
          <p:nvPr/>
        </p:nvSpPr>
        <p:spPr bwMode="auto">
          <a:xfrm>
            <a:off x="6313298" y="4052228"/>
            <a:ext cx="3456437" cy="307777"/>
          </a:xfrm>
          <a:prstGeom prst="rect">
            <a:avLst/>
          </a:prstGeom>
          <a:noFill/>
          <a:ln w="9525">
            <a:noFill/>
            <a:miter lim="800000"/>
            <a:headEnd/>
            <a:tailEnd/>
          </a:ln>
        </p:spPr>
        <p:txBody>
          <a:bodyPr wrap="square" lIns="0" rIns="0" anchor="ctr">
            <a:spAutoFit/>
          </a:bodyPr>
          <a:lstStyle/>
          <a:p>
            <a:r>
              <a:rPr lang="en-US" sz="1400" b="1" dirty="0">
                <a:cs typeface="Arial" panose="020B0604020202020204" pitchFamily="34" charset="0"/>
              </a:rPr>
              <a:t>Net Profit</a:t>
            </a:r>
          </a:p>
        </p:txBody>
      </p:sp>
      <p:cxnSp>
        <p:nvCxnSpPr>
          <p:cNvPr id="77" name="Straight Connector 76">
            <a:extLst>
              <a:ext uri="{FF2B5EF4-FFF2-40B4-BE49-F238E27FC236}">
                <a16:creationId xmlns:a16="http://schemas.microsoft.com/office/drawing/2014/main" id="{B82A46CB-010B-4941-9065-015E73F3D1BE}"/>
              </a:ext>
            </a:extLst>
          </p:cNvPr>
          <p:cNvCxnSpPr>
            <a:cxnSpLocks/>
          </p:cNvCxnSpPr>
          <p:nvPr/>
        </p:nvCxnSpPr>
        <p:spPr>
          <a:xfrm>
            <a:off x="7670702" y="1540816"/>
            <a:ext cx="3995502" cy="0"/>
          </a:xfrm>
          <a:prstGeom prst="line">
            <a:avLst/>
          </a:prstGeom>
          <a:ln w="3175">
            <a:solidFill>
              <a:schemeClr val="bg1">
                <a:lumMod val="85000"/>
              </a:schemeClr>
            </a:solidFill>
          </a:ln>
        </p:spPr>
        <p:style>
          <a:lnRef idx="1">
            <a:schemeClr val="accent4"/>
          </a:lnRef>
          <a:fillRef idx="0">
            <a:schemeClr val="accent4"/>
          </a:fillRef>
          <a:effectRef idx="0">
            <a:schemeClr val="accent4"/>
          </a:effectRef>
          <a:fontRef idx="minor">
            <a:schemeClr val="tx1"/>
          </a:fontRef>
        </p:style>
      </p:cxnSp>
      <p:cxnSp>
        <p:nvCxnSpPr>
          <p:cNvPr id="98" name="Straight Connector 97">
            <a:extLst>
              <a:ext uri="{FF2B5EF4-FFF2-40B4-BE49-F238E27FC236}">
                <a16:creationId xmlns:a16="http://schemas.microsoft.com/office/drawing/2014/main" id="{B61C1C7E-D1E9-415E-A9B9-281D0779E7AE}"/>
              </a:ext>
            </a:extLst>
          </p:cNvPr>
          <p:cNvCxnSpPr>
            <a:cxnSpLocks/>
          </p:cNvCxnSpPr>
          <p:nvPr/>
        </p:nvCxnSpPr>
        <p:spPr>
          <a:xfrm>
            <a:off x="6212603" y="4083005"/>
            <a:ext cx="0" cy="246888"/>
          </a:xfrm>
          <a:prstGeom prst="line">
            <a:avLst/>
          </a:prstGeom>
          <a:ln w="38100">
            <a:solidFill>
              <a:schemeClr val="accent3"/>
            </a:solidFill>
          </a:ln>
        </p:spPr>
        <p:style>
          <a:lnRef idx="1">
            <a:schemeClr val="accent1"/>
          </a:lnRef>
          <a:fillRef idx="0">
            <a:schemeClr val="accent1"/>
          </a:fillRef>
          <a:effectRef idx="0">
            <a:schemeClr val="accent1"/>
          </a:effectRef>
          <a:fontRef idx="minor">
            <a:schemeClr val="tx1"/>
          </a:fontRef>
        </p:style>
      </p:cxnSp>
      <p:graphicFrame>
        <p:nvGraphicFramePr>
          <p:cNvPr id="24" name="Chart 23">
            <a:extLst>
              <a:ext uri="{FF2B5EF4-FFF2-40B4-BE49-F238E27FC236}">
                <a16:creationId xmlns:a16="http://schemas.microsoft.com/office/drawing/2014/main" id="{913B0C01-2DA6-EF33-83A2-4E56DE43DDB9}"/>
              </a:ext>
            </a:extLst>
          </p:cNvPr>
          <p:cNvGraphicFramePr/>
          <p:nvPr>
            <p:custDataLst>
              <p:tags r:id="rId3"/>
            </p:custDataLst>
            <p:extLst>
              <p:ext uri="{D42A27DB-BD31-4B8C-83A1-F6EECF244321}">
                <p14:modId xmlns:p14="http://schemas.microsoft.com/office/powerpoint/2010/main" val="3511568875"/>
              </p:ext>
            </p:extLst>
          </p:nvPr>
        </p:nvGraphicFramePr>
        <p:xfrm>
          <a:off x="584200" y="2133600"/>
          <a:ext cx="5157788" cy="1582738"/>
        </p:xfrm>
        <a:graphic>
          <a:graphicData uri="http://schemas.openxmlformats.org/drawingml/2006/chart">
            <c:chart xmlns:c="http://schemas.openxmlformats.org/drawingml/2006/chart" xmlns:r="http://schemas.openxmlformats.org/officeDocument/2006/relationships" r:id="rId35"/>
          </a:graphicData>
        </a:graphic>
      </p:graphicFrame>
      <p:cxnSp>
        <p:nvCxnSpPr>
          <p:cNvPr id="21" name="Straight Connector 20"/>
          <p:cNvCxnSpPr/>
          <p:nvPr>
            <p:custDataLst>
              <p:tags r:id="rId4"/>
            </p:custDataLst>
          </p:nvPr>
        </p:nvCxnSpPr>
        <p:spPr bwMode="auto">
          <a:xfrm flipV="1">
            <a:off x="1914525" y="2105026"/>
            <a:ext cx="0" cy="64611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Straight Connector 21"/>
          <p:cNvCxnSpPr>
            <a:cxnSpLocks/>
          </p:cNvCxnSpPr>
          <p:nvPr>
            <p:custDataLst>
              <p:tags r:id="rId5"/>
            </p:custDataLst>
          </p:nvPr>
        </p:nvCxnSpPr>
        <p:spPr bwMode="auto">
          <a:xfrm>
            <a:off x="1914525" y="2105025"/>
            <a:ext cx="24971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Straight Connector 22"/>
          <p:cNvCxnSpPr/>
          <p:nvPr>
            <p:custDataLst>
              <p:tags r:id="rId6"/>
            </p:custDataLst>
          </p:nvPr>
        </p:nvCxnSpPr>
        <p:spPr bwMode="auto">
          <a:xfrm>
            <a:off x="4411663" y="2105025"/>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00" name="Rectangle 99"/>
          <p:cNvSpPr/>
          <p:nvPr>
            <p:custDataLst>
              <p:tags r:id="rId7"/>
            </p:custDataLst>
          </p:nvPr>
        </p:nvSpPr>
        <p:spPr bwMode="auto">
          <a:xfrm>
            <a:off x="1658938" y="3533775"/>
            <a:ext cx="511175"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96DB6DBA-F642-4B3C-92F1-BBB019564828}" type="datetime'9M'' 2''''''''''''0''2''2'''''''''''''''''''''''''''">
              <a:rPr lang="en-US" altLang="en-US" sz="1000" smtClean="0">
                <a:solidFill>
                  <a:schemeClr val="tx1"/>
                </a:solidFill>
              </a:rPr>
              <a:pPr/>
              <a:t>9M 2022</a:t>
            </a:fld>
            <a:endParaRPr lang="en-US" sz="1000" dirty="0">
              <a:solidFill>
                <a:schemeClr val="tx1"/>
              </a:solidFill>
              <a:sym typeface="Arial" panose="020B0604020202020204" pitchFamily="34" charset="0"/>
            </a:endParaRPr>
          </a:p>
        </p:txBody>
      </p:sp>
      <p:sp>
        <p:nvSpPr>
          <p:cNvPr id="25" name="Rectangle 24"/>
          <p:cNvSpPr/>
          <p:nvPr>
            <p:custDataLst>
              <p:tags r:id="rId8"/>
            </p:custDataLst>
          </p:nvPr>
        </p:nvSpPr>
        <p:spPr bwMode="auto">
          <a:xfrm>
            <a:off x="4156075" y="3533775"/>
            <a:ext cx="511175"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87836FCE-39B9-48DE-ADCB-ADB754CE10CD}" type="datetime'9''''''''''M'''''''' 2''0''''2''''''''''''''''''''3'''">
              <a:rPr lang="en-US" altLang="en-US" sz="1000" smtClean="0">
                <a:solidFill>
                  <a:schemeClr val="tx1"/>
                </a:solidFill>
              </a:rPr>
              <a:pPr/>
              <a:t>9M 2023</a:t>
            </a:fld>
            <a:endParaRPr lang="en-US" sz="1000">
              <a:solidFill>
                <a:schemeClr val="tx1"/>
              </a:solidFill>
              <a:sym typeface="Arial" panose="020B0604020202020204" pitchFamily="34" charset="0"/>
            </a:endParaRPr>
          </a:p>
        </p:txBody>
      </p:sp>
      <p:sp>
        <p:nvSpPr>
          <p:cNvPr id="14" name="Oval 13"/>
          <p:cNvSpPr/>
          <p:nvPr>
            <p:custDataLst>
              <p:tags r:id="rId9"/>
            </p:custDataLst>
          </p:nvPr>
        </p:nvSpPr>
        <p:spPr bwMode="auto">
          <a:xfrm>
            <a:off x="2855914" y="1997075"/>
            <a:ext cx="614363" cy="215900"/>
          </a:xfrm>
          <a:prstGeom prst="ellips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E886039F-9C9A-4656-8326-FFEB0AB7B18E}" type="datetime'''+''''''''''''''''9''''''''''''''''''''1''''.''5''%'''''">
              <a:rPr lang="en-US" altLang="en-US" sz="1000" b="1" smtClean="0">
                <a:solidFill>
                  <a:schemeClr val="bg1"/>
                </a:solidFill>
                <a:effectLst/>
              </a:rPr>
              <a:pPr/>
              <a:t>+91.5%</a:t>
            </a:fld>
            <a:endParaRPr lang="en-US" sz="1000" b="1" dirty="0">
              <a:solidFill>
                <a:schemeClr val="bg1"/>
              </a:solidFill>
            </a:endParaRPr>
          </a:p>
        </p:txBody>
      </p:sp>
      <p:sp>
        <p:nvSpPr>
          <p:cNvPr id="221" name="TextBox 220"/>
          <p:cNvSpPr txBox="1"/>
          <p:nvPr/>
        </p:nvSpPr>
        <p:spPr>
          <a:xfrm>
            <a:off x="10306373" y="4673600"/>
            <a:ext cx="1359831" cy="250825"/>
          </a:xfrm>
          <a:prstGeom prst="rect">
            <a:avLst/>
          </a:prstGeom>
          <a:noFill/>
          <a:ln>
            <a:noFill/>
          </a:ln>
        </p:spPr>
        <p:txBody>
          <a:bodyPr wrap="square" lIns="0" tIns="0" rIns="0" bIns="0" rtlCol="0" anchor="t" anchorCtr="0">
            <a:noAutofit/>
          </a:bodyPr>
          <a:lstStyle/>
          <a:p>
            <a:pPr marL="457200" indent="-457200" algn="l">
              <a:lnSpc>
                <a:spcPts val="3500"/>
              </a:lnSpc>
              <a:buFont typeface="Arial" panose="020B0604020202020204" pitchFamily="34" charset="0"/>
              <a:buChar char="•"/>
            </a:pPr>
            <a:endParaRPr lang="en-US" sz="3200" dirty="0">
              <a:latin typeface="+mn-lt"/>
              <a:cs typeface="Etelka Text Pro"/>
            </a:endParaRPr>
          </a:p>
        </p:txBody>
      </p:sp>
      <p:cxnSp>
        <p:nvCxnSpPr>
          <p:cNvPr id="223" name="Straight Connector 222">
            <a:extLst>
              <a:ext uri="{FF2B5EF4-FFF2-40B4-BE49-F238E27FC236}">
                <a16:creationId xmlns:a16="http://schemas.microsoft.com/office/drawing/2014/main" id="{B82A46CB-010B-4941-9065-015E73F3D1BE}"/>
              </a:ext>
            </a:extLst>
          </p:cNvPr>
          <p:cNvCxnSpPr>
            <a:cxnSpLocks/>
          </p:cNvCxnSpPr>
          <p:nvPr/>
        </p:nvCxnSpPr>
        <p:spPr>
          <a:xfrm>
            <a:off x="7470477" y="4227024"/>
            <a:ext cx="3995502" cy="0"/>
          </a:xfrm>
          <a:prstGeom prst="line">
            <a:avLst/>
          </a:prstGeom>
          <a:ln w="3175">
            <a:solidFill>
              <a:schemeClr val="bg1">
                <a:lumMod val="85000"/>
              </a:schemeClr>
            </a:solidFill>
          </a:ln>
        </p:spPr>
        <p:style>
          <a:lnRef idx="1">
            <a:schemeClr val="accent4"/>
          </a:lnRef>
          <a:fillRef idx="0">
            <a:schemeClr val="accent4"/>
          </a:fillRef>
          <a:effectRef idx="0">
            <a:schemeClr val="accent4"/>
          </a:effectRef>
          <a:fontRef idx="minor">
            <a:schemeClr val="tx1"/>
          </a:fontRef>
        </p:style>
      </p:cxnSp>
      <p:graphicFrame>
        <p:nvGraphicFramePr>
          <p:cNvPr id="47" name="Chart 46">
            <a:extLst>
              <a:ext uri="{FF2B5EF4-FFF2-40B4-BE49-F238E27FC236}">
                <a16:creationId xmlns:a16="http://schemas.microsoft.com/office/drawing/2014/main" id="{516C8FB5-2AF3-36AC-654C-F30C91FB4746}"/>
              </a:ext>
            </a:extLst>
          </p:cNvPr>
          <p:cNvGraphicFramePr/>
          <p:nvPr>
            <p:custDataLst>
              <p:tags r:id="rId10"/>
            </p:custDataLst>
            <p:extLst>
              <p:ext uri="{D42A27DB-BD31-4B8C-83A1-F6EECF244321}">
                <p14:modId xmlns:p14="http://schemas.microsoft.com/office/powerpoint/2010/main" val="2286316042"/>
              </p:ext>
            </p:extLst>
          </p:nvPr>
        </p:nvGraphicFramePr>
        <p:xfrm>
          <a:off x="6591300" y="2133600"/>
          <a:ext cx="5157788" cy="1582738"/>
        </p:xfrm>
        <a:graphic>
          <a:graphicData uri="http://schemas.openxmlformats.org/drawingml/2006/chart">
            <c:chart xmlns:c="http://schemas.openxmlformats.org/drawingml/2006/chart" xmlns:r="http://schemas.openxmlformats.org/officeDocument/2006/relationships" r:id="rId36"/>
          </a:graphicData>
        </a:graphic>
      </p:graphicFrame>
      <p:cxnSp>
        <p:nvCxnSpPr>
          <p:cNvPr id="195" name="Straight Connector 194">
            <a:extLst>
              <a:ext uri="{FF2B5EF4-FFF2-40B4-BE49-F238E27FC236}">
                <a16:creationId xmlns:a16="http://schemas.microsoft.com/office/drawing/2014/main" id="{CB5D94AD-70A6-51F2-2D6B-9527D69EC744}"/>
              </a:ext>
            </a:extLst>
          </p:cNvPr>
          <p:cNvCxnSpPr/>
          <p:nvPr>
            <p:custDataLst>
              <p:tags r:id="rId11"/>
            </p:custDataLst>
          </p:nvPr>
        </p:nvCxnSpPr>
        <p:spPr bwMode="auto">
          <a:xfrm flipV="1">
            <a:off x="7921625" y="2105025"/>
            <a:ext cx="0" cy="695325"/>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6" name="Straight Connector 195">
            <a:extLst>
              <a:ext uri="{FF2B5EF4-FFF2-40B4-BE49-F238E27FC236}">
                <a16:creationId xmlns:a16="http://schemas.microsoft.com/office/drawing/2014/main" id="{ED62ED97-3E57-933B-6C1D-FC160C450A99}"/>
              </a:ext>
            </a:extLst>
          </p:cNvPr>
          <p:cNvCxnSpPr/>
          <p:nvPr>
            <p:custDataLst>
              <p:tags r:id="rId12"/>
            </p:custDataLst>
          </p:nvPr>
        </p:nvCxnSpPr>
        <p:spPr bwMode="auto">
          <a:xfrm>
            <a:off x="7921625" y="2105025"/>
            <a:ext cx="24971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94" name="Straight Connector 193">
            <a:extLst>
              <a:ext uri="{FF2B5EF4-FFF2-40B4-BE49-F238E27FC236}">
                <a16:creationId xmlns:a16="http://schemas.microsoft.com/office/drawing/2014/main" id="{DE3EE427-143A-01D3-430B-2CCFD6A918AE}"/>
              </a:ext>
            </a:extLst>
          </p:cNvPr>
          <p:cNvCxnSpPr/>
          <p:nvPr>
            <p:custDataLst>
              <p:tags r:id="rId13"/>
            </p:custDataLst>
          </p:nvPr>
        </p:nvCxnSpPr>
        <p:spPr bwMode="auto">
          <a:xfrm>
            <a:off x="10418763" y="2105025"/>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197" name="Rectangle 196">
            <a:extLst>
              <a:ext uri="{FF2B5EF4-FFF2-40B4-BE49-F238E27FC236}">
                <a16:creationId xmlns:a16="http://schemas.microsoft.com/office/drawing/2014/main" id="{E7640ECA-E65D-E2E9-BFF8-DC5F26069663}"/>
              </a:ext>
            </a:extLst>
          </p:cNvPr>
          <p:cNvSpPr/>
          <p:nvPr>
            <p:custDataLst>
              <p:tags r:id="rId14"/>
            </p:custDataLst>
          </p:nvPr>
        </p:nvSpPr>
        <p:spPr bwMode="auto">
          <a:xfrm>
            <a:off x="7670800" y="3533775"/>
            <a:ext cx="503238"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7EF70C4D-8C0E-4F16-82BF-714427EADB9E}" type="datetime'9''''''''''M'''''''''''''' ''''''20''''2''''''''''2'''''''">
              <a:rPr lang="en-US" altLang="en-US" sz="1000" smtClean="0">
                <a:solidFill>
                  <a:schemeClr val="tx1"/>
                </a:solidFill>
                <a:latin typeface="Arial" panose="020B0604020202020204" pitchFamily="34" charset="0"/>
              </a:rPr>
              <a:pPr/>
              <a:t>9M 2022</a:t>
            </a:fld>
            <a:endParaRPr lang="en-US" sz="10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199" name="Rectangle 198">
            <a:extLst>
              <a:ext uri="{FF2B5EF4-FFF2-40B4-BE49-F238E27FC236}">
                <a16:creationId xmlns:a16="http://schemas.microsoft.com/office/drawing/2014/main" id="{D1F7884D-3852-ED96-CB65-4F60D84D5800}"/>
              </a:ext>
            </a:extLst>
          </p:cNvPr>
          <p:cNvSpPr/>
          <p:nvPr>
            <p:custDataLst>
              <p:tags r:id="rId15"/>
            </p:custDataLst>
          </p:nvPr>
        </p:nvSpPr>
        <p:spPr bwMode="auto">
          <a:xfrm>
            <a:off x="10167938" y="3533775"/>
            <a:ext cx="503238"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F9ACBB48-4F0B-4C72-9646-11CFC896247F}" type="datetime'''''9M'''''''''''''''''' ''''''''''''''''20''''''23'''''''''''">
              <a:rPr lang="en-US" altLang="en-US" sz="1000" smtClean="0">
                <a:solidFill>
                  <a:schemeClr val="tx1"/>
                </a:solidFill>
                <a:latin typeface="Arial" panose="020B0604020202020204" pitchFamily="34" charset="0"/>
              </a:rPr>
              <a:pPr/>
              <a:t>9M 2023</a:t>
            </a:fld>
            <a:endParaRPr lang="en-US" sz="100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01" name="Oval 200">
            <a:extLst>
              <a:ext uri="{FF2B5EF4-FFF2-40B4-BE49-F238E27FC236}">
                <a16:creationId xmlns:a16="http://schemas.microsoft.com/office/drawing/2014/main" id="{B6AFEBB6-4208-E1DC-C13E-327C499C079F}"/>
              </a:ext>
            </a:extLst>
          </p:cNvPr>
          <p:cNvSpPr/>
          <p:nvPr>
            <p:custDataLst>
              <p:tags r:id="rId16"/>
            </p:custDataLst>
          </p:nvPr>
        </p:nvSpPr>
        <p:spPr bwMode="auto">
          <a:xfrm>
            <a:off x="8813799" y="1997075"/>
            <a:ext cx="712788" cy="215900"/>
          </a:xfrm>
          <a:prstGeom prst="ellips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5C479070-2D29-4D83-B8A7-7DA4F526BB06}" type="datetime'''''''+''''11''''0''''''''''''.''''6''''''''''''''''''''%'''">
              <a:rPr lang="en-US" altLang="en-US" sz="1000" b="1" smtClean="0">
                <a:solidFill>
                  <a:schemeClr val="bg1"/>
                </a:solidFill>
                <a:effectLst/>
              </a:rPr>
              <a:pPr/>
              <a:t>+110.6%</a:t>
            </a:fld>
            <a:endParaRPr lang="en-US" sz="1000" b="1" dirty="0">
              <a:solidFill>
                <a:schemeClr val="bg1"/>
              </a:solidFill>
            </a:endParaRPr>
          </a:p>
        </p:txBody>
      </p:sp>
      <p:graphicFrame>
        <p:nvGraphicFramePr>
          <p:cNvPr id="70" name="Chart 69">
            <a:extLst>
              <a:ext uri="{FF2B5EF4-FFF2-40B4-BE49-F238E27FC236}">
                <a16:creationId xmlns:a16="http://schemas.microsoft.com/office/drawing/2014/main" id="{58179D78-AC94-C71E-03FD-EABC1FF946AD}"/>
              </a:ext>
            </a:extLst>
          </p:cNvPr>
          <p:cNvGraphicFramePr/>
          <p:nvPr>
            <p:custDataLst>
              <p:tags r:id="rId17"/>
            </p:custDataLst>
            <p:extLst>
              <p:ext uri="{D42A27DB-BD31-4B8C-83A1-F6EECF244321}">
                <p14:modId xmlns:p14="http://schemas.microsoft.com/office/powerpoint/2010/main" val="1995033983"/>
              </p:ext>
            </p:extLst>
          </p:nvPr>
        </p:nvGraphicFramePr>
        <p:xfrm>
          <a:off x="584200" y="4837113"/>
          <a:ext cx="5157788" cy="1452562"/>
        </p:xfrm>
        <a:graphic>
          <a:graphicData uri="http://schemas.openxmlformats.org/drawingml/2006/chart">
            <c:chart xmlns:c="http://schemas.openxmlformats.org/drawingml/2006/chart" xmlns:r="http://schemas.openxmlformats.org/officeDocument/2006/relationships" r:id="rId37"/>
          </a:graphicData>
        </a:graphic>
      </p:graphicFrame>
      <p:cxnSp>
        <p:nvCxnSpPr>
          <p:cNvPr id="230" name="Straight Connector 229">
            <a:extLst>
              <a:ext uri="{FF2B5EF4-FFF2-40B4-BE49-F238E27FC236}">
                <a16:creationId xmlns:a16="http://schemas.microsoft.com/office/drawing/2014/main" id="{29BA76BE-D0FF-28B8-1467-8A3E94A53A82}"/>
              </a:ext>
            </a:extLst>
          </p:cNvPr>
          <p:cNvCxnSpPr/>
          <p:nvPr>
            <p:custDataLst>
              <p:tags r:id="rId18"/>
            </p:custDataLst>
          </p:nvPr>
        </p:nvCxnSpPr>
        <p:spPr bwMode="auto">
          <a:xfrm flipV="1">
            <a:off x="1914525" y="4808538"/>
            <a:ext cx="0" cy="468313"/>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Straight Connector 230">
            <a:extLst>
              <a:ext uri="{FF2B5EF4-FFF2-40B4-BE49-F238E27FC236}">
                <a16:creationId xmlns:a16="http://schemas.microsoft.com/office/drawing/2014/main" id="{DBD11DB4-A578-26E4-9817-F940CD6897F5}"/>
              </a:ext>
            </a:extLst>
          </p:cNvPr>
          <p:cNvCxnSpPr/>
          <p:nvPr>
            <p:custDataLst>
              <p:tags r:id="rId19"/>
            </p:custDataLst>
          </p:nvPr>
        </p:nvCxnSpPr>
        <p:spPr bwMode="auto">
          <a:xfrm>
            <a:off x="1914525" y="4808538"/>
            <a:ext cx="24971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Straight Connector 228">
            <a:extLst>
              <a:ext uri="{FF2B5EF4-FFF2-40B4-BE49-F238E27FC236}">
                <a16:creationId xmlns:a16="http://schemas.microsoft.com/office/drawing/2014/main" id="{3B97AD67-B503-1CDD-5681-FAE2D4266C77}"/>
              </a:ext>
            </a:extLst>
          </p:cNvPr>
          <p:cNvCxnSpPr/>
          <p:nvPr>
            <p:custDataLst>
              <p:tags r:id="rId20"/>
            </p:custDataLst>
          </p:nvPr>
        </p:nvCxnSpPr>
        <p:spPr bwMode="auto">
          <a:xfrm>
            <a:off x="4411663" y="4808538"/>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32" name="Rectangle 231">
            <a:extLst>
              <a:ext uri="{FF2B5EF4-FFF2-40B4-BE49-F238E27FC236}">
                <a16:creationId xmlns:a16="http://schemas.microsoft.com/office/drawing/2014/main" id="{82222D66-F334-71A2-EC9D-5B9D0457636F}"/>
              </a:ext>
            </a:extLst>
          </p:cNvPr>
          <p:cNvSpPr/>
          <p:nvPr>
            <p:custDataLst>
              <p:tags r:id="rId21"/>
            </p:custDataLst>
          </p:nvPr>
        </p:nvSpPr>
        <p:spPr bwMode="auto">
          <a:xfrm>
            <a:off x="1663700" y="6107113"/>
            <a:ext cx="503238"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50E5CE08-E93D-4432-AFCB-CF793DFC120D}" type="datetime'''''''''''''''''9M'' 20''2''''''''''''''''''''''''2'''''''''">
              <a:rPr lang="en-US" altLang="en-US" sz="1000" smtClean="0">
                <a:solidFill>
                  <a:schemeClr val="tx1"/>
                </a:solidFill>
                <a:latin typeface="Arial" panose="020B0604020202020204" pitchFamily="34" charset="0"/>
              </a:rPr>
              <a:pPr/>
              <a:t>9M 2022</a:t>
            </a:fld>
            <a:endParaRPr lang="en-US" sz="10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33" name="Rectangle 232">
            <a:extLst>
              <a:ext uri="{FF2B5EF4-FFF2-40B4-BE49-F238E27FC236}">
                <a16:creationId xmlns:a16="http://schemas.microsoft.com/office/drawing/2014/main" id="{D21D80F5-FBFF-A813-98CA-82B2DCEEEEA6}"/>
              </a:ext>
            </a:extLst>
          </p:cNvPr>
          <p:cNvSpPr/>
          <p:nvPr>
            <p:custDataLst>
              <p:tags r:id="rId22"/>
            </p:custDataLst>
          </p:nvPr>
        </p:nvSpPr>
        <p:spPr bwMode="auto">
          <a:xfrm>
            <a:off x="4160838" y="6107113"/>
            <a:ext cx="503238"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AEB3DAA1-309F-4992-B029-2741A3658A90}" type="datetime'''''''''''''''''''''''''''9''''''''''''M 2''0''''''23'''''''''">
              <a:rPr lang="en-US" altLang="en-US" sz="1000" smtClean="0">
                <a:solidFill>
                  <a:schemeClr val="tx1"/>
                </a:solidFill>
                <a:latin typeface="Arial" panose="020B0604020202020204" pitchFamily="34" charset="0"/>
              </a:rPr>
              <a:pPr/>
              <a:t>9M 2023</a:t>
            </a:fld>
            <a:endParaRPr lang="en-US" sz="100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35" name="Oval 234">
            <a:extLst>
              <a:ext uri="{FF2B5EF4-FFF2-40B4-BE49-F238E27FC236}">
                <a16:creationId xmlns:a16="http://schemas.microsoft.com/office/drawing/2014/main" id="{563BF097-910A-71BD-82AC-1649E5045AC5}"/>
              </a:ext>
            </a:extLst>
          </p:cNvPr>
          <p:cNvSpPr/>
          <p:nvPr>
            <p:custDataLst>
              <p:tags r:id="rId23"/>
            </p:custDataLst>
          </p:nvPr>
        </p:nvSpPr>
        <p:spPr bwMode="auto">
          <a:xfrm>
            <a:off x="2855913" y="4700588"/>
            <a:ext cx="614363" cy="215900"/>
          </a:xfrm>
          <a:prstGeom prst="ellips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BDEB7637-9416-48B0-9909-225AF83EBB43}" type="datetime'''''''''''''''''+''5''3.''''8''''%'''''''''''''">
              <a:rPr lang="en-US" altLang="en-US" sz="1000" b="1" smtClean="0">
                <a:solidFill>
                  <a:schemeClr val="bg1"/>
                </a:solidFill>
                <a:effectLst/>
              </a:rPr>
              <a:pPr/>
              <a:t>+53.8%</a:t>
            </a:fld>
            <a:endParaRPr lang="en-US" sz="1000" b="1" dirty="0">
              <a:solidFill>
                <a:schemeClr val="bg1"/>
              </a:solidFill>
            </a:endParaRPr>
          </a:p>
        </p:txBody>
      </p:sp>
      <p:graphicFrame>
        <p:nvGraphicFramePr>
          <p:cNvPr id="94" name="Chart 93">
            <a:extLst>
              <a:ext uri="{FF2B5EF4-FFF2-40B4-BE49-F238E27FC236}">
                <a16:creationId xmlns:a16="http://schemas.microsoft.com/office/drawing/2014/main" id="{744D876A-6E3A-05B9-CB1C-24E00D6699C4}"/>
              </a:ext>
            </a:extLst>
          </p:cNvPr>
          <p:cNvGraphicFramePr/>
          <p:nvPr>
            <p:custDataLst>
              <p:tags r:id="rId24"/>
            </p:custDataLst>
            <p:extLst>
              <p:ext uri="{D42A27DB-BD31-4B8C-83A1-F6EECF244321}">
                <p14:modId xmlns:p14="http://schemas.microsoft.com/office/powerpoint/2010/main" val="921910171"/>
              </p:ext>
            </p:extLst>
          </p:nvPr>
        </p:nvGraphicFramePr>
        <p:xfrm>
          <a:off x="6391275" y="4837113"/>
          <a:ext cx="5157788" cy="1452562"/>
        </p:xfrm>
        <a:graphic>
          <a:graphicData uri="http://schemas.openxmlformats.org/drawingml/2006/chart">
            <c:chart xmlns:c="http://schemas.openxmlformats.org/drawingml/2006/chart" xmlns:r="http://schemas.openxmlformats.org/officeDocument/2006/relationships" r:id="rId38"/>
          </a:graphicData>
        </a:graphic>
      </p:graphicFrame>
      <p:cxnSp>
        <p:nvCxnSpPr>
          <p:cNvPr id="282" name="Straight Connector 281">
            <a:extLst>
              <a:ext uri="{FF2B5EF4-FFF2-40B4-BE49-F238E27FC236}">
                <a16:creationId xmlns:a16="http://schemas.microsoft.com/office/drawing/2014/main" id="{B3D07357-49E6-39CF-4856-32649DDCE8BB}"/>
              </a:ext>
            </a:extLst>
          </p:cNvPr>
          <p:cNvCxnSpPr/>
          <p:nvPr>
            <p:custDataLst>
              <p:tags r:id="rId25"/>
            </p:custDataLst>
          </p:nvPr>
        </p:nvCxnSpPr>
        <p:spPr bwMode="auto">
          <a:xfrm flipV="1">
            <a:off x="7721600" y="4808538"/>
            <a:ext cx="0" cy="40640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4" name="Straight Connector 283">
            <a:extLst>
              <a:ext uri="{FF2B5EF4-FFF2-40B4-BE49-F238E27FC236}">
                <a16:creationId xmlns:a16="http://schemas.microsoft.com/office/drawing/2014/main" id="{E4BDFFF1-3757-D217-6136-556A8187516A}"/>
              </a:ext>
            </a:extLst>
          </p:cNvPr>
          <p:cNvCxnSpPr/>
          <p:nvPr>
            <p:custDataLst>
              <p:tags r:id="rId26"/>
            </p:custDataLst>
          </p:nvPr>
        </p:nvCxnSpPr>
        <p:spPr bwMode="auto">
          <a:xfrm>
            <a:off x="7721600" y="4808538"/>
            <a:ext cx="2497138" cy="0"/>
          </a:xfrm>
          <a:prstGeom prst="line">
            <a:avLst/>
          </a:prstGeom>
          <a:ln w="12700"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83" name="Straight Connector 282">
            <a:extLst>
              <a:ext uri="{FF2B5EF4-FFF2-40B4-BE49-F238E27FC236}">
                <a16:creationId xmlns:a16="http://schemas.microsoft.com/office/drawing/2014/main" id="{A0B2C018-C2A1-8EDC-415C-27AAC96E3FFF}"/>
              </a:ext>
            </a:extLst>
          </p:cNvPr>
          <p:cNvCxnSpPr/>
          <p:nvPr>
            <p:custDataLst>
              <p:tags r:id="rId27"/>
            </p:custDataLst>
          </p:nvPr>
        </p:nvCxnSpPr>
        <p:spPr bwMode="auto">
          <a:xfrm>
            <a:off x="10218738" y="4808538"/>
            <a:ext cx="0" cy="152400"/>
          </a:xfrm>
          <a:prstGeom prst="line">
            <a:avLst/>
          </a:prstGeom>
          <a:ln w="12700" cap="flat" cmpd="sng" algn="ctr">
            <a:solidFill>
              <a:schemeClr val="tx1"/>
            </a:solidFill>
            <a:prstDash val="solid"/>
            <a:round/>
            <a:headEnd type="none" w="med" len="med"/>
            <a:tailEnd type="triangle" w="med" len="med"/>
          </a:ln>
          <a:effectLst/>
        </p:spPr>
        <p:style>
          <a:lnRef idx="1">
            <a:schemeClr val="dk1"/>
          </a:lnRef>
          <a:fillRef idx="0">
            <a:schemeClr val="dk1"/>
          </a:fillRef>
          <a:effectRef idx="0">
            <a:schemeClr val="dk1"/>
          </a:effectRef>
          <a:fontRef idx="minor">
            <a:schemeClr val="tx1"/>
          </a:fontRef>
        </p:style>
      </p:cxnSp>
      <p:sp>
        <p:nvSpPr>
          <p:cNvPr id="286" name="Rectangle 285">
            <a:extLst>
              <a:ext uri="{FF2B5EF4-FFF2-40B4-BE49-F238E27FC236}">
                <a16:creationId xmlns:a16="http://schemas.microsoft.com/office/drawing/2014/main" id="{423486D8-6CC3-CEDC-2653-B9C810DA5880}"/>
              </a:ext>
            </a:extLst>
          </p:cNvPr>
          <p:cNvSpPr/>
          <p:nvPr>
            <p:custDataLst>
              <p:tags r:id="rId28"/>
            </p:custDataLst>
          </p:nvPr>
        </p:nvSpPr>
        <p:spPr bwMode="auto">
          <a:xfrm>
            <a:off x="7470775" y="6107113"/>
            <a:ext cx="503238"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7FE3F9B6-AAD8-46F6-833C-5701E24009D3}" type="datetime'9''M'''''''' ''2''''''''''''0''''''''''''2''''''2'''''''''''''">
              <a:rPr lang="en-US" altLang="en-US" sz="1000" smtClean="0">
                <a:solidFill>
                  <a:schemeClr val="tx1"/>
                </a:solidFill>
                <a:latin typeface="Arial" panose="020B0604020202020204" pitchFamily="34" charset="0"/>
              </a:rPr>
              <a:pPr/>
              <a:t>9M 2022</a:t>
            </a:fld>
            <a:endParaRPr lang="en-US" sz="1000" dirty="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87" name="Rectangle 286">
            <a:extLst>
              <a:ext uri="{FF2B5EF4-FFF2-40B4-BE49-F238E27FC236}">
                <a16:creationId xmlns:a16="http://schemas.microsoft.com/office/drawing/2014/main" id="{29D306E4-60E5-54AB-E0A7-B4EAC64C0ECC}"/>
              </a:ext>
            </a:extLst>
          </p:cNvPr>
          <p:cNvSpPr/>
          <p:nvPr>
            <p:custDataLst>
              <p:tags r:id="rId29"/>
            </p:custDataLst>
          </p:nvPr>
        </p:nvSpPr>
        <p:spPr bwMode="auto">
          <a:xfrm>
            <a:off x="9967913" y="6107113"/>
            <a:ext cx="503238"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t"/>
          <a:lstStyle/>
          <a:p>
            <a:pPr algn="ctr">
              <a:spcBef>
                <a:spcPct val="0"/>
              </a:spcBef>
              <a:spcAft>
                <a:spcPct val="0"/>
              </a:spcAft>
            </a:pPr>
            <a:fld id="{D0A744F9-24AB-4CE5-B65C-0F001B056338}" type="datetime'''9M ''''''''2''''0''''23'''''''''''">
              <a:rPr lang="en-US" altLang="en-US" sz="1000" smtClean="0">
                <a:solidFill>
                  <a:schemeClr val="tx1"/>
                </a:solidFill>
                <a:latin typeface="Arial" panose="020B0604020202020204" pitchFamily="34" charset="0"/>
              </a:rPr>
              <a:pPr/>
              <a:t>9M 2023</a:t>
            </a:fld>
            <a:endParaRPr lang="en-US" sz="1000">
              <a:solidFill>
                <a:schemeClr val="tx1"/>
              </a:solidFill>
              <a:latin typeface="Arial" panose="020B0604020202020204" pitchFamily="34" charset="0"/>
              <a:cs typeface="Arial" panose="020B0604020202020204" pitchFamily="34" charset="0"/>
              <a:sym typeface="Arial" panose="020B0604020202020204" pitchFamily="34" charset="0"/>
            </a:endParaRPr>
          </a:p>
        </p:txBody>
      </p:sp>
      <p:sp>
        <p:nvSpPr>
          <p:cNvPr id="288" name="Oval 287">
            <a:extLst>
              <a:ext uri="{FF2B5EF4-FFF2-40B4-BE49-F238E27FC236}">
                <a16:creationId xmlns:a16="http://schemas.microsoft.com/office/drawing/2014/main" id="{4AA2FC47-3A7A-B293-0CB5-ADEA64240EC3}"/>
              </a:ext>
            </a:extLst>
          </p:cNvPr>
          <p:cNvSpPr/>
          <p:nvPr>
            <p:custDataLst>
              <p:tags r:id="rId30"/>
            </p:custDataLst>
          </p:nvPr>
        </p:nvSpPr>
        <p:spPr bwMode="auto">
          <a:xfrm>
            <a:off x="8662989" y="4700588"/>
            <a:ext cx="614363" cy="215900"/>
          </a:xfrm>
          <a:prstGeom prst="ellips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lstStyle/>
          <a:p>
            <a:pPr algn="ctr">
              <a:spcBef>
                <a:spcPct val="0"/>
              </a:spcBef>
              <a:spcAft>
                <a:spcPct val="0"/>
              </a:spcAft>
            </a:pPr>
            <a:fld id="{B09AC5E5-7D97-49DA-92D4-8088198A7647}" type="datetime'+''''''''''''3''''''''''9''''''.0%'''''''''''''''''''">
              <a:rPr lang="en-US" altLang="en-US" sz="1000" b="1" smtClean="0">
                <a:solidFill>
                  <a:schemeClr val="bg1"/>
                </a:solidFill>
                <a:effectLst/>
              </a:rPr>
              <a:pPr/>
              <a:t>+39.0%</a:t>
            </a:fld>
            <a:endParaRPr lang="en-US" sz="1000" b="1" dirty="0">
              <a:solidFill>
                <a:schemeClr val="bg1"/>
              </a:solidFill>
            </a:endParaRPr>
          </a:p>
        </p:txBody>
      </p:sp>
    </p:spTree>
    <p:extLst>
      <p:ext uri="{BB962C8B-B14F-4D97-AF65-F5344CB8AC3E}">
        <p14:creationId xmlns:p14="http://schemas.microsoft.com/office/powerpoint/2010/main" val="24421836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34101460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592" imgH="661" progId="TCLayout.ActiveDocument.1">
                  <p:embed/>
                </p:oleObj>
              </mc:Choice>
              <mc:Fallback>
                <p:oleObj name="think-cell Slide" r:id="rId5" imgW="592" imgH="661" progId="TCLayout.ActiveDocument.1">
                  <p:embed/>
                  <p:pic>
                    <p:nvPicPr>
                      <p:cNvPr id="13" name="Object 1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object 8">
            <a:extLst>
              <a:ext uri="{FF2B5EF4-FFF2-40B4-BE49-F238E27FC236}">
                <a16:creationId xmlns:a16="http://schemas.microsoft.com/office/drawing/2014/main" id="{60A8DFD6-84D9-5A6C-8DCD-E679F6577F3A}"/>
              </a:ext>
            </a:extLst>
          </p:cNvPr>
          <p:cNvSpPr/>
          <p:nvPr/>
        </p:nvSpPr>
        <p:spPr>
          <a:xfrm rot="5400000">
            <a:off x="4559601" y="-2228143"/>
            <a:ext cx="2960465" cy="11470067"/>
          </a:xfrm>
          <a:custGeom>
            <a:avLst/>
            <a:gdLst/>
            <a:ahLst/>
            <a:cxnLst/>
            <a:rect l="l" t="t" r="r" b="b"/>
            <a:pathLst>
              <a:path w="3397885" h="6300470">
                <a:moveTo>
                  <a:pt x="3397478" y="0"/>
                </a:moveTo>
                <a:lnTo>
                  <a:pt x="0" y="0"/>
                </a:lnTo>
                <a:lnTo>
                  <a:pt x="0" y="6300216"/>
                </a:lnTo>
                <a:lnTo>
                  <a:pt x="3397478" y="6300216"/>
                </a:lnTo>
                <a:lnTo>
                  <a:pt x="3397478" y="0"/>
                </a:lnTo>
                <a:close/>
              </a:path>
            </a:pathLst>
          </a:custGeom>
          <a:solidFill>
            <a:srgbClr val="F2F2F2"/>
          </a:solidFill>
        </p:spPr>
        <p:txBody>
          <a:bodyPr wrap="square" lIns="0" tIns="0" rIns="0" bIns="0" rtlCol="0"/>
          <a:lstStyle/>
          <a:p>
            <a:endParaRPr/>
          </a:p>
        </p:txBody>
      </p:sp>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1000" dirty="0">
              <a:latin typeface="Noto Sans" panose="020B0502040504020204" pitchFamily="34"/>
              <a:sym typeface="Noto Sans" panose="020B0502040504020204" pitchFamily="34"/>
            </a:endParaRPr>
          </a:p>
        </p:txBody>
      </p:sp>
      <p:sp>
        <p:nvSpPr>
          <p:cNvPr id="7" name="Rectangle 6"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1000" dirty="0">
              <a:sym typeface="+mn-lt"/>
            </a:endParaRPr>
          </a:p>
        </p:txBody>
      </p:sp>
      <p:sp>
        <p:nvSpPr>
          <p:cNvPr id="47" name="Text Placeholder 2">
            <a:extLst>
              <a:ext uri="{FF2B5EF4-FFF2-40B4-BE49-F238E27FC236}">
                <a16:creationId xmlns:a16="http://schemas.microsoft.com/office/drawing/2014/main" id="{BB544A93-ED35-417A-8B87-0905BBEB0817}"/>
              </a:ext>
            </a:extLst>
          </p:cNvPr>
          <p:cNvSpPr txBox="1">
            <a:spLocks/>
          </p:cNvSpPr>
          <p:nvPr/>
        </p:nvSpPr>
        <p:spPr>
          <a:xfrm>
            <a:off x="304800" y="782590"/>
            <a:ext cx="9619918" cy="337873"/>
          </a:xfrm>
          <a:prstGeom prst="rect">
            <a:avLst/>
          </a:prstGeom>
        </p:spPr>
        <p:txBody>
          <a:bodyPr lIns="17131" tIns="8565" rIns="17131" bIns="8565" anchor="ctr"/>
          <a:lstStyle>
            <a:lvl1pPr marL="356871" indent="-356871" algn="l" rtl="0" eaLnBrk="1" fontAlgn="base" hangingPunct="1">
              <a:spcBef>
                <a:spcPct val="20000"/>
              </a:spcBef>
              <a:spcAft>
                <a:spcPct val="0"/>
              </a:spcAft>
              <a:buChar char="•"/>
              <a:defRPr sz="1200">
                <a:solidFill>
                  <a:srgbClr val="888888"/>
                </a:solidFill>
                <a:latin typeface="Arial"/>
                <a:ea typeface="MS PGothic" pitchFamily="34" charset="-128"/>
                <a:cs typeface="Arial"/>
              </a:defRPr>
            </a:lvl1pPr>
            <a:lvl2pPr marL="773219" indent="-297392" algn="l" rtl="0" eaLnBrk="1" fontAlgn="base" hangingPunct="1">
              <a:spcBef>
                <a:spcPct val="20000"/>
              </a:spcBef>
              <a:spcAft>
                <a:spcPct val="0"/>
              </a:spcAft>
              <a:buChar char="–"/>
              <a:defRPr sz="1200">
                <a:solidFill>
                  <a:srgbClr val="888888"/>
                </a:solidFill>
                <a:latin typeface="Arial"/>
                <a:ea typeface="MS PGothic" pitchFamily="34" charset="-128"/>
                <a:cs typeface="Arial"/>
              </a:defRPr>
            </a:lvl2pPr>
            <a:lvl3pPr marL="1189569"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3pPr>
            <a:lvl4pPr marL="1665396"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4pPr>
            <a:lvl5pPr marL="2141224"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5pPr>
            <a:lvl6pPr marL="2617260" indent="-237931" algn="l" rtl="0" eaLnBrk="1" latinLnBrk="0" hangingPunct="1">
              <a:spcBef>
                <a:spcPct val="20000"/>
              </a:spcBef>
              <a:buChar char="•"/>
              <a:defRPr sz="2133">
                <a:solidFill>
                  <a:schemeClr val="tx1"/>
                </a:solidFill>
                <a:latin typeface="+mn-lt"/>
                <a:ea typeface="+mn-ea"/>
                <a:cs typeface="+mn-cs"/>
              </a:defRPr>
            </a:lvl6pPr>
            <a:lvl7pPr marL="3093125" indent="-237931" algn="l" rtl="0" eaLnBrk="1" latinLnBrk="0" hangingPunct="1">
              <a:spcBef>
                <a:spcPct val="20000"/>
              </a:spcBef>
              <a:buChar char="•"/>
              <a:defRPr sz="2133">
                <a:solidFill>
                  <a:schemeClr val="tx1"/>
                </a:solidFill>
                <a:latin typeface="+mn-lt"/>
                <a:ea typeface="+mn-ea"/>
                <a:cs typeface="+mn-cs"/>
              </a:defRPr>
            </a:lvl7pPr>
            <a:lvl8pPr marL="3568992" indent="-237931" algn="l" rtl="0" eaLnBrk="1" latinLnBrk="0" hangingPunct="1">
              <a:spcBef>
                <a:spcPct val="20000"/>
              </a:spcBef>
              <a:buChar char="•"/>
              <a:defRPr sz="2133">
                <a:solidFill>
                  <a:schemeClr val="tx1"/>
                </a:solidFill>
                <a:latin typeface="+mn-lt"/>
                <a:ea typeface="+mn-ea"/>
                <a:cs typeface="+mn-cs"/>
              </a:defRPr>
            </a:lvl8pPr>
            <a:lvl9pPr marL="4044857" indent="-237931" algn="l" rtl="0" eaLnBrk="1" latinLnBrk="0" hangingPunct="1">
              <a:spcBef>
                <a:spcPct val="20000"/>
              </a:spcBef>
              <a:buChar char="•"/>
              <a:defRPr sz="2133">
                <a:solidFill>
                  <a:schemeClr val="tx1"/>
                </a:solidFill>
                <a:latin typeface="+mn-lt"/>
                <a:ea typeface="+mn-ea"/>
                <a:cs typeface="+mn-cs"/>
              </a:defRPr>
            </a:lvl9pPr>
          </a:lstStyle>
          <a:p>
            <a:pPr marL="0" indent="0">
              <a:buFontTx/>
              <a:buNone/>
            </a:pPr>
            <a:r>
              <a:rPr lang="en-US" sz="1600" dirty="0">
                <a:latin typeface="+mn-lt"/>
              </a:rPr>
              <a:t>EBITDA reflects mostly the controlled businesses segment performance, and the investment segment is mainly accounted for as per IFRS9</a:t>
            </a:r>
            <a:endParaRPr lang="en-US" sz="1600" kern="0" dirty="0">
              <a:latin typeface="+mn-lt"/>
              <a:ea typeface="Noto Sans" panose="020B0502040504020204" pitchFamily="34" charset="0"/>
              <a:cs typeface="Noto Sans" panose="020B0502040504020204" pitchFamily="34" charset="0"/>
            </a:endParaRPr>
          </a:p>
        </p:txBody>
      </p:sp>
      <p:sp>
        <p:nvSpPr>
          <p:cNvPr id="49" name="Text Placeholder 8">
            <a:extLst>
              <a:ext uri="{FF2B5EF4-FFF2-40B4-BE49-F238E27FC236}">
                <a16:creationId xmlns:a16="http://schemas.microsoft.com/office/drawing/2014/main" id="{405E3712-BFDB-4D75-9DB9-4D73062E9849}"/>
              </a:ext>
            </a:extLst>
          </p:cNvPr>
          <p:cNvSpPr>
            <a:spLocks noGrp="1"/>
          </p:cNvSpPr>
          <p:nvPr>
            <p:ph type="body" sz="quarter" idx="34"/>
          </p:nvPr>
        </p:nvSpPr>
        <p:spPr>
          <a:xfrm>
            <a:off x="312358" y="270508"/>
            <a:ext cx="8949976" cy="337873"/>
          </a:xfrm>
        </p:spPr>
        <p:txBody>
          <a:bodyPr/>
          <a:lstStyle/>
          <a:p>
            <a:r>
              <a:rPr lang="en-US" dirty="0"/>
              <a:t>Agility Reported Income Statement – 9M 2023</a:t>
            </a:r>
          </a:p>
        </p:txBody>
      </p:sp>
      <p:sp>
        <p:nvSpPr>
          <p:cNvPr id="62" name="WORKBKFUNCTIONCACHE" hidden="1"/>
          <p:cNvSpPr txBox="1">
            <a:spLocks noChangeArrowheads="1"/>
          </p:cNvSpPr>
          <p:nvPr/>
        </p:nvSpPr>
        <p:spPr bwMode="auto">
          <a:xfrm>
            <a:off x="3197225" y="2944813"/>
            <a:ext cx="638175" cy="457200"/>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lt;compressed size="651798"&gt;eJztvQtvHTe2ps2fYkwDgxngk7ruF3TPARwf2fGBYwtS0oODRsOQFamlJFYU3ZIe6Md/JNd6yS1Zl+1cikvnvBDs2rt2Xcj3IRcXF1msv7pDd+lO3L67cMfuR//phdvz347cgfs391f3rf924f/t+t8u3Zn/5cA980ftuY/+0/9x/8O9dK/dW/fc/3vhtvz3Z+5DvML37p/++B/j1b91p/7TVTz+ufvB/73323DPa9e4yv/1/tPf3X/6a+75s/7hv/1Pf9SF+4u/c7jnSdwfUvjM/c1vD9zP/oh/xiPCmW9j2g9unLnl94RcXbh/+bNexPSfxWvt+z33nf13n58XbtufcXPvr/v2P6KKr/y3C5/uPZ+yS1X23Kfs/8XPtevc7Ea/788re//qFd7zuoVP3/s9//K//dsnavxJdbyM1/5LUvBPquvk9237fXL0t37/d5HIX5KKf/oMpW9qGu79yr3xLN+4d+4Ltxl1+8tKPvO1t+NVD+LZmcUz97W/z0U8Pt8j5GhfS86Fv0atean8b8LmTyuUwhVOvdZ/iVc992f86JWr/THbsfx969P37z7FV7eOaPwRku6b+1u/fzfm8MDvu/lb538LOQ6l5r8viZ4kDJBofU5mkjBDoiYJAyR6thMmSHT+jyQskOhji92RRHESo/Z0SMICiZ4kDJCY2bMzRKImCRMkatYJIyQakjBCoiUJIyTYs7NAool5aRh3MkCiZ1TcCImBJIyQYM/OBok29ibYs7NBgj07KyTYs7NCgj07KyTYs7NCguPYNkg09J1MkJhiTmqO2Rkh0bFOFCchMXFaJwskepIwRKIhCSMkWpIwQ4IjRTZI0HeyQmIgCSMkRpIwQ4J9bCskBpIwQmIkCSMkZpIwQILj2JZIsGdXnsTAOmGKBH0nGyQ4G9MCiZGzMY2QCOOnXLfDAgnOULZFgl6sBRI9SRgg8cLn6r1X/iTuDWvtkUhZIkFzUfPQb/M8g/cc1TPK6Lnbif9vk4spLnJu+H7gPsQzSMcOnTf+HLKxyeYrf9xHv/+9e+mvR5+gNJ237iDSgEUL/toVqRihIt7ze3/OnvvFb0Vp8rHEJxx74o8kExtM2MLY5LLt/7ZIwwiNHb/3ym9bf+a3pGKEym487iD2+c/9X9h7TjqF6ewona14jRN/99Dek0tpLnLMe91/Fgn94tUnF2tc0H+R65CPFT5s+e2w+Og/nTnGK60QeeHvthu3e1GnM233yccan6wNfTJrdIJHduTT8CGmg3ys8XkZr3Tsjz9i22OOziv3JZkYYxIYkIktJm/8d3pm1qh85e//Q0xDuOa/yMcYn3f+21HME8nYIrPt70Am1pgEhb+LPvPPjJwZ5oMZACRki9COXodcbHHZjaM0exw5M0fm68jlhFzMcNnzmhyRhxkeQY0wckYiVojwyZinwIVxTJt0juOszHBNxsus0Al15nBlFtNbv//EcS6TZUasQdbonLK2mOHx0h+37zA6w3pihctrr8WpP/aYdcUQkxOvyaVGYkJaScYOmauoz0WK/zOGaYXOzVUYZCYg4wFW6TAaYI2NrJshz2mSjA0y7/x5r0nDDI3D2Offcj/53469/mEs89JvT/357NXY4RTmmeUoJ59tts/ojU/HnvcNyMcWn60YISAVW1Toq9llI9402xy7hFbH09jyWKUkCh+SizEuu/6uz0nFCBWOO9ujweimRSaYqSFrnJKOJTpB3R9iXknFAhWs1kg7ZomJnE8ednhg7kx4BjB8Ih9bfIImZ/6XfXIxxeXKcZ0z+3yyNoxhWqPDdc5s8+E6Z5bpcJ0ze0zY17THhOucWaTCdc5s8+E6Z1bJcJ0zi0y4ztnT4MN1zmwS4siATS5c58wqGa5zZovLbtRj331PIkaIoIaEWJmMbIZYwDkjzcYIhefROW/GCpNv4p25yokNKuc+L33MzRdk8RtY/N2fEcr0x9gO7MVzwxMU/7hD81rTXFHxRRXvqfiCirc+xTMVX1zxmoovqHhPO76o4p3/o+JLKt7HlrOj4ospPsY091R8UcV7Kr6g4jN7QAUUr6n4oorXLOMLK95Q8YUVb6n4woqzB7Sk4k1Mc8O4yoKK94zWLqz4QMUXVpw9oGUVb6M3zh7QsoqzB7S04uwBLa04e0BLK84e0NKKc5xzWcUb+iqLKj7FFNccA1pY8Y5lfDHFJVZLq7Kk4j0VL6B4Q8UXVryl4osrzhGJZRWnr7K04gMVX1jxkYovrjj7nEsrPlDxhRUfqfjCis9UfEHFOc5ZQnH2gJZTfGAZL6I4fZVlFecsuCUVHzkLbmHFw7gbn8tfUnHO9CyjOL3DJRXvqfiCir/wqcd7GkO+D6j8QsoHbUW1Q7/N483vOUpUmMVztxP/36b+RfQPCpzF7wfuQ7w7KSxP4Y3XmAzKMsAq8GG9/gO2zYtReOvPuFixRME/uqL6C6svXml+m7goSg4lOIT1X/nm0OW1ZwtQVv9t/7dF1RdWfcfvDe+OaH06+JaipdXfjecfxD5weAtB2Mt3ESxFYUcpbMUUnDh5Yzf1X0r/oOlFLPth/5mT9z/zvULl9If/L70xcliaA1vg5TX/6D+dOcbdllb+hb/qbtzuRT3OtP0lh1Icsgb0gUpRCB7QkT/+Q7wfOZTi8NKF9zMd+3sfsW0oRuGV+5LaF9I+aE3ty2gf3kpJT6iU+l85vO0wpIhvPCzF4Z3/dhTTTgJlCGz7K1H7UtoHJb+LvujPjAwZ4IARYpIoQ2Inpob6l9J/N44S7HGEphgBvL+e+i+t/57P+xF1X1z3kOswQkPll1aeTwZY0p/xuLIUjuMsuW1/HuNBS1MIdeBwZXbK23gG56hYYMEaUYrCKUv/4rq/9MftO4wOsNwvrf9rf/SpP/aYZb+A9ic+75cagQhpIoHlCVxFHS5SXJqxuKUp3HxaW2ZssX9cmgJ7x6UYyHP08hwZCSxL4J2/zmuqvrjqh7EPvOV+8r8de53D2Nil3576a7FXsDyPME8oR+v4LKUdFm/8OXu+jSaHMhy2Yo+Z6pdRn75ReQbipbJNKE9iddyGLUNpGqLkIfUvpP+uv/pzqr+w+hyvLKc6o3QltceIvaz1RwolKAQVf4h5ovpLqo9Vzmh/SmjPpzZK6Y65EuHZpb14LjmU4BDyfuZ/2af+RfS/clxnyA6HrAFjcaUocJ0hGxy4zpAFClxnqJz27JOV057rDJVUn+sM2eDAdYZKE+A6QyW15zpDtjhwnaGyJBixLqs/1xkqTYDrDJXRfzfme999T+UXVh4lPsSCZKQs9I3PGRktRCI858p5Ektr/008iqsbLKv+uU9zH1P9BTVfW/N/j2si3lQdV9+O1xUv/pmTGednquRFPD7f5TaNWnNTkYURFj1ZmGDR+rzMZGGIRU0WJlj0bC+MsOj8H1nYYNHHtrsjCwMsxpibniyMsOjJwgSLmX09UyxqsjDComa9MMOiIQszLFqyMMOCfT0bLJqYm4bxKBMsesbMzbAYyMIMC/b1rLBoY++CfT0rLNjXs8OCfT07LNjXs8OCfT07LDjebYVFQz/KCIsp5qXmuJ4ZFh3rhQEWEjGnjbLBoicLUywasjDDoiULQyw4lmSFBf0oOywGsjDDYiQLQyzY77bDYiALMyxGsjDDYiYLEyw43m2LBft6FlgMrBfGWNCPssKCczhtsBg5h9MMizDKyvVAbLDg3GZrLOjT2mDRk4UJFi98vvD20aDIAZkUZxJUFz0P/TbPSHjPkT+zlJ67nfj/NskYIyPnhu8H7kM8g3ws8XnjzyEdq3Tw1ovwHpIDegcG+Lz1512s2LXgu12Rixku4kuHFdP33C8Ob5AhIVuEwrF837AlKmxprJLZ9n9b5GGGx47fG94H1Poz+WY4O1x243EHMQ4Q3lET9p6TT3E+O8pnK17jxB3Hlp9kypORY97r/rPI6Be+Yc4kGfRn5DokZIcQfQBLND76T2eOkUw7TF7E64ftXlTqTD0AErJHKKtD/8wen+CdHflUfIgpISF7hF7GKx3744/YBhnk88p9SSrmqAQKpGKNSnjXM700e1y+cngbcbgm30hsj9A7/+0o5opsrLHZ9ncgFXtUgsbfRQ/6Z0bUTBPCTAEyssZoR69DMtbI7MZRnD2OrRlk83Ukc0IyhsjseVWOSMQQkaBHGFsjEztM+GTN0yDDCKdVPsdxJme4JuNodviEenO4Mufprd9/4jjzyTYl1iJ7fE5ZYwwReemP23cYvWFdsUPmtVfj1B97zPpiisqJV+VS4zMhtWRjic1VVOgijQ4wummHz811HWTuIGMEdvkwQmCPjqzFIc97ko0VNu/8ea/JwxCPwxgH2HI/+d+OPYEw3nnpt6f+fPZyLJEK89Jy/JPPST8FSm98Sva8l0BC1ghtxagBuVjjQr/NMh3xrdn2WGa0OuLGFsguJ9H4kGTMkdn193lOLma4cHTaIg/GPW1SwZwOWU2VfGzxCfr+EHNLLja4YE1IWjNbVOR8ErFEBPNswpOE4RMJWSMUVDnzv+yTjDEyV47rqD0FQlkdRjft8eE6atYJcR0123y4jppFKux9WqTCddRscuE6atYJcR01u2y4jppNKlxH7akQ4jpqVhlx3MAqGa6jZpcN11GzRmY3KrLvvicTM0xQS0IMTUY/Q3zgnFFoc4zC0+2cY2OHyjfx3lw7xQqXc5+bPubnC9L4TTT+7s8J5fpjbA/24tnh+Yt/3KF6ramuqPnCmvfUfFHNW5/mmZoX0Lym5otq3tOeL6x55/+o+bKa97EN7aj5gpqPMdU9NV9Y856aL6r5zD5REc1rar6w5jXL+eKaN9R8cc1bar645uwTLat5E1PdMN6yqOY9Y7mLaz5Q88U1Z59oac3b6J2zT7S05uwTLa85+0TLa84+0fKas0+0vOYcD11a84Z+y8KaTzHNNceJFte8YzlfUHOJ5NK2LKt5T82LaN5Q88U1b6l5Ac05ZrG05vRbltd8oOaLaz5S8wKasx+6vOYDNV9c85GaL675TM0X1ZzjoWU0Z59oSc0HlvNCmtNvWVpzzp1bVvORc+cW1zyMzvF5/2U15xzRUprTV1xW856aL6r5C59+vD8y5PyA2i+mfVBXdDv02zwy/Z4jScVpPHc78f9tEihEIGhwFr8fuA/x/uRQgsMbrzIplKaAVejDGwMO2EovyOGtP+NixR4FX+mK+i+uv/io+Z3noilJlCERVp3lW01LqM+WoDSBbf+3Rd0X133H7w1vsGh9SvjOpOX1343nH8R+cXgTQth7Tg6LcdhRDlsxDSdO3itOAssRCKpexPIf9p85eUc133JUkgD6A9I/I4nlSbAtLqH6R//pzDEit7z2L+J1wnYvKnKmLTFJlCORVaA/VI5D8IaO/PEf4h1JohyJly68L+rY3/2IbURBDq/cl1S/mPpBbapfSv3wxkx6ReX0/8rhPYwhTXwXYzkS7/y3o5h6MijFYNtfieqXUz9o+V30TH9mxMgECYwkk0UpFjsxPSRQjsBuHEXY4xhOQQbyHvcTEihAYM/n/ojKF1A+5DuM4VD75bXnkwW2CDBSV5rDcZxZt+3PY5xoeQ6hHhyuzGV5G8/gjBYbNFgrynE4ZQ0ooPxLf9y+w+gBy/7yBF77o0/9sccs/0XUP/G5v9S4REgVGZRgcBWVuEhRa0bpludw8/lvmePFPnN5Duwxl6Mgz+bL82hksDSDdz7/r6l7Ad0PY794y/3kfzv2Sofxs0u/PfXXYi+hBJEwryjH8fhcpiUab/w5e761JolSJLZiL5r6l9KffpIFCuKzsm2wwGJ1ZIctRHkeouUhCRQjsOuv95z6L64/RzVL6s74XVn1MbYvqwqSQxkOQccfYq6o/7L6Yy01WqEy6vO5j3LKY15FeAJqL55LEmVIhNyf+V/2SaAQgSvHdYwskcgqMEpXjgPXMbJCgusY2eDAdYxKqs9eWkn1uY5RWf25jpEVElzHqDwDrmNUVn2uY2SNBNcxKs2C8ezSBLiOUXkGXMeoFIHdmPN99z21X1x7lPoQI5LRtNBfPmfUtBiL8NQs51Qsr/438SiumbC0/uc+1X1M9xdUfW3VX3l93tx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byfTXl+ewon614jRN3HFt+kilPRo55r/vPIqNf+LY5k2TQn5HrkJAdQvQBLNH46D+dOUYy7TB54cKbwMJ2Lyp1ph4ACdkjlNWhf2aPT/DOjnwqPsSUkJA9Qi/jlY798UdsgwzyeeW+JBVzVAIFUrFGJbzxmV6aPS5fObyPOFyT7yS2R+id/3YUc0U21ths+zuQij0qQePvogf9MyNqpglhpgAZWWO0o9chGWtkduMozh7H1gyy+TqSOSEZQ2T2vCpHJGKISNAjjK2RiR0mfLLmaZBhhNMqn+M4kzNck3E0O3xCvTlcmfP01u8/cZz5ZJsSa5E9PqesMYaIvPTH7TuM3rCu2CHz2qtx6o89Zn0xReXEq3Kp8ZmQWrKxxOYqKnSRRgcY3bTD5+a6DjJ3kDECu3wYIbBHR9bikOc9ycYKm3f+vNfkYYjHYYwDbLmf/G/HnkAY77z021N/Pns5lkiFeWk5/snnpJ8CpTc+JXveSyAha4S2YtSAXKxxod9mmY741mx7LDNaHXFjC2SXk2h8SDLmyOz6Oz0nFzNcODptkQfjnjapYE6HrKZKPrb4BH1/iLklFxtcsCYkrZktKnI+iVgignk24UnC8ImErBEKqpz5X/ZJxhiZK8d11J4CoawOo5v2+HAdNeuEuI6abT5cR80iFfY+LVLhOmo2uXAdNeuEuI6aXTZcR80mFa6j9lQIcR01q4w4bmCVDNdRs8uG66hZI7MbFdl335OJGSaoJSGGJqOfIT5wzii0OUbh6XbOsbFD5Zt4b66dYoXLuc9NH/PzBWn8Jhp/9+eEcv0xtgd78ezw/MU/7lC91lRX1HxhzXtqvqjmrU/zTM0LaF5T80U172nPF9a883/UfFnN+9iGdtR8Qc3HmOqemi+seU/NF9V8Zp+oiOY1NV9Y85rlfHHNG2q+uOYtNV9cc/aJltW8ialuGG9ZVPOesdzFNR+o+eKas0+0tOZt9M7ZJ1pac/aJltecfaLlNWefaHnN2SdaXnOOhy6teUO/ZWHNp5jmmuNEi2vesZwvqLlEcmlbltW8p+ZFNG+o+eKat9S8gOYcs1hac/oty2s+UPPFNR+peQHN2Q9dXvOBmi+u+UjNF9d8puaLas7x0DKas0+0pOYDy3khzem3LK05584tq/nIuXOLax5G5/i8/7Kac45oKc3pKy6reU/NF9X8hU8/3h8Zcn5A7RfTPqgruh36bR6Zfs+RpOI0nrud+P82CRQiEDQ4i98P3Id4f3IoweGNV5kUSlPAKvThjQEHbKUX5PDWn3GxYo+Cr3RF/RfXX3zU/M5z0ZQkypAIq87yraYl1GdLUJrAtv/bou6L677j94Y3WLQ+JXxn0vL678bzD2K/OLwJIezl+xCW47CjHLZiGk6cvFecBJYjEFS9iOU/7D9z8o5qvuWoJAH0B6R/RhLLk2BbXEL1j/7TmWNEbnntX/gr7cbtXlTkTFtikihHIqtAf6gch+ANHfnjP8Q7kkQ5Ei9deF/Usb/7EduIghxeuS+pfjH1g9pUv5T64Y2Z9IrK6f+Vw3sYQ5r4LsZyJN75b0cx9WRQisG2vxLVL6d+0PK76Jn+zIiRCRIYSSaLUix2YnpIoByB3TiKsMcxnIIM5D3uJyRQgMCez/0RlS+gfMh3GMOh9strzycLbBFgpK40h+M4s27bn8c40fIcQj04XJnL8jaewRktNmiwVpTjcMoaUED5l/64fYfRA5b95Qm89kef+mOPWf6LqH/ic3+pcYmQKjIoweAqKnGRotaM0i3P4ebz3zLHi33m8hzYYy5HQZ7Nl+fRyGBpBu98/l9T9wK6H8Z+8Zb7yf927JUO42eXfnvqr8VeQgkiYV5RjuPxuUxLNN74c/Z8a00SpUhsxV409S+lP/0kCxTEZ2XbYIHF6sgOW4jyPETLQxIoRmDXX/E59V9cf45qltSd8buy6mNsX1YVJIcyHIKOP8RcUf9l9cdaarRCZdTncx/llMe8ivAE1F48lyTKkAi5P/O/7JNAIQJXjusYWSKRVWCUrhwHrmNkhQTXMbLBgesYlVSfvbSS6nMdo7L6cx0jKyS4jlF5BlzHqKz6XMfIGgmuY1SaBePZpQlwHaPyDLiOUSkCuzHn++57ar+49ij1IUYko2mhv3zOqGkxFuGpWc6pWF79b+JRXDNhaf3Pfar7mO4vqPraqr92b2MkYVV1XH07Xld8+mdOZqufqZIX8fh8l9s0as1NRRZGWPRkYYJF6/Myk4UhFjVZmGDRs70wwqLzf2Rhg0Uf2+6OLAywGGNuerIwwqInCxMsZvb1TLGoycIIi5r1wgyLhizMsGjJwgwL9vVssGhibhrGo0yw6BkzN8NiIAszLNjXs8Kijb0L9vWssGBfzw4L9vXssGBfzw4L9vXssOB4txUWDf0oIyymmJea43pmWHSsFwZYSMScNsoGi54sTLFoyMIMi5YsDLHgWJIVFvSj7LAYyMIMi5EsDLFgv9sOi4EszLAYycIMi5ksTLDgeLctFuzrWWAxsF4YY0E/ygoLzuG0wWLkHE4zLMIoK9cDscGCc5utsaBPa4NFTxYmWLzw+cL7SoMiB2RSnElQXfQ89Ns8I+E9R/7MUnruduL/2yRjjIycG74fuA/xDPKxxOeNP4d0rNLBWzDCm0kO6B0Y4PPWn3exYteC73ZFLma4iC8dVk3fc784vFGGhGwRCsfyrcSWqLClsUpm2/9tkYcZHjt+b3gzUOvP5Lvi7HDZjccdxDhAeFNN2Mv31ZTns6N8tuI1TtxxbPlJpjwZOea97j+LjH7h2+ZMkkF/Rq5DQnYI0QewROOj/3TmGMm0w+SFv99u3O5Fpc7UAyAhe4SyOvTP7PEJ3tmRT8WHmBISskfoZbzSsT/+iG2QQT6v3JekYo5KoEAq1qiENz7TS7PH5SuH9xGHa/KdxPYIvfPfjmKuyMYam+14F1KxRiVo/F30oH9mRM00IcwUICNrjHb0OiRjjcxuHMXZ49iaQTZfRzInJGOIzJ5X5YhEDBEJeoSxNTKxw4RP1jwNMoxwWuVzHGdyhmsyjmaHT6g3hytznt76/SeOM59sU2ItssfnlDXGEJGX/rh9h9Eb1hU7ZF57NU79scesL6aonHhVLjU+E1JLNpbYXEWFLtLoAKObdvjcXNdB5g4yRmCXDyME9ujIWhzyvCfZWGHzzp/3mjwM8TiMcYAt95P/7dgTCOOdl3576s9nL8cSqTAvLcc/+Zz0U6D0xqdkz3sJJGSN0FaMGpCLNS702yzTEd+abY9lRqsjbmyB7HISjQ9JxhyZXX/f5+RihgtHpy3yYNzTJhXM6ZDVVMnHFp+g7w8xt+RigwvWhKQ1s0VFzicRS0QwzyY8SRg+kZA1QkGVM//LPskYI3PluI7aUyCU1WF00x4frqNmnRDXUbPNh+uoWaTC3qdFKlxHzSYXrqNmnRDXUbPLhuuo2aTCddSeCiGuo2aVEccNrJLhOmp22XAdNWtkdqMi++57MjHDBLUkxNBk9DPEB84ZhTbHKDzdzjk2dqh8E+/NtVOscDn3ueljfr4gjd9E4+/+nFCuP8b2YC+eHZ6/+Mcdqtea6oqaL6x5T80X1bz1aZ6peQHNa2q+qOY97fnCmnf+j5ovq3kf29COmi+o+RhT3VPzhTXvqfmims/sExXRvKbmC2tes5wvrnlDzRfXvKXmi2vOPtGymjcx1Q3jLYtq3jOWu7jmAzVfXHP2iZbWvI3eOftES2vOPtHymrNPtLzm7BMtrzn7RMtrzvHQpTVv6LcsrPkU01xznGhxzTuW8wU1l0gubcuymvfUvIjmDTVfXPOWmhfQnGMWS2tOv2V5zQdqvrjmIzUvoDn7octrPlDzxTUfqfnims/UfFHNOR5aRnP2iZbUfGA5L6Q5/ZalNefcuWU1Hzl3bnHNw+gcn/dfVnPOES2lOX3FZTXvqfmimr/w6cf7I0POD6j9YtoHdUW3Q7/NI9PvOZJUnMZztxP/3yaBQgSCBmfx+4H7EO9PDiU4vPEqk0JpCliFPrwx4ICt9IIc3vozLlbsUfCVrqj/4vqLj5rfeS6akkQZEmHVWb7VtIT6bAlKE9j2f1vUfXHdd/ze8AaL1qeE70xaXv/deP5B7BeHNyGEvXwfwnIcdpTDVkzDiZP3ipPAcgSCqhex/If9Z07eUc23HJUkgP6A9M9IYnkSbItLqP7RfzpzjMgtr/0Lf93duN2LipxpS0wS5UhkFegPleMQvKEjf/yHeEeSKEfipQvvizr2dz9iG1GQwyv3JdUvpn5Qm+qXUj+8MZNeUTn9v3J4D2NIE9/FWI7EO//tKKaeDEox2I5Xo/ql1A9afhc9058ZMTJBAiPJZFGKxU5MDwmUI7AbRxH2OIZTkIG8x/2EBAoQ2PO5P6LyBZQP+Q5jONR+ee35ZIEtAozUleZwHGfWbfvzGCdankOoB4crc1nexjM4o8UGDdaKchxOWQMKKP/SH7fvMHrAsr88gdf+6FN/7DHLfxH1T3zuLzUuEVJFBiUYXEUlLlLUmlG65TncfP5b5nixz1yeA3vM5SjIs/nyPBoZLM3gnc//a+peQPfD2C/ecj/534690mH87NJvT/212EsoQSTMK8pxPD6XaYnGG3/Onm+tSaIUia3Yi6b+pfSnn2SBgvisbBsssFgd2WELUZ6HaHlIAsUI7PrrP6f+i+vPUc2SujN+V1Z9jO3LqoLkUIZD0PGHmCvqv6z+WEuNVqiM+nzuo5zymFcRnoDai+eSRBkSIfdn/pd9EihE4MpxHSNLJLIKjNKV48B1jKyQ4DpGNjhwHaOS6rOXVlJ9rmNUVn+uY2SFBNcxKs+A6xiVVZ/rGFkjwXWMSrNgPLs0Aa5jVJ4B1zEqRWA35nzffU/tF9cepT7EiGQ0LfSXzxk1LcYiPDXLORXLq/9NPIprJiyt/7lPdR/T/QVVX1v1//C/n99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aek09xPjvKZyte48Qdx5afZMqTkWPe6/6zyOgXvm3OJBn0Z+Q6JGSHEH0ASzQ++k9njpFMO0xe+Pvtxu1eVOpMPQASskcoq0P/zB6f4J0d+VR8iCkhIXuEXsYrHfvjj9gGGeTzyn1JKuaoBAqkYo1KeOMzvTR7XL5yeB9xuCbfSWyP0Dv/7Sjmimyssdl2fyMVg1SCxt9FD/pnRtRME8JMATKyxmhHr0My1sjsxlGcPY6tGWTzdSRzQjKGyOz56x+RiCEiQY8wtkYmdpjwyZqnQYYRTqt8juNMznBNxtHs8An15nBlztNbv//EceaTbUqsRfb4nLLGGCLy0h+37zB6w7pih8xrr8apP/aY9cUUlRN//UuNz4TUko0lNldRoYs0OsDoph0+N9d1kLmDjBHY5cMIgT06shaHPO9JNlbYvPPnvSYPQzwOYxxgy/3kfzv2BMJ456Xfnvrz2cuxRCrMS8vxTz4n/RQovfEp2fNeAglZI7QVowbkYo0L/TbLdMS3ZttjmdHqiBtbILucRONDkjFHZtff9zm5mOHC0WmLPBj3tEkFczpkNVXyscUn6PtDzC252OCCNSFpzWxRkfNJxBIRzLMJTxKGTyRkjVBQ5cz/sk8yxshcOa6j9hQIZXUY3bTHh+uoWSfEddRs8+E6ahapsPdpkQrXUbPJheuoWSfEddTssuE6ajapcB21p0KI66hZZcRxA6tkuI6aXTZcR80amd2oyL77nkzMMEEtCTE0Gf0M8YFzRqHNMQpPt3OOjR0q38R7c+0UK1zOfW76mJ8vSOM30fi73xfK9cfYHuzFs8PzF/+4Q/VaU11R84U176n5opq3Ps0zNS+geU3NF9W8pz1fWPPO/1HzZTXvYxvaUfMFNR9jqntqvrDmPTVfVPOZfaIimtfUfGHNa5bzxTVvqPnimrfUfHHN2SdaVvMmprphvGVRzXvGchfXfKDmi2vOPtHSmrfRO2efaGnN2SdaXnP2iZbXnH2i5TVnn2h5zTkeurTmDf2WhTWfYpprjhMtrnnHcr6g5hLJpW1ZVvOemhfRvKHmi2veUvMCmnPMYmnN6bcsr/lAzRfXfKTmBTRnP3R5zQdqvrjmIzVfXPOZmi+qOcdDy2jOPtGSmg8s54U0p9+ytOacO7es5iPnzi2ueRid4/P+y2rOOaKlNKevuKzmPTVfVPMXPv14f2TI+QG1X0z7oK7odui3eWT6PUeSitN47nbi/9skUIhA0OAsfj9wH+L9yaEEhzdeZVIoTQGr0Ic3BhywlV6Qw1t/xsWKPQq+0hX1X1x/8VHzO89FU5IoQyKsOsu3mpZQny1BaQLb/m+Lui+u+47fG95g0fqU8J1Jy+u/G88/iP3i8CaEsPecHBbjsKMctmIaTpy8V5wEliMQVL2I5T/sP3Pyjmq+5agkAfQHpH9GEsuTYFtcQvWP/tOZY0Ruee1f+Ovuxu1eVORMW2KSKEciq0B/qByH4A0d+eM/xDuSRDkSL114X9Sxv/sR24iCHF65L6l+MfWD2lS/lPrhjZn0isrp/5XDexhDmvguxnIk3vlvRzH1ZFCKwba/EtUvp37Q8rvomf7MiJEJEhhJJotSLHZiekigHIHdOIqwxzGcggzkPe4nJFCAwJ6/zhGVL6B8yHcYw6H2y2vPJwtsEWCkrjSH4zizbtufxzjR8hxCPThcmcvyNp7BGS02aLBWlONwyhpQQPmX/rh9h9EDlv3lCbz2R5/6Y49Z/ouof+Kvc6lxiZAqMijB4CoqcZGi1ozSLc/h5vPfMseLfebyHNhjLkdBns2X59HIYGkG73z+X1P3Arofxn7xlvvJ/3bslQ7jZ5d+e+qvxV5CCSJhXlGO4/G5TEs03vhz9nxrTRKlSGzFXjT1L6U//SQLFMRnZdtggcXqyA5biPI8RMtDEihGYNdf/zn1X1x/jmqW1J3xu7LqY2xfVhUkhzIcgo4/xFxR/2X1x1pqtEJl1OdzH+WUx7yK8ATUXjyXJMqQCLk/87/sk0AhAleO6xhZIpFVYJSuHAeuY2SFBNcxssGB6xiVVJ+9tJLqcx2jsvpzHSMrJLiOUXkGXMeorPpcx8gaCa5jVJoF49mlCXAdo/IMuI5RKQK7Mef77ntqv7j2KPUhRiSjaaG/fM6oaTEW4alZzqlYXv1v4lFcM2Fp/c99qvuY7i+o+r2qv4j6nbsw4+p5nHW1eYvETQK40+pVnjmZuX6mql7E4/Mdb5OpNWcVuRjk0pOLOS6tz9dMLka51ORijkvP9sUgl87/kYs9Ln1s9ztyMcZljDnrycUgl55czHGZ2a80y6UmF4NcatYXk1wacjHJpSUXk1zYr7THpYk5axgfM8elZ5zfJJeBXExyYb/SIpc29l7Yr7TIhf1Km1zYr7TJhf1Km1zYr7TJheP7Frk09McMcplivmqOV5rk0rG+GOMiUX7aMXtcenIxy6UhF5NcWnIxyoXjYha50B+zyWUgF5NcRnIxyoX9fZtcBnIxyWUkF5NcZnIxx4Xj+3a5sF9pjcvA+mKYC/0xi1w4D9Yel5HzYE1yCSPJXB/GHhfOG7fMhX6yPS49uZjj8sLnEe/EDeockI8pPoGAaHvot3k2xnuOaD4JYs/dTvx/m5QMU5Jzw/cD9yGeQVZWWb3x55DUUyCFt7SEN+cc0LMwxuqtv9LFiu0LPuAVGZlkJP55WO1/z/3i8CYk0rJLKxzLN2tbJcSW6SlQ2vZ/W2Rjks2O3xvegNX6M/lORJuMduNxBzH+EN7OFPbyHU22WO0oq62YzhN3HL0GUrJFSY55r/vPIq9f+OZF85TQX5LrkJZNWvQfrJL56D+dOUZZbfJ54e+zG7d7UbUz9R5IyzatrBT9PNusgpd35K/1IV6PtGzTeunPPPDX+qdnxjbLNqtX7ksSMk0oECEhy4TCW9fp7dlm9JXD+8FDuvmOcNu03vlvRzGH5GSZ07a/AwnZJhT0/i565T8zwvdkaGFmBHlZ5rUT00xKtintxlGoPY4TGuf0daR0QkpGKe35Ox+RjlE6QZswTkg+NvnwyaanR4nR16fA6jjOgN325zGuZ5NVqE+HK/PA3sa0cDbY0yHG2mWb1SlrklE6L/1x+w6jT6xDNim99sqc+mOPWY/MEgp3vtQYUUg5OVnldBXVukgjGoy82mR1cw0PmWfJ2MTTYMXIhG1SsgaLPJ9LThY5vfPnvSYbo2wOY/xhy/3kfzv2NMI47qXfnvrz2YuySi3M28uxWT7v/tSIvfHX2/MeBmlZprUVoxVkZJkR/b+nQkr8dbZVT4XX6ughW6ynwUz0PiQl05R2/f2ek5FJRhyBt86GMVn7hDCfRVbyJSu7rM7ivX8gI5OMsO4oLZ5dQgeOz6ZZpoP5RuFpz/CJtCzTCgqd+V/2SckwpSvHdfieGq2sFCOvtllxHb6nRIvr8D0dVlyHzzoh9nStE+I6fPYZcR2+p0SL6/A9DU5ch88+Ia7D9xRpcR2+p8CLYx1PgRLX4XsanLgOn2VKu1Gdffc9+Zjkg9oTYnoyqhviEueMlpvmFVYs4Fwjm4S+iVfg+jkWGZ37nPUxb18YIvNX92ffPh74/Jy7f/PfrlKuw/faHzn5FF/HT4O/V/jUutmN+mnyf/Jr5X+XfaP/XT71/p98av0R8imoIJ8qvUrjt7V+mvTcZuW+nZ7bpBTU/tOgnyo9Llyt109DPCOUpEa3+N7rdojbOp7baErCNty9i5+uY56muH+K54d01LptdIv9vW6HuG31e6vX66IO4X/8Pup9Wt0Ouh31eDmv13R0ur/X+7YxXeH4Tre9/l7rFtdtVLlW9Wpu6IW71qo0zuuUaruScvDr9VOn1Lqok6gJik26W60pr1XhSVNaJYVDToNOk27xe6vbQfeP+r3Rba/7W93iuE5/x7bW/bOmelJt65WyNKZPvX7q9FOjKZOSNqsWteo26ZUq3dapBlR6TpvKaZ00rbX0Ven8VtNWp7tWeo82/dakWoBaFQhC3UFzixrVpjzNKS29atJqzkG1i0fJFkdUUbVR6UxKZ1K1J1V/SvQa/Y5tpftrvQ7OH3Rb63bU4yr9jnqK8ot0QSnwaTR/nZ4j9mlwsEUgMae81qoDciFscFyb6DTJeuXyPK6UhtbBPuG+qC3NilUaV0pNp7QmTXMo02JXOrVPnea7U/vUaQnptWZ1WnvELkxae0bl0mipn7QmT1rvJy0zk9qHSevlpDpOyn1SOzRpOZq0tk7KYdJaOGn5mlSjScvJpDQmLVmT8po075PW1klrzqSletLaXCcF6lQrRC9cJdsn3D/bp1HvCPs0JOJjynWlaoJnq2WhUcVGtS+N2p9RS/CoJXxUnqNec9QyNGqJHrUmjloDRq0hYW+rWxzX6e/Y1rof9mnWM1By6/RbrXep9Ti0ojiuThRr1W3SK1W6zfapS9eBdUBb0Sa9unR+tk9onSstAdl2gUmjlITgrFcYNLewT12qyXNKS6+8a5ftE1KA63R6hOSo1/2DHjeodoOqPyR6jX7HttL9tV4H5w+6rXU76nGVfkc9RflFupBO5KpNZXZKuRlSGZ0TPVjnLpV7WEdpa+FnoR1pk+Vr9e5in2CVwLhZuW+XWuMhaT2mUoPyU6X7VqpDo2WiUTvSqB1B+4561GiaGrULvV69V50brcm9lqReOfZaLnqtfb3q2Gs56TU3verap+tM6T69bifdhv2DWoxB89ar3oPao15V77VW9lqvBrV3g9qrPtWTJtUT+JKiV6NHoQ708bwh+VitlvNe7YQwhcc8JjUaVTP7T6hLteZUSnKTct4nhWv9LjnqVLle79urMl06r9PtqPt73eK4QX/HttUtyjOYrJalNn2qk13JpRQWptYzJ73mpGkeUl7QLufSiXa5VqskNWvS0jbpeb2DfYJ9AcEp/ZZ90j71E5CSQa/UpxrVpZxkOwxNcsvfpvIDTXCE5KjV/Z3mtNVUtUl9/N7pfmwb3d/qd5w/6Rb7Zz0O90O9hcK1pg9Ko/2Al9OlktmpCnXyvuvkT9cr/nKbNG2T8m2qH20qxW1qG5rUbjXJQjYr9+1T3RoS7SmVLvQrq9QOVZof9Adh1xpND/ywZuW4Ubch17PWnjn1XMTuzFqSZ633s9qHWdM/q52Z9Xqzcp/VDs2a/nnlPr1uJ93K/knPmzQdY9qP+1Z6/KDbUX9vdYvrZvuULQbs+axXQ3+hW7l/tk+zphj2KXvROdeNqpn9J/htjaaoU/s06/XapHCt3yVHjV6z1Ry0qkyTzut0O+r+Xrc4btDfsW11m+1Tr3dGCUJ5rZPnXyd71iZ7LntFi1a3lV4Jecn2CX5+l6wD+mdtajVRGuDr5J52o3VjXrFd2SeFFapW8jJpLrN9gk84p7QgvUOqs10qR7VeZ9AjJEe17m/0OChQJ/Xxe6f7sW10f6vfcf6kW+yf9Tjcb1BlkPta0welYZ/apDW2OU8oy9AN1us6pn/Uba9blOZJvze6rXSLcoPz5HogDDsEa4WWaUjbTre9bnFcpd9H3YoHIukYkqUWT2RIv4/6Xe4zqEUa1CINqtyg1x20Tg6ajkHTMWi+BrUQQ/JMxnTepFvZP6V0DHp8o1vcf9bjcN3st6J9QBmXfMLDHfT8QXXAfcABXm+v+yfVr1bdK93Wet1edZPvTdJz1O+DblvdX+u20/29fq902+p+XA/HNfp7o99n3cKvQT4rTe+o2163KJezpn9S3WbdDnp9pH9WPXB8r1uUn1q3k943RzjkuEb1w36Ud5RflL9O74d0zrqF7ihHaCFGPQ9blAtJR6X7a81PrTrWqmuduFT6vdLzJv0Ozxznd/p91u+9bnE86l2r6UC6Bt22ml/oDwU7rWNSZnNPLPuOsDTZVx8S7aw32r7WIebQJPWaZI2blfvmuANSkLnWKWZXpXMrLf3NSsvb6bbXrViPSf2XUf0b0KxSD6JSMtkPr1KZrFItrpJdrFyOLqLsVEnVKtnJKuWqSja5Sla5Su1xlSx3lcpc5fqVq0zpU47e55QO6dwmfcrpm9MZ+W65FcWnOqVgTvfN/u+wokHuo+UUgHb2jseU5s5hfCB7RvB5m3RXsTltimNVrlqhM6Z9Q/rUpl/r9KlLv/ZpX5U+tenXfI98RpOOa9K+OX1COc3lD30t2C35BD+jT5ogLbWWMiEwp09Dum/OL9qF1VgWvLI8NiT2u1nROo9S5FGNOmmR25/ci85k55WrdCkl6ImgJNepfNQrJSq3cF3a16yUo1wuxfeZ1HcSNWdtqWY3q88zrxCvdE+lZ076HV46rtDp91m/97rF8bASbUpLTl9mCpWzLzUl1XLfG1ohui/2Mo/3oV3oE6t2hRpqUJUs4phoIdbVrNw3j7MMKX3ZSubSnMsB+ni15rpW21in/egDY1Rq1K2MJQgXjBugH9rrcb2W1V7P77Xc9Uq6d4hi1NqXR4SmTr+3eh/ZjxhUpX3yRs9r9L5N2j/p+Z0eX+kW9x91i3xA4TZ9yjV9TEflVqjT89H2IepQrzDNfT/kBmrm2BT68hiVmbWuSsnv3JgU7vV7p9tat7P+3uj3VreT7pfjBj1uTMdV+nul33E/tOFzOgJWK4/E5dhCjofOqaTVSe1Rt51eCXlBDcgxrjzGlq1aLm3IC+pQne6KklCl32D3mpU2F7mcNffwaJpkYWs3p7Qg3od6l8eg57RFDiVHve4fNKe9qj0k9fH7pL9jO+h+jEl3+r3R76N+b3WL41EfkXukq9Mt8tKkPOTo3ZDKMco4xn5F2+z15nGg3IOc06ccQ4RVGldKA/y5fF/4So3LsbMppTS3xbBtlUOktlf71Kud6dU+9Q59YIxKjbqVERVJz+QQ05r1u9TkKVl9tB6Vti+iy6Q6Tsp90jI+aTmaVLVJa+GktXBKsaVKW5dKW58q7Z/0/E6Pr3SL+4+6RT5glXJ9yx4LUjm6bJ+Qr2yfcEdQy5GNMakCNbMHli1Vo/doVUlRsE8K9/q9022t21l/b/R7q9tJ98txGI3t03GV/l7pd9wv26dOj8heVZM+5XF65BeeYK2twqR2aNJyPmntmlZ6KrCGuU9ep7a/VTverOQl26DsL9d6j/wbakH21+ekbqNXgn3KUZw8Htan0pbtE8pJr1uUJ8lRq/s7zSmO75L6+H3S37EddD/GpDv93uj3Ub+3usXxqI+tpgPp6nSb7X4eYc69iNwfhw80rdgseEioFa3LEch2hQ7KfpXqzOiy15R9Kty3S6oPKX0gUaX2rUpeWJV+xbgGrB5YoUahvwgPQq4FrwH9YIwzYiwA8WP0l1otYZgT02pJgH1GH7vVWoM5GRjZR18MerVamzGGjfYYMVmM/8N6IMKNeoF+R7tileAP1yv9BNwlxxl7vS6UbLVE5RG9NvWMupTbPBMtWyW09eiZd1onMbumSQrju9yn1pw0mgPM0mlUgUav1+hxtR7X6HG1KtKkba/bHCuZ9Mo5ptylT7BUea5G7i9Vemav14RabcpLHjOC99Im64BecOvqVAqREtSheoXSrPfAb8hB43IcA+Wj09zndiHfd0pp6VXr7AFD/U63bcqhXLfS/bXmtFK1q6Q+fkf8BdtO9yMqALqVfu/1e61b3G9SZZBSpA9KIy9NykOOguVxhjw2DY8Ls/DEZqF09y57TTnmmeewwSqNK6UBPlW+L9qCxuW5dbmFypEO+G2Vw1gd7EurNahV/wmRc9jrNh0vczGk9owO/UNJ1ag1edR6PzrMbun0PLEzY7qOcB81B6Peb9TaOmotHLUWjlq+RuUyajkZ1W6NWrJG5TWqlqPW1lFrzqilenR5vLpLuuYYEeYXNS7bp0HPz/Zp0JSBGiIi6JONLs88y/ZpTp8qvUetSkrOqqQwvktMGLN0Ks0BZulUqkCl6UFsd9bjpEQODrNoqrTtdZtj6Y1eOc+zy5/ynCbkF1a31tIwaikatXSNWrvGZHfQvtQux9Zrh94vbDD63GOyXJijKJRQMrJ9Qi3oVwgOqm6lVwKBHA+b06c+XTPbJ5STVs+f9AiJoEsdHFSzQb2RwU1Jffw+6H5sO92PkSHQrfR7r99r3eJ+kyrTajpaTR+UznY/98KuVWXR4lp9rmuHGdLSF0XLc73C6XqlRZBvGPO/Ti0jFM32HpYKSqNFQMlBWwc7dq265bnl6MHkuJ9sc/Qa7c918r7kf/hZ1w7jrfI/RtDhs12ntifbyWuHsViMyF67HFlHT0Wufe2k533tchwEcbQ8U/XawR+Qfj1mcl0nm4C5FNcr1lmYiyIYKbx2mFcHS3jthlSKrh3GMjHidu0wv67WknPt8vwDzFWEj4Q6hVp+vWLZrx3mAWC25bXLM2/hZ8HPhT+La2KO67WD/3Xt8jxxePnwoa4d5nzCYl6vlBwZ30bfBn0NzKa9dpi/jllV1w4ztjD36TpFYBD1ul6JuVw7zM3HPK1rhzlcOXp9naIFUo+EZhuf8rj5ZEfY8zE+YXzXUx+1g8crI5ObTua+SGnfcNL7l3kCoeRuOunZIIY3aDxCZixtOuktSJuLVkN6+jLbcYzH9NqLyxERGW+eYwpgwSRiKnGWTSdxUon6YxZvq610FY8QX7TS/myendRoP7z3x8i83Uq9tT7mEWNnXcyBjFjLODPGqqSNFku6qW1xoz3bOV4jKNOpjyKzsiXK1GiqtvwxlUNUf9SjNp3MfJw0jau2ZtZ2XYjMDrPqpTXu434ZBR5SnxezqBAF3dRWR+Jc4Rp4dmRS67jpMPNN/KZADN5ppR6FpEDGCzGT8jqmTI4ST7hLx8OnkzGlTTepjy5jFJKX1fEBmX0l7Cf1R7NPKqNQ0idu4j1lLg0sh8ydCvne1BRK5AD+II6V8bRN12hepfeFGK5YC6nRkq9WW2pEjMTPa2MJaRzmpmHOrZBotNctqRRfA+MJ4sFIfFlqkkT8xYuCJZu1pMrMMdFOoqNSH2XGssTcNtWDEk8YM7s2nMy6bzUdbToTMdCgQqXtuqSgdojXyuxkod7rfTGi1SkbmRUsR0hvEZ6b2AFJk4yXbDqJG2Lu5oaTOLXUgD6WokE9Q8zllFT06klUUYdGy460VOJTNdpXlPzIsyC91sdZLVOld5CoY+Py0x4Sz5DcScnC3A95AmfSs1q1LY1+w+yMWS2dlNBNl+MVEjGTOF8VFZA7YqxH5sDN0RZ2Wntz7FBKukRD2lg/xVYMDjHSKdWITSdz9qVm4RkPieyKtRQ7IbP20DMRGypRAZm3t6n1D1HWQVsDmXU3azpnvVubauagqZ8jIYlvIBIis+hklKCNV5DyLzP9ME4kT5AMqpNY7jqRnlVlpALzIuQ46c22yWpI7KFLNgzP+MhTKY1aMnga4kfLTLkuliCZPYc5tlIKhfOg9U3qImZtSCmetcS32rpMyQZfu9vWWM6flFjrMONdrtGrNZY+ch6VbdWqVaqTjLBMyRNotbWV2aqbDnPXZW546/AcjjyVM2mNGzR3Ui+vtSVsk03adDJ3Sp6NQB9N2iSpz00kgnkvmHNcOTy/iB7SppbqyqFXJCPbndoiGXuZtdXEPK02tbCD1s1GqY0xtY3Wf5kTsan1UGarY0yu07rcrxAWC5xjL5OWa2kboCOeIJBrjtrKSH0cNL1DajtaVWrTybwmKdM5atVr69ConZFYdZ5pJE8btTGVk95pdBjvh42R8YJNtWsy7pOf5Ji1ZrV6jMRd85M8k+ZB2NbauuU5SBtOIi1tTKPUU5RU9CcmbT/EJo9qJyuHOVUbrk75aNRajtriIb6y4WQuMErPqD6KtLjSv9hw4gtKCZ3UPg1agsQz3nAyN1BGjTc1t62y6x1Ggm4fUWnrMjlEQyRSWyu9UWvwrKoIb2ldxEqN6gFizuWs5axX77ZJ3mWeBS/2SeZINPFeMhqPJ4t7bd8mvYvUnkFbKcyEG7SUderBVLrN45nyHGSbLG4+Cv26Xi3zoBZLShcig1J7q+S7jKoBPPxO7VSVSuy4Ql5iXKP6wk2ynJNeeUPLcKWt06bWAukhDElxlHCxZxJhECvU6TEyF0EiQJ2WZ5lri7nKo1oD8d2rmOZalcDTj53WoEm9mVl9jhzrrLTcyW+ttvPi70gplGeQZJ7kppKQGiOeAGpUpT6M9CereKVJW1n8DS4/VTcqA7H+my7HVaWsdOmsTfXaMN43qteHut4qCbF5mGVbaa4GJSrj+PkZpUm167WObmo5z/MMer0L+kWYPb6h5ULiYp22fINDbFH85z55J63WrfxMi1jQUdv/TYe43qzlUSLV4ie0rk7qyPNis+rbaxkRFQf1gWaHkW2ZTyLebq3Wu1X7glhxrcTkCptaCmTuFKL0o5Z8eapW/PrOYeastOSTenzSa+q0Rc5PLjSakl59ukbPz6VMvMRGLafEWCf1JhChqNWioj+U263G4ak7Kat1qsOT2kXE/uBndGqhZaQHURQZkazVZxo0pzIijnG+0eGpH7F0rVootAAgMWirPTiMVmIW8YZau1b9LsxhqrVVmrWfI/0eyanMm5IcIKaJWVpj8sQn7Z1UDk/N/h4xhOxXyZMfs8Ooa6N+QK12alLtRocxuMfjAegrN2ptR61Pcv/c95cew6yWqFH7LXaojWq02qaLnRFPAr3A7CfAOsh8jk3Xa10VTdfrW6HNGVKZblW1/Gxsoz4IogzShmLe64ba7MphroPcRWpFo9apSdZsUosza4mRVGUrLk90SN3Y1LKFWfkbyV5UWlOlLk6qM+K5s3oyvXokiEdhZQQwbjTVjV5doljDSo4kvgrr0DpEJzCvt1ULISqK1ylPjcF3XcfCIRaOHiPs/KDtMmazSHuCXnCt18H4D54DntTSiQWTmf94/kNKjNjrUX1c+EGtWrBarSx4DupD5KeNu9RGwqqL34rnN2WsdtJWqlatpcVD/3lSmy2Rpi6WPTzNIHVO6nuvfhbilZif9Fg8adQWU9pzxCVn9bPQN5HRx059nNrlWBDWSYFXKfMWNvWq0rrmOW6DWqRWy/Sgtqt1iOQ1eo1aa/2gpQIzlh6OW0nb22m+W+2rdQ6j0dWK51Y7RHs7LedV8saEjFgNudegqZAjpK5K7148U9jBPA9MfHOpQ5VqjOuLfZeaPal9kJhx7ntV6fhGlepTOzU7jEd3WvPkuEFz0cTjpFWSyC3GuHvVFF4rfCzQy3NaK62hlZasKXkr93lD9/tQct6gdXnUVq7XtgSzqeF/rqYN5Qotj1iJ2SGKdxdHzMKRtmJys95r+OR4xMtnbX1F9exN3WQkJUmu2uh+rKIgUbBNh0hSrxZycIhF3PSpZRwCFkJS2KmdmbXejWrnpO3b1FrYaxs1aFm+VuvZaHu5+oceEpSq1Ieq1KZJHwtzC+SeldYWmTGO8QvM5lnvbyO2peLnikUQi9xrOz+vjCB8+tckKzdpmzarpZQezZZSu+vcQb0eKeESAZQ5WEL2oftuaM9kdjnKIVamUc1Xz5Yee6vtongfrXpoaEfh6TQOT/ghh31qUzYd1vF4vE/ca/uIlm3W1nlymDfy+X8bTiIAEmGTuGSTPLVVKnelefWvVcvSJ48lq1G5/o57t1qPxP/vtX2VvuBdx9/8u10C7s/J3X+P373XNlW85Vm9ihwLfKgkrqYLs8jv+xPb3mscRfoG0qPCcxiIrkjfFfNosTpLrXWm0folZRjzqMUiSQuX1RDPvlMPE6NoaEvFYvTqGW+qjzUka4D2ZNJ2XsrspL6/PKvX6n0mtUZ9SmXnMNaCVZ6yly/WFzFgRGfQ58AM6lH9FESXZv2lSn7yzRLSq8fTp/4Gnk+VSGStPnudarf0wDAetan3EN8A43lzarU3HVZV2NB+3qTe5GZq11ef34PXLGtQbaqOs8Nsx1p7poh9SU9A/Ij6k/xtqI9WO4xczFpWqlSS5Rli+EV5/YzWYQyjV28G9rbRa8u4GeJNm1rzNxzms0vLh1UkNpzMu560VIxaM8XDlPLbaCsmXgZG+jA/b1ixILJf+sCDtkiybtLNCNqoaam1FR91z+r17xpJxDMvEgFptA8vucd6FyhBs0P8FmP94U+imrXDfAK51qA9ijzPYta7YpxO0tpqqyD9rUq1Fx9PvGw8kzw7RL1HtVvo1eB5oPVGoKTO3hyBqpO/DpawiphPjliztDbibXRqaaUP3Gp9qR1GOFctHEZj4clIDL5RjySP2E5qkW+O8oj1GpLmEsfBvAGM8klrOSkFqVky9jVpKzRrjyD3XvBMRKUWRuiO2vZL7Fa0bbUkjeoNSy2fXX6GHDlo1fuetO4hviDRS4xbyEhzfvpP7i59aoz9iZ3HCgSDy2NMrVqu/Gww2qdBbTHGgjBT/lr9WEmflKBe7Q1mAg3q03eqK0bUMftZ4iaNtvHw1SWmiCfvJGIjPSPx/2XUe7U2SOskUdhWPULMUbjZcsJiDWqDMXNH/H/MARErXWtvpE72RNrGKtm1UXuQmL0v5b1S+12rx445jrVet3eIWkxqJeExT+rbSn9oU1tGSTHWmJR0tarHoCVE+hJtqh2r8yCqG79U6j3LKEuT2hE8WYXWEhEOjIJUes1Oj7k9CoK8ycinjGJJ7ArPlEpMstY6IWu+9Q4zYaSlk3RILwJ3lh7F7NC7khYFPoRY61Z7WNIWiO2btU/U67Xr1PPBuK60OY1DPxjHdFrPJK7WqYXvtMQj9or5j10qQ5vqO00uP3H86+ZCdOpziUXrU+rQSmHNDolhbjr0i8VjnbWMtW7T4QmlXts7sbCb2hZILA99EIn1Sw1r9KqIQY+pDGFWf6c9lbxaSuUwg0MiWVUqWfl5AunVwC8U/wKzWCV+mCNDndoXrHvX6dXb9Ls884i1BXK/QcY+ENPDM6DiaXd6fazWlNsUiZrlGFG18oennWVmTqethbSOtcNaWpPDmhdSGuRuYhMmh7WNW4cxTplhInayT+nHXITa5fkpnVpsaYEwYjBryyAxeYwRSTRFRr/GFY8Zlki8r1nbPUQSEUHDbBx42eKPSp8QZb9zWNWzc4hpTGrjQUiY1trmYJy6Ui8Sz0vVaoVmzavE33uHta0mpd6pn3DTD9hINhzcZm2HxWpivFzKKCKek4P3jzmqQ/ISpQVEZENqIJ7EEh+p0dYO/SewxwymyiH6WWlty0/pNqm9aLSWSF829yDGVK+lBKF9wPyANqUTkTCMYs7aask8lc5hdij61UJYWoVGey2NwyyQIdWBPBYnHoKMYmHV4Q2H8bkmlgqZKyitZLYkUjalBzBqKUfUfkgpx7MYmK+FWWeNwxq5iI2PLke7kDOh2qSS8Fj/e0NbU5lPMmiJET8Ma0VI5B9WrNHWc9QamK3FqNYCs1YwslA5rIaKMSnM0kKbuP5cNYzryupK6FW3WkY7hxXPZc5ro3lqlBfmnz82V018Z+nFNZpGaefEH5LedeUw03DUEoQ5StcO88Tz8yuj1uncHjdaw/BsvaR8Sv77sFI+pP+ZRzHyHEyJmEvvSEon5jng6UqM0YvnNGr7h5FBrI3aq19WOUSbMdqGNcLm5BmjjyP+9ezWmZWGWdJN8oZkDVhED0WzzeSlDA4RzWzVpLeB3iXmM7UOTwr36gk1KZ/oJWNervhEsH0yFjOpj5mfEpGYQeMqTWevXLE+CCK6s9b2Tv2+1SeBK7VyGDms9b6z1hhpNTG3L/vxncPIeav1GW22+JFCCiubYKZLo+UYtgzPusE3lPyJ79NpXcZK44/NR5OVXVqtBVIy4engSYg6pap1eS7P6PD8icTApAcu7bxY587lVRar1IepUu2ftDXFGofoC2NujvSU8CTmhsP83DGVEGn5OodVFDYcnpCa1fPMs9awGuHSs9Iwf6XXcoDoEmJl0qLPWpdlJoaMIdQur/Yyq28qfkWneZd8iYcjo0Kza1Y8g0l9ofz8HmYwd1oCK21f0F9r1EtGmy82K48OZ39n9U5SAmuH52NlRF4I9NpPwupfGPUWDxHjA1J3J20bMVL++LMYYkUnrY2YByCRdqmLDz2ZUKsFkD6FWEHxAfBc7ePPLoh3P2qrJpHuShXA839SZqT129QzMTaFeGmrRAe19rgubBpKN7RA9EF4YWW5DW2nKvU0MCt/SpYNlrhX7hK9vDkquOGwptnoMBNBat7ksIZrttxD6gNVqkDnMANLeqt9Yis9sUFtKp61fIp/q2MSjZabTfUZYXnFY5y0ncOqmfkPq4E1qlyXON81WvHwH0YKe/XuNhMtRKLX+dtwj0e0Jfe3Y9Q3r/Jbxi9Xr/N43FTyPjrMdMJMGUQTa4cxZInxY7wA9rBXfxOxIJTS5kbqNpw8iSGe4aAtEEbAW7XYs/oU6JGhxXk8gvq4Dg9Hij7v73Ou9ltGk2+WiMeiJb3DKESl/h1iPJ3DHPNK65JEmOQ7nggYteyvkpS5nJV6pWK/8TQjejQSQd90GEXsHHqfKOtSBqUN3lRfWjwo6bWJT9E5zLCR+RKYnwWb+ng05bEysNoT3lB7MiVfFPE+6dHebzFu96hX/9bp60qNe7wnm/9+y6yCVQXW6Un16t2LvcCMMymBQgOzSDFjdHRY4R3z1qXN3HSIXQ0OcWpYAswkmV1+kmRweOIao5itw2xJKX9Y70lmbOH5llX2KEnSi630rPZGP2fDjeo5YSyocXiCB/0YzDN6qDf00N/neGmj/vXay5g076BwP8/173L7zHV8qvD3uDd087rrz2DBU8Di+2FmlYzK5qf3am0F8tgynijCc2kbrlGvT3htahmFz5TX3Rq01W219MKPbT/RBxFGrPoHzy3HLlutTxi5xFgCxgla7X1I72/TYUX+WtsIzNKd1P40Dis1bTg8M9FqfqS3M6g+ed2zRnuBmw5zbPNz4uhjixUV+4JZupi/vM4xubzIHNxeW+pGvfn20V8xU6lR+4UnZYQYVodb5xi0OYN6h5W2J1hz5uFfseaP9GPE+mxqHcCKJ48fIdYYbX2t6t9fR1dtuJQ3jEZuOqxFMjk8Hb3psNbdoG1QpzUDkbONB66zceeVNu651oZ7fMbrQ8/1flrzb9YZzFee1KLIuHheXXJKWkv9kHk1t/0geQYh1wU8LyMea37q6tMaPKjll2NmPX50WEmo1hrTp77xrLZFfG6sITVoSyitNerdp/Ze7jqp9UKUF+ucSI9aajvWZYCPNDrMhZdREvHQZ/WT8VY46ZvKOEynUaLp3r33txmPzS1f7xjEgKvUe8UzyXlF4VmtKyLr8NfwrGajLa6UOUTg0I/Odufh+2yscaeNR++14R6fDQ/KWJFS4q0SC8BM39VVWfPKADKCI1EqrI8r9rJTC9+q3cU7uOBHVuoP4OkXKYESaZa5ebNrXXejRG6k6ID47Vhj+b79UgZlzB4zCeQTRrjbtY749A8rUOO9fnherde2S6wRZrFhVQ5p63ot0ZJnaWkRscJM91FrGdrL26nYUL+oVx8Oqxh2SW3EA/FUQV7jB7OdOi1p0lYPLs99RJQaTw2KRzE7xCFa9Rgxy29IPg5Wid1wWCVLPDmx0XjOB28nkLdAyHharx6IlMzcJm04icm26o10ag16hzla0hJg5letbQVme+DdNY16TvJUtUSBJc6JFeo31HfCjExpU6SHi3F1mWEjcUSJQGxqGcDsAkSRJQ/CEU+gzskjGLSNkFZKnsyc1VuuU9v28DN2G9qijQ6j9cK119KL+ZDSvx615udVusQK1lpWK60FWEUG8xoww2B41BfYSGVKrIeMQGH+dZ+88E2HdZzl995h9miX2jKsIoyn8mWFgk21YqPD+v6rf1AVz3ahjfq05mCtiNGtznNrtS5ifBDv3pJSO6n1XY1x3q8Eanqb6LRqIfCmBYyRycgrZn3VDs/8iv3If5PW0vxU16A9lcblsYVebcLtfNd6b4nRNOoVYz1paR9Gl+cNIWaRVweTOWt4Rh5PVyLOe/e1N9a4+saD18dTJA89lXeX/lhfstU6I2MwjfYnMTOzdeiVbTqsxykjJpPWiNFh3qL0h27qKvNiZMxZbCDWaMFMZonNYF0GjBtfq90QC3bzr3ZYOfnudLR3pAPjSZXDHJDrFYuC9lquhyfCET2Tuaijy2O8g8Nboepk9cWf3NQjZWxfWnN4vKP2tWSeVOWwzuCoNQH2Z1AlsN746DDGLqPQYg3EK/u0HN+s73c/Pf94RPzuP5lngzGUPFKNldM/vf/d65Gt/sms0bwusFjvST2NWfOKOeMytid2oNJ2AeO8lcNqBYO2ho2WJsxImd2nsZv7/aKHvKYN9/jz2+IxPt7urtOm3t9ejsnKPH6nddrvh1vnUevs421vpXQxD75yGDOWNlcIy+yBTls8zP/6tCTJjDaxQI3DPMJJPbL8LHyjVh4RyE7b/E97bRsO88nwBDueN8Y6nfDQJK35yYBGfcbbUWdRScbvMfKT57e3LkclMLqT39CIZ+1bh3mOlcuzuFdbKfAT/VvtWWOdTzyXgBFmeHaz2h6sdbp6xV7/Bo1nIFV5TZ8mnSmjDHiH6qyek8SzRtUTsXXMa0L7jCcHJHerduuutRbP3YXfc+H3nKc1Fq9/9T+xQe1ae//If3/sHfPVH7/P8nm3/O/z1Pj12q1bDpdKz+9Ten5rah/as/5vd+1/Op/+2Bz817n6Q98eK8HlKZcsXb9Ogd+q2x+hu12WFtX69bWr/KeS6VmnfXzMzqzbxn5u7f2c9ns96p/Xjn9u6n99rn6b5frtvs36ftbvUfd+f66/lumv99g+r658Xu36PevuEnR/jb6/tr5+rk3/dbbt80rOr7cfv9+9fuu/dcvFH1+q+Ymf+OmP+fRrW9Rf3y6Uz/Pn6PB0Pq1nd/8rafRHl93f5gfZYP5f5dN/xbL7eb7s5/mr5XP4uam3VmL+u1vW+718lksbrJcpl5/fv/utV1+/t/x5Zffz9titnevXsd9H0c+jaKdG/jEl9vcrV8tbm8+x6et4KL+W/WO17Y9V7I8oseuq8ZjN+2MsrU3drNZy67p9Tp39o/LyW0mWrIPL293/vp/+CB1+7/KyVKrW9RU+p539o8r5H+OJ/f6Wb+nr/NayE+b8fjrH96/uo/8U9n4bf9lzW+7M//3o/4Xff91zC/zjH//4xz/+8Y9//OMf//74v+DjP+zPhyNexSP+lp7/C3tl37/HXsG+P/bYnfrvx/68E3068Nj9v3isrPckvQnsC72IPX9G+PS93/OveK/n/kr7/gqX/hoX7k+u1rUGKvcXn9a7f+3v/RVPVT/0a33Pr50+V373r/ODqZr12ef7fq0fPLd58Nf2wV/vT7M8Wd/ck1+sYHzfuQ/lt1W+9/96f45a5XD/r/fnSJ4Nvv/X5gEKsoJSd8+vovJ952IV84d+bR78tX3k17sZya/3pxmr4N//6/jIr8ODv44P/jrf++v9ZQO/3pdfrCtx969Ybf/uXx8qsfj17vu+cP/p3rvX/lvYG2zjXUe99se999bv2B367XO3E//fXuPYF37/Wfx+4D743x8/4437+pHj30Zb/HiqcdxX7p/+mPDppd/z8LE7fu+V37Y+1d8+eORubB8OohLnMV504f+/64yv/eeLeNx+bDve+zbnF98arHfs1/4+vyQlHz7n7hTj9xe+FduN29DyHcRW7MRrs945lzE6FtR+OJc4I+TxyN/hg//3mDI456VP04E//p/+zLvZ3z7jlftyreNCGVvnuDf++3qKfOXT+UPM255P9b/WOued/3YUlV/n6G3vg6x3XPBfvov6/bxmGcjnoHasc9aOT/vJmsfuxvK790g5x9Ffx2NPHjl2z5ejo0eOCSX0o///4aNuWqXHy0c48nClNr6Nnt/jdfL2edt++3BZeemP2E9l6+FjX/ucnvrjjx9JRbCU5zGte9Fm3m0DcfQ7n6/XjxxxGHO15X7yvwVfOPC+9NtTn+6H0yx1IDNY13rePu+Nv++ep7fOOVtRp3WOlLZIWoF1jpfW6nPzsOtL/fMHj3y8nMgRj5dcHIcSKK3m42cE+/CD/3voSLSWj6Uh2A2U02Bx9mLL87Ad2Yl9rQt/xqX//fFjrz6zZcvnrNuy4YzPadlwzvotG854rGXDcetof7VWy4YjP6dlwznrtWw4+rGWLR+3fsv26TnrtGw4a73WCkev01rhmEBSynsgcP5IefnGXdyy/VvxCPn+J3/eK3+dQPOd+8Jtevbbaxz177GVffy4V740vVnjuNe+/fvbGsf9h//9/I7jXsTW8zxamOfRymzeOvcvMYKSYyV/vbUeE1YWl5VcZUXa1l2nFRLlPc2Vu9bVv2SdaFlJSt5pIO9JknXe+nikrM3d6aq48tZNvPNNVsG9jv0wGV+WtdvwxuH8bqxet/IrVvTEe+sr3coI9RyPuXZYFz5ca3SySqHskf/xhnVZp1jW0ZNfZGUsOR8paJ2sjCnr14WrT07WuJfRblnXWd4XKOvTXTt5Z4K8iS6/IVPeKHetK4nKm1LxzvnWXTu8RU2uLHeUVIpiopPkVY4RhWWlcVFKiEiusZq2vBPk2uGtTJIjeQdp5WSFz3CkvGNTlG6drJUvq5vLqtvXumKlrEcm75jpdR3T1l3runiy1r2s/ijvzx20VEiqJOWSqmvV41rL2XWMB921XtifV2J+N397Hv3TM18XnrkN/y/YhWApnmn/9Dzah2+9DZOW6aN63WH/i3jmafxf2rpnvraEq8OzC0eFNv5K28/Vs8UbPYh1L5z5P/1Z4hk987Xvx3jOmf8V5zzzViPsufI1F9d+5e/1o2/7wj2fxTuFVPwzpedbzdE//Tnnsc7v63liBf/s/leyhP/bH/tjzPm/x6NP43658o8+pdi/7z+987+KMv9csZDPkiLP1JL86I/ec4jNisKvvX29qe7nXwOtyep10NYcRA/lWcxjiBscxLP+l/bzoff//uTO12r3Jcfo31xHD+ksWr+L6OP+EGntxvtcRu8mpE3SIPGIZ7dalHO/ZyceH7yOq3SVsP8wpvqj/yRRjmfR4zvTFEGBn1OJCmcEfaSkfRupSL9JlJGW7tt4pHiEN/P13DPfWSkrZ06iNqfxDrdVyJ7EM/X1z1JpfO2v9OKenK1/lVVv/Tr6T880+nS4ktqrqFX4tn3HUbhm0A51+U0sZdDm03Nu/56vIfXymfrmz9RXv5nSZ550LpMhl59/hV13obX0+tYvX/pPP0S2YI341n3W5Fmszc9iv+9DHOv4NvbIzlLJXOUh/eUNTfGzZImEy7cp5RLNuzv9j6XkP/zZx8r4b/rrZbz+Q+c+j2XoOFpQ1LTP1UBS+WPst4u+4Y6rZfA+i7w+hftK95uo7D+jZmHPx09Uu1kXb1sJ6e1l+3DX8Wex7QrpumnRbh99u6atRxk2We60aidEL7QRN+uPpOVCWyypD+taAMQOYInvKrFS89e1WrfvAKtwfE/axZLdvMZ92txm9FDNelz7XLegwvW917idixfRoznWe8voprT3B7HtEhVhZS7dRTz/X2qxz9WXkByc6TmXesSup7WXauvDv396vb/FvoSU6r177nmzRAjLcL0jLc/H8bibHG56K9faUkKfFzdKRNDrMpaTI1XjWfzlW61HEis71xL3o1qOu/28u+zFM+1/ii+56p/czulX0S79qJ7Cv+6oU9d6rXDly5jSjZj+v63YnPN7jrodZbn7KIkigMZ997vpP30V9drz1zxIub77zE89zLt81bvOfKlxqPMVOlt61MW9Z6E3f77ie4v6991lNd4Tvoezflb/8CHdbmuy/pk3I1nPUi/7MnJ46MxX8Z6XqsaXqssPD56DUgJPPUdQ7j5+tfZ9SmrVot08+9zBh7/PDr+I9fNiJSUov7lUr3PUOmXxsausx/1z0/LrrnJXL+zx9D9WOx67wu2acn</a:t>
            </a:r>
          </a:p>
        </p:txBody>
      </p:sp>
      <p:sp>
        <p:nvSpPr>
          <p:cNvPr id="65" name="WORKBKFUNCTIONCACHE1" hidden="1"/>
          <p:cNvSpPr txBox="1">
            <a:spLocks noChangeArrowheads="1"/>
          </p:cNvSpPr>
          <p:nvPr/>
        </p:nvSpPr>
        <p:spPr bwMode="auto">
          <a:xfrm>
            <a:off x="3197225" y="2944813"/>
            <a:ext cx="638175" cy="457200"/>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Gjrjx29qe25bEzHiqHj517O9L5+BmP1ZTHzscIGvz3h49ev848dKXP73eF8YnVtuv6hjcSUgaPYbWtXIfuTQuVe9I3/aA8qnWgKbjPn/10ZOu2j/qpTmF8MBA8vtXLR+pv30NGu0T3/y9eH6NeuWWGVnkU7C6fcnUcJJ+Tx0MOosWRfNw8czUufKyKPuyLB89C4jkX6nVIL+G2OiFNG75nf6bpwXF3RS9uR3seU+72WOb9R2arsRdtHq58d9ToU1VXR4ouk/V4TCMpn7nPGuj+X7X58m213IPXF/F6B7FM3FVacj2ScccQTflXLOmS1h9cjpSt6vFpv+dmj0AswmU8+jjGW9Y7B30NRIruatlQF296yajl76KGYP5w+fjUa71pI+4+5q6rrZuSm9dHLh+ON65aph817nM70nBT109TeDeRl/Gu2Rq90H7LP93BZ14Z3B735u/WD0o81J+53eP7T3cQU/vszrPvinP/93w+7nNmEt8/a/jP6dzd6FWcxTIjvxzGNirbwhfRMh7F3/9/nCUMKA==&lt;/compressed&gt;</a:t>
            </a:r>
          </a:p>
          <a:p>
            <a:pPr algn="l" rtl="0">
              <a:defRPr sz="1000"/>
            </a:pPr>
            <a:endParaRPr lang="en-US" sz="1000" b="0" i="0" u="none" strike="noStrike" baseline="0">
              <a:solidFill>
                <a:srgbClr val="000000"/>
              </a:solidFill>
              <a:latin typeface="Arial"/>
              <a:cs typeface="Arial"/>
            </a:endParaRPr>
          </a:p>
          <a:p>
            <a:pPr algn="l" rtl="0">
              <a:defRPr sz="1000"/>
            </a:pPr>
            <a:endParaRPr lang="en-US" sz="1000" b="0" i="0" u="none" strike="noStrike" baseline="0">
              <a:solidFill>
                <a:srgbClr val="000000"/>
              </a:solidFill>
              <a:latin typeface="Arial"/>
              <a:cs typeface="Arial"/>
            </a:endParaRPr>
          </a:p>
        </p:txBody>
      </p:sp>
      <p:sp>
        <p:nvSpPr>
          <p:cNvPr id="69" name="WORKBKFUNCTIONCACHE" hidden="1"/>
          <p:cNvSpPr txBox="1">
            <a:spLocks noChangeArrowheads="1"/>
          </p:cNvSpPr>
          <p:nvPr/>
        </p:nvSpPr>
        <p:spPr bwMode="auto">
          <a:xfrm>
            <a:off x="3197225" y="2944813"/>
            <a:ext cx="638175" cy="457200"/>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lt;compressed size="651798"&gt;eJztvQtvHTe2ps2fYkwDgxngk7ruF3TPARwf2fGBYwtS0oODRsOQFamlJFYU3ZIe6Md/JNd6yS1Zl+1cikvnvBDs2rt2Xcj3IRcXF1msv7pDd+lO3L67cMfuR//phdvz347cgfs391f3rf924f/t+t8u3Zn/5cA980ftuY/+0/9x/8O9dK/dW/fc/3vhtvz3Z+5DvML37p/++B/j1b91p/7TVTz+ufvB/73323DPa9e4yv/1/tPf3X/6a+75s/7hv/1Pf9SF+4u/c7jnSdwfUvjM/c1vD9zP/oh/xiPCmW9j2g9unLnl94RcXbh/+bNexPSfxWvt+z33nf13n58XbtufcXPvr/v2P6KKr/y3C5/uPZ+yS1X23Kfs/8XPtevc7Ea/788re//qFd7zuoVP3/s9//K//dsnavxJdbyM1/5LUvBPquvk9237fXL0t37/d5HIX5KKf/oMpW9qGu79yr3xLN+4d+4Ltxl1+8tKPvO1t+NVD+LZmcUz97W/z0U8Pt8j5GhfS86Fv0atean8b8LmTyuUwhVOvdZ/iVc992f86JWr/THbsfx969P37z7FV7eOaPwRku6b+1u/fzfm8MDvu/lb538LOQ6l5r8viZ4kDJBofU5mkjBDoiYJAyR6thMmSHT+jyQskOhji92RRHESo/Z0SMICiZ4kDJCY2bMzRKImCRMkatYJIyQakjBCoiUJIyTYs7NAool5aRh3MkCiZ1TcCImBJIyQYM/OBok29ibYs7NBgj07KyTYs7NCgj07KyTYs7NCguPYNkg09J1MkJhiTmqO2Rkh0bFOFCchMXFaJwskepIwRKIhCSMkWpIwQ4IjRTZI0HeyQmIgCSMkRpIwQ4J9bCskBpIwQmIkCSMkZpIwQILj2JZIsGdXnsTAOmGKBH0nGyQ4G9MCiZGzMY2QCOOnXLfDAgnOULZFgl6sBRI9SRgg8cLn6r1X/iTuDWvtkUhZIkFzUfPQb/M8g/cc1TPK6Lnbif9vk4spLnJu+H7gPsQzSMcOnTf+HLKxyeYrf9xHv/+9e+mvR5+gNJ237iDSgEUL/toVqRihIt7ze3/OnvvFb0Vp8rHEJxx74o8kExtM2MLY5LLt/7ZIwwiNHb/3ym9bf+a3pGKEym487iD2+c/9X9h7TjqF6ewona14jRN/99Dek0tpLnLMe91/Fgn94tUnF2tc0H+R65CPFT5s+e2w+Og/nTnGK60QeeHvthu3e1GnM233yccan6wNfTJrdIJHduTT8CGmg3ys8XkZr3Tsjz9i22OOziv3JZkYYxIYkIktJm/8d3pm1qh85e//Q0xDuOa/yMcYn3f+21HME8nYIrPt70Am1pgEhb+LPvPPjJwZ5oMZACRki9COXodcbHHZjaM0exw5M0fm68jlhFzMcNnzmhyRhxkeQY0wckYiVojwyZinwIVxTJt0juOszHBNxsus0Al15nBlFtNbv//EcS6TZUasQdbonLK2mOHx0h+37zA6w3pihctrr8WpP/aYdcUQkxOvyaVGYkJaScYOmauoz0WK/zOGaYXOzVUYZCYg4wFW6TAaYI2NrJshz2mSjA0y7/x5r0nDDI3D2Offcj/53469/mEs89JvT/357NXY4RTmmeUoJ59tts/ojU/HnvcNyMcWn60YISAVW1Toq9llI9402xy7hFbH09jyWKUkCh+SizEuu/6uz0nFCBWOO9ujweimRSaYqSFrnJKOJTpB3R9iXknFAhWs1kg7ZomJnE8ednhg7kx4BjB8Ih9bfIImZ/6XfXIxxeXKcZ0z+3yyNoxhWqPDdc5s8+E6Z5bpcJ0ze0zY17THhOucWaTCdc5s8+E6Z1bJcJ0zi0y4ztnT4MN1zmwS4siATS5c58wqGa5zZovLbtRj331PIkaIoIaEWJmMbIZYwDkjzcYIhefROW/GCpNv4p25yokNKuc+L33MzRdk8RtY/N2fEcr0x9gO7MVzwxMU/7hD81rTXFHxRRXvqfiCirc+xTMVX1zxmoovqHhPO76o4p3/o+JLKt7HlrOj4ospPsY091R8UcV7Kr6g4jN7QAUUr6n4oorXLOMLK95Q8YUVb6n4woqzB7Sk4k1Mc8O4yoKK94zWLqz4QMUXVpw9oGUVb6M3zh7QsoqzB7S04uwBLa04e0BLK84e0NKKc5xzWcUb+iqLKj7FFNccA1pY8Y5lfDHFJVZLq7Kk4j0VL6B4Q8UXVryl4osrzhGJZRWnr7K04gMVX1jxkYovrjj7nEsrPlDxhRUfqfjCis9UfEHFOc5ZQnH2gJZTfGAZL6I4fZVlFecsuCUVHzkLbmHFw7gbn8tfUnHO9CyjOL3DJRXvqfiCir/wqcd7GkO+D6j8QsoHbUW1Q7/N483vOUpUmMVztxP/36b+RfQPCpzF7wfuQ7w7KSxP4Y3XmAzKMsAq8GG9/gO2zYtReOvPuFixRME/uqL6C6svXml+m7goSg4lOIT1X/nm0OW1ZwtQVv9t/7dF1RdWfcfvDe+OaH06+JaipdXfjecfxD5weAtB2Mt3ESxFYUcpbMUUnDh5Yzf1X0r/oOlFLPth/5mT9z/zvULl9If/L70xcliaA1vg5TX/6D+dOcbdllb+hb/qbtzuRT3OtP0lh1Icsgb0gUpRCB7QkT/+Q7wfOZTi8NKF9zMd+3sfsW0oRuGV+5LaF9I+aE3ty2gf3kpJT6iU+l85vO0wpIhvPCzF4Z3/dhTTTgJlCGz7K1H7UtoHJb+LvujPjAwZ4IARYpIoQ2Inpob6l9J/N44S7HGEphgBvL+e+i+t/57P+xF1X1z3kOswQkPll1aeTwZY0p/xuLIUjuMsuW1/HuNBS1MIdeBwZXbK23gG56hYYMEaUYrCKUv/4rq/9MftO4wOsNwvrf9rf/SpP/aYZb+A9ic+75cagQhpIoHlCVxFHS5SXJqxuKUp3HxaW2ZssX9cmgJ7x6UYyHP08hwZCSxL4J2/zmuqvrjqh7EPvOV+8r8de53D2Nil3576a7FXsDyPME8oR+v4LKUdFm/8OXu+jSaHMhy2Yo+Z6pdRn75ReQbipbJNKE9iddyGLUNpGqLkIfUvpP+uv/pzqr+w+hyvLKc6o3QltceIvaz1RwolKAQVf4h5ovpLqo9Vzmh/SmjPpzZK6Y65EuHZpb14LjmU4BDyfuZ/2af+RfS/clxnyA6HrAFjcaUocJ0hGxy4zpAFClxnqJz27JOV057rDJVUn+sM2eDAdYZKE+A6QyW15zpDtjhwnaGyJBixLqs/1xkqTYDrDJXRfzfme999T+UXVh4lPsSCZKQs9I3PGRktRCI858p5Ektr/008iqsbLKv+uU9zH1P9BTVfW/N/j2si3lQdV9+O1xUv/pmTGednquRFPD7f5TaNWnNTkYURFj1ZmGDR+rzMZGGIRU0WJlj0bC+MsOj8H1nYYNHHtrsjCwMsxpibniyMsOjJwgSLmX09UyxqsjDComa9MMOiIQszLFqyMMOCfT0bLJqYm4bxKBMsesbMzbAYyMIMC/b1rLBoY++CfT0rLNjXs8OCfT07LNjXs8OCfT07LDjebYVFQz/KCIsp5qXmuJ4ZFh3rhQEWEjGnjbLBoicLUywasjDDoiULQyw4lmSFBf0oOywGsjDDYiQLQyzY77bDYiALMyxGsjDDYiYLEyw43m2LBft6FlgMrBfGWNCPssKCczhtsBg5h9MMizDKyvVAbLDg3GZrLOjT2mDRk4UJFi98vvD20aDIAZkUZxJUFz0P/TbPSHjPkT+zlJ67nfj/NskYIyPnhu8H7kM8g3ws8XnjzyEdq3Tw1ovwHpIDegcG+Lz1512s2LXgu12Rixku4kuHFdP33C8Ob5AhIVuEwrF837AlKmxprJLZ9n9b5GGGx47fG94H1Poz+WY4O1x243EHMQ4Q3lET9p6TT3E+O8pnK17jxB3Hlp9kypORY97r/rPI6Be+Yc4kGfRn5DokZIcQfQBLND76T2eOkUw7TF7E64ftXlTqTD0AErJHKKtD/8wen+CdHflUfIgpISF7hF7GKx3744/YBhnk88p9SSrmqAQKpGKNSnjXM700e1y+cngbcbgm30hsj9A7/+0o5opsrLHZ9ncgFXtUgsbfRQ/6Z0bUTBPCTAEyssZoR69DMtbI7MZRnD2OrRlk83Ukc0IyhsjseVWOSMQQkaBHGFsjEztM+GTN0yDDCKdVPsdxJme4JuNodviEenO4Mufprd9/4jjzyTYl1iJ7fE5ZYwwReemP23cYvWFdsUPmtVfj1B97zPpiisqJV+VS4zMhtWRjic1VVOgijQ4wummHz811HWTuIGMEdvkwQmCPjqzFIc97ko0VNu/8ea/JwxCPwxgH2HI/+d+OPYEw3nnpt6f+fPZyLJEK89Jy/JPPST8FSm98Sva8l0BC1ghtxagBuVjjQr/NMh3xrdn2WGa0OuLGFsguJ9H4kGTMkdn193lOLma4cHTaIg/GPW1SwZwOWU2VfGzxCfr+EHNLLja4YE1IWjNbVOR8ErFEBPNswpOE4RMJWSMUVDnzv+yTjDEyV47rqD0FQlkdRjft8eE6atYJcR0123y4jppFKux9WqTCddRscuE6atYJcR01u2y4jppNKlxH7akQ4jpqVhlx3MAqGa6jZpcN11GzRmY3KrLvvicTM0xQS0IMTUY/Q3zgnFFoc4zC0+2cY2OHyjfx3lw7xQqXc5+bPubnC9L4TTT+7s8J5fpjbA/24tnh+Yt/3KF6ramuqPnCmvfUfFHNW5/mmZoX0Lym5otq3tOeL6x55/+o+bKa97EN7aj5gpqPMdU9NV9Y856aL6r5zD5REc1rar6w5jXL+eKaN9R8cc1bar645uwTLat5E1PdMN6yqOY9Y7mLaz5Q88U1Z59oac3b6J2zT7S05uwTLa85+0TLa84+0fKas0+0vOYcD11a84Z+y8KaTzHNNceJFte8YzlfUHOJ5NK2LKt5T82LaN5Q88U1b6l5Ac05ZrG05vRbltd8oOaLaz5S8wKasx+6vOYDNV9c85GaL675TM0X1ZzjoWU0Z59oSc0HlvNCmtNvWVpzzp1bVvORc+cW1zyMzvF5/2U15xzRUprTV1xW856aL6r5C59+vD8y5PyA2i+mfVBXdDv02zwy/Z4jScVpPHc78f9tEihEIGhwFr8fuA/x/uRQgsMbrzIplKaAVejDGwMO2EovyOGtP+NixR4FX+mK+i+uv/io+Z3noilJlCERVp3lW01LqM+WoDSBbf+3Rd0X133H7w1vsGh9SvjOpOX1343nH8R+cXgTQth7Tg6LcdhRDlsxDSdO3itOAssRCKpexPIf9p85eUc133JUkgD6A9I/I4nlSbAtLqH6R//pzDEit7z2L+J1wnYvKnKmLTFJlCORVaA/VI5D8IaO/PEf4h1JohyJly68L+rY3/2IbURBDq/cl1S/mPpBbapfSv3wxkx6ReX0/8rhPYwhTXwXYzkS7/y3o5h6MijFYNtfieqXUz9o+V30TH9mxMgECYwkk0UpFjsxPSRQjsBuHEXY4xhOQQbyHvcTEihAYM/n/ojKF1A+5DuM4VD75bXnkwW2CDBSV5rDcZxZt+3PY5xoeQ6hHhyuzGV5G8/gjBYbNFgrynE4ZQ0ooPxLf9y+w+gBy/7yBF77o0/9sccs/0XUP/G5v9S4REgVGZRgcBWVuEhRa0bpludw8/lvmePFPnN5Duwxl6Mgz+bL82hksDSDdz7/r6l7Ad0PY794y/3kfzv2Sofxs0u/PfXXYi+hBJEwryjH8fhcpiUab/w5e761JolSJLZiL5r6l9KffpIFCuKzsm2wwGJ1ZIctRHkeouUhCRQjsOuv95z6L64/RzVL6s74XVn1MbYvqwqSQxkOQccfYq6o/7L6Yy01WqEy6vO5j3LKY15FeAJqL55LEmVIhNyf+V/2SaAQgSvHdYwskcgqMEpXjgPXMbJCgusY2eDAdYxKqs9eWkn1uY5RWf25jpEVElzHqDwDrmNUVn2uY2SNBNcxKs2C8ezSBLiOUXkGXMeoFIHdmPN99z21X1x7lPoQI5LRtNBfPmfUtBiL8NQs51Qsr/438SiumbC0/uc+1X1M9xdUfW3VX3l93tx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byfTXl+ewon614jRN3HFt+kilPRo55r/vPIqNf+LY5k2TQn5HrkJAdQvQBLNH46D+dOUYy7TB54cKbwMJ2Lyp1ph4ACdkjlNWhf2aPT/DOjnwqPsSUkJA9Qi/jlY798UdsgwzyeeW+JBVzVAIFUrFGJbzxmV6aPS5fObyPOFyT7yS2R+id/3YUc0U21ths+zuQij0qQePvogf9MyNqpglhpgAZWWO0o9chGWtkduMozh7H1gyy+TqSOSEZQ2T2vCpHJGKISNAjjK2RiR0mfLLmaZBhhNMqn+M4kzNck3E0O3xCvTlcmfP01u8/cZz5ZJsSa5E9PqesMYaIvPTH7TuM3rCu2CHz2qtx6o89Zn0xReXEq3Kp8ZmQWrKxxOYqKnSRRgcY3bTD5+a6DjJ3kDECu3wYIbBHR9bikOc9ycYKm3f+vNfkYYjHYYwDbLmf/G/HnkAY77z021N/Pns5lkiFeWk5/snnpJ8CpTc+JXveSyAha4S2YtSAXKxxod9mmY741mx7LDNaHXFjC2SXk2h8SDLmyOz6Oz0nFzNcODptkQfjnjapYE6HrKZKPrb4BH1/iLklFxtcsCYkrZktKnI+iVgignk24UnC8ImErBEKqpz5X/ZJxhiZK8d11J4CoawOo5v2+HAdNeuEuI6abT5cR80iFfY+LVLhOmo2uXAdNeuEuI6aXTZcR80mFa6j9lQIcR01q4w4bmCVDNdRs8uG66hZI7MbFdl335OJGSaoJSGGJqOfIT5wzii0OUbh6XbOsbFD5Zt4b66dYoXLuc9NH/PzBWn8Jhp/9+eEcv0xtgd78ezw/MU/7lC91lRX1HxhzXtqvqjmrU/zTM0LaF5T80U172nPF9a883/UfFnN+9iGdtR8Qc3HmOqemi+seU/NF9V8Zp+oiOY1NV9Y85rlfHHNG2q+uOYtNV9cc/aJltW8ialuGG9ZVPOesdzFNR+o+eKas0+0tOZt9M7ZJ1pac/aJltecfaLlNWefaHnN2SdaXnOOhy6teUO/ZWHNp5jmmuNEi2vesZwvqLlEcmlbltW8p+ZFNG+o+eKat9S8gOYcs1hac/oty2s+UPPFNR+peQHN2Q9dXvOBmi+u+UjNF9d8puaLas7x0DKas0+0pOYDy3khzem3LK05584tq/nIuXOLax5G5/i8/7Kac45oKc3pKy6reU/NF9X8hU8/3h8Zcn5A7RfTPqgruh36bR6Zfs+RpOI0nrud+P82CRQiEDQ4i98P3Id4f3IoweGNV5kUSlPAKvThjQEHbKUX5PDWn3GxYo+Cr3RF/RfXX3zU/M5z0ZQkypAIq87yraYl1GdLUJrAtv/bou6L677j94Y3WLQ+JXxn0vL678bzD2K/OLwJIezl+xCW47CjHLZiGk6cvFecBJYjEFS9iOU/7D9z8o5qvuWoJAH0B6R/RhLLk2BbXEL1j/7TmWNEbnntX/gr7cbtXlTkTFtikihHIqtAf6gch+ANHfnjP8Q7kkQ5Ei9deF/Usb/7EduIghxeuS+pfjH1g9pUv5T64Y2Z9IrK6f+Vw3sYQ5r4LsZyJN75b0cx9WRQisG2vxLVL6d+0PK76Jn+zIiRCRIYSSaLUix2YnpIoByB3TiKsMcxnIIM5D3uJyRQgMCez/0RlS+gfMh3GMOh9strzycLbBFgpK40h+M4s27bn8c40fIcQj04XJnL8jaewRktNmiwVpTjcMoaUED5l/64fYfRA5b95Qm89kef+mOPWf6LqH/ic3+pcYmQKjIoweAqKnGRotaM0i3P4ebz3zLHi33m8hzYYy5HQZ7Nl+fRyGBpBu98/l9T9wK6H8Z+8Zb7yf927JUO42eXfnvqr8VeQgkiYV5RjuPxuUxLNN74c/Z8a00SpUhsxV409S+lP/0kCxTEZ2XbYIHF6sgOW4jyPETLQxIoRmDXX/E59V9cf45qltSd8buy6mNsX1YVJIcyHIKOP8RcUf9l9cdaarRCZdTncx/llMe8ivAE1F48lyTKkAi5P/O/7JNAIQJXjusYWSKRVWCUrhwHrmNkhQTXMbLBgesYlVSfvbSS6nMdo7L6cx0jKyS4jlF5BlzHqKz6XMfIGgmuY1SaBePZpQlwHaPyDLiOUSkCuzHn++57ar+49ij1IUYko2mhv3zOqGkxFuGpWc6pWF79b+JRXDNhaf3Pfar7mO4vqPraqr92b2MkYVV1XH07Xld8+mdOZqufqZIX8fh8l9s0as1NRRZGWPRkYYJF6/Myk4UhFjVZmGDRs70wwqLzf2Rhg0Uf2+6OLAywGGNuerIwwqInCxMsZvb1TLGoycIIi5r1wgyLhizMsGjJwgwL9vVssGhibhrGo0yw6BkzN8NiIAszLNjXs8Kijb0L9vWssGBfzw4L9vXssGBfzw4L9vXssOB4txUWDf0oIyymmJea43pmWHSsFwZYSMScNsoGi54sTLFoyMIMi5YsDLHgWJIVFvSj7LAYyMIMi5EsDLFgv9sOi4EszLAYycIMi5ksTLDgeLctFuzrWWAxsF4YY0E/ygoLzuG0wWLkHE4zLMIoK9cDscGCc5utsaBPa4NFTxYmWLzw+cL7SoMiB2RSnElQXfQ89Ns8I+E9R/7MUnruduL/2yRjjIycG74fuA/xDPKxxOeNP4d0rNLBWzDCm0kO6B0Y4PPWn3exYteC73ZFLma4iC8dVk3fc784vFGGhGwRCsfyrcSWqLClsUpm2/9tkYcZHjt+b3gzUOvP5Lvi7HDZjccdxDhAeFNN2Mv31ZTns6N8tuI1TtxxbPlJpjwZOea97j+LjH7h2+ZMkkF/Rq5DQnYI0QewROOj/3TmGMm0w+SFv99u3O5Fpc7UAyAhe4SyOvTP7PEJ3tmRT8WHmBISskfoZbzSsT/+iG2QQT6v3JekYo5KoEAq1qiENz7TS7PH5SuH9xGHa/KdxPYIvfPfjmKuyMYam+14F1KxRiVo/F30oH9mRM00IcwUICNrjHb0OiRjjcxuHMXZ49iaQTZfRzInJGOIzJ5X5YhEDBEJeoSxNTKxw4RP1jwNMoxwWuVzHGdyhmsyjmaHT6g3hytznt76/SeOM59sU2ItssfnlDXGEJGX/rh9h9Eb1hU7ZF57NU79scesL6aonHhVLjU+E1JLNpbYXEWFLtLoAKObdvjcXNdB5g4yRmCXDyME9ujIWhzyvCfZWGHzzp/3mjwM8TiMcYAt95P/7dgTCOOdl3576s9nL8cSqTAvLcc/+Zz0U6D0xqdkz3sJJGSN0FaMGpCLNS702yzTEd+abY9lRqsjbmyB7HISjQ9JxhyZXX/f5+RihgtHpy3yYNzTJhXM6ZDVVMnHFp+g7w8xt+RigwvWhKQ1s0VFzicRS0QwzyY8SRg+kZA1QkGVM//LPskYI3PluI7aUyCU1WF00x4frqNmnRDXUbPNh+uoWaTC3qdFKlxHzSYXrqNmnRDXUbPLhuuo2aTCddSeCiGuo2aVEccNrJLhOmp22XAdNWtkdqMi++57MjHDBLUkxNBk9DPEB84ZhTbHKDzdzjk2dqh8E+/NtVOscDn3ueljfr4gjd9E4+/+nFCuP8b2YC+eHZ6/+Mcdqtea6oqaL6x5T80X1bz1aZ6peQHNa2q+qOY97fnCmnf+j5ovq3kf29COmi+o+RhT3VPzhTXvqfmims/sExXRvKbmC2tes5wvrnlDzRfXvKXmi2vOPtGymjcx1Q3jLYtq3jOWu7jmAzVfXHP2iZbWvI3eOftES2vOPtHymrNPtLzm7BMtrzn7RMtrzvHQpTVv6LcsrPkU01xznGhxzTuW8wU1l0gubcuymvfUvIjmDTVfXPOWmhfQnGMWS2tOv2V5zQdqvrjmIzUvoDn7octrPlDzxTUfqfnims/UfFHNOR5aRnP2iZbUfGA5L6Q5/ZalNefcuWU1Hzl3bnHNw+gcn/dfVnPOES2lOX3FZTXvqfmimr/w6cf7I0POD6j9YtoHdUW3Q7/NI9PvOZJUnMZztxP/3yaBQgSCBmfx+4H7EO9PDiU4vPEqk0JpCliFPrwx4ICt9IIc3vozLlbsUfCVrqj/4vqLj5rfeS6akkQZEmHVWb7VtIT6bAlKE9j2f1vUfXHdd/ze8AaL1qeE70xaXv/deP5B7BeHNyGEvXwfwnIcdpTDVkzDiZP3ipPAcgSCqhex/If9Z07eUc23HJUkgP6A9M9IYnkSbItLqP7RfzpzjMgtr/0Lf93duN2LipxpS0wS5UhkFegPleMQvKEjf/yHeEeSKEfipQvvizr2dz9iG1GQwyv3JdUvpn5Qm+qXUj+8MZNeUTn9v3J4D2NIE9/FWI7EO//tKKaeDEox2I5Xo/ql1A9afhc9058ZMTJBAiPJZFGKxU5MDwmUI7AbRxH2OIZTkIG8x/2EBAoQ2PO5P6LyBZQP+Q5jONR+ee35ZIEtAozUleZwHGfWbfvzGCdankOoB4crc1nexjM4o8UGDdaKchxOWQMKKP/SH7fvMHrAsr88gdf+6FN/7DHLfxH1T3zuLzUuEVJFBiUYXEUlLlLUmlG65TncfP5b5nixz1yeA3vM5SjIs/nyPBoZLM3gnc//a+peQPfD2C/ecj/534690mH87NJvT/212EsoQSTMK8pxPD6XaYnGG3/Onm+tSaIUia3Yi6b+pfSnn2SBgvisbBsssFgd2WELUZ6HaHlIAsUI7PrrP6f+i+vPUc2SujN+V1Z9jO3LqoLkUIZD0PGHmCvqv6z+WEuNVqiM+nzuo5zymFcRnoDai+eSRBkSIfdn/pd9EihE4MpxHSNLJLIKjNKV48B1jKyQ4DpGNjhwHaOS6rOXVlJ9rmNUVn+uY2SFBNcxKs+A6xiVVZ/rGFkjwXWMSrNgPLs0Aa5jVJ4B1zEqRWA35nzffU/tF9cepT7EiGQ0LfSXzxk1LcYiPDXLORXLq/9NPIprJiyt/7lPdR/T/QVVX1v1//C/n99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aek09xPjvKZyte48Qdx5afZMqTkWPe6/6zyOgXvm3OJBn0Z+Q6JGSHEH0ASzQ++k9njpFMO0xe+Pvtxu1eVOpMPQASskcoq0P/zB6f4J0d+VR8iCkhIXuEXsYrHfvjj9gGGeTzyn1JKuaoBAqkYo1KeOMzvTR7XL5yeB9xuCbfSWyP0Dv/7Sjmimyssdl2fyMVg1SCxt9FD/pnRtRME8JMATKyxmhHr0My1sjsxlGcPY6tGWTzdSRzQjKGyOz56x+RiCEiQY8wtkYmdpjwyZqnQYYRTqt8juNMznBNxtHs8An15nBlztNbv//EceaTbUqsRfb4nLLGGCLy0h+37zB6w7pih8xrr8apP/aY9cUUlRN//UuNz4TUko0lNldRoYs0OsDoph0+N9d1kLmDjBHY5cMIgT06shaHPO9JNlbYvPPnvSYPQzwOYxxgy/3kfzv2BMJ456Xfnvrz2cuxRCrMS8vxTz4n/RQovfEp2fNeAglZI7QVowbkYo0L/TbLdMS3ZttjmdHqiBtbILucRONDkjFHZtff9zm5mOHC0WmLPBj3tEkFczpkNVXyscUn6PtDzC252OCCNSFpzWxRkfNJxBIRzLMJTxKGTyRkjVBQ5cz/sk8yxshcOa6j9hQIZXUY3bTHh+uoWSfEddRs8+E6ahapsPdpkQrXUbPJheuoWSfEddTssuE6ajapcB21p0KI66hZZcRxA6tkuI6aXTZcR80amd2oyL77nkzMMEEtCTE0Gf0M8YFzRqHNMQpPt3OOjR0q38R7c+0UK1zOfW76mJ8vSOM30fi73xfK9cfYHuzFs8PzF/+4Q/VaU11R84U176n5opq3Ps0zNS+geU3NF9W8pz1fWPPO/1HzZTXvYxvaUfMFNR9jqntqvrDmPTVfVPOZfaIimtfUfGHNa5bzxTVvqPnimrfUfHHN2SdaVvMmprphvGVRzXvGchfXfKDmi2vOPtHSmrfRO2efaGnN2SdaXnP2iZbXnH2i5TVnn2h5zTkeurTmDf2WhTWfYpprjhMtrnnHcr6g5hLJpW1ZVvOemhfRvKHmi2veUvMCmnPMYmnN6bcsr/lAzRfXfKTmBTRnP3R5zQdqvrjmIzVfXPOZmi+qOcdDy2jOPtGSmg8s54U0p9+ytOacO7es5iPnzi2ueRid4/P+y2rOOaKlNKevuKzmPTVfVPMXPv14f2TI+QG1X0z7oK7odui3eWT6PUeSitN47nbi/9skUIhA0OAsfj9wH+L9yaEEhzdeZVIoTQGr0Ic3BhywlV6Qw1t/xsWKPQq+0hX1X1x/8VHzO89FU5IoQyKsOsu3mpZQny1BaQLb/m+Lui+u+47fG95g0fqU8J1Jy+u/G88/iP3i8CaEsPecHBbjsKMctmIaTpy8V5wEliMQVL2I5T/sP3Pyjmq+5agkAfQHpH9GEsuTYFtcQvWP/tOZY0Ruee1f+Ovuxu1eVORMW2KSKEciq0B/qByH4A0d+eM/xDuSRDkSL114X9Sxv/sR24iCHF65L6l+MfWD2lS/lPrhjZn0isrp/5XDexhDmvguxnIk3vlvRzH1ZFCKwba/EtUvp37Q8rvomf7MiJEJEhhJJotSLHZiekigHIHdOIqwxzGcggzkPe4nJFCAwJ6/zhGVL6B8yHcYw6H2y2vPJwtsEWCkrjSH4zizbtufxzjR8hxCPThcmcvyNp7BGS02aLBWlONwyhpQQPmX/rh9h9EDlv3lCbz2R5/6Y49Z/ouof+Kvc6lxiZAqMijB4CoqcZGi1ozSLc/h5vPfMseLfebyHNhjLkdBns2X59HIYGkG73z+X1P3Arofxn7xlvvJ/3bslQ7jZ5d+e+qvxV5CCSJhXlGO4/G5TEs03vhz9nxrTRKlSGzFXjT1L6U//SQLFMRnZdtggcXqyA5biPI8RMtDEihGYNdf/zn1X1x/jmqW1J3xu7LqY2xfVhUkhzIcgo4/xFxR/2X1x1pqtEJl1OdzH+WUx7yK8ATUXjyXJMqQCLk/87/sk0AhAleO6xhZIpFVYJSuHAeuY2SFBNcxssGB6xiVVJ+9tJLqcx2jsvpzHSMrJLiOUXkGXMeorPpcx8gaCa5jVJoF49mlCXAdo/IMuI5RKQK7Mef77ntqv7j2KPUhRiSjaaG/fM6oaTEW4alZzqlYXv1v4lFcM2Fp/c99qvuY7i+o+r2qv4j6nbsw4+p5nHW1eYvETQK40+pVnjmZuX6mql7E4/Mdb5OpNWcVuRjk0pOLOS6tz9dMLka51ORijkvP9sUgl87/kYs9Ln1s9ztyMcZljDnrycUgl55czHGZ2a80y6UmF4NcatYXk1wacjHJpSUXk1zYr7THpYk5axgfM8elZ5zfJJeBXExyYb/SIpc29l7Yr7TIhf1Km1zYr7TJhf1Km1zYr7TJheP7Frk09McMcplivmqOV5rk0rG+GOMiUX7aMXtcenIxy6UhF5NcWnIxyoXjYha50B+zyWUgF5NcRnIxyoX9fZtcBnIxyWUkF5NcZnIxx4Xj+3a5sF9pjcvA+mKYC/0xi1w4D9Yel5HzYE1yCSPJXB/GHhfOG7fMhX6yPS49uZjj8sLnEe/EDeockI8pPoGAaHvot3k2xnuOaD4JYs/dTvx/m5QMU5Jzw/cD9yGeQVZWWb3x55DUUyCFt7SEN+cc0LMwxuqtv9LFiu0LPuAVGZlkJP55WO1/z/3i8CYk0rJLKxzLN2tbJcSW6SlQ2vZ/W2Rjks2O3xvegNX6M/lORJuMduNxBzH+EN7OFPbyHU22WO0oq62YzhN3HL0GUrJFSY55r/vPIq9f+OZF85TQX5LrkJZNWvQfrJL56D+dOUZZbfJ54e+zG7d7UbUz9R5IyzatrBT9PNusgpd35K/1IV6PtGzTeunPPPDX+qdnxjbLNqtX7ksSMk0oECEhy4TCW9fp7dlm9JXD+8FDuvmOcNu03vlvRzGH5GSZ07a/AwnZJhT0/i565T8zwvdkaGFmBHlZ5rUT00xKtintxlGoPY4TGuf0daR0QkpGKe35Ox+RjlE6QZswTkg+NvnwyaanR4nR16fA6jjOgN325zGuZ5NVqE+HK/PA3sa0cDbY0yHG2mWb1SlrklE6L/1x+w6jT6xDNim99sqc+mOPWY/MEgp3vtQYUUg5OVnldBXVukgjGoy82mR1cw0PmWfJ2MTTYMXIhG1SsgaLPJ9LThY5vfPnvSYbo2wOY/xhy/3kfzv2NMI47qXfnvrz2YuySi3M28uxWT7v/tSIvfHX2/MeBmlZprUVoxVkZJkR/b+nQkr8dbZVT4XX6ughW6ynwUz0PiQl05R2/f2ek5FJRhyBt86GMVn7hDCfRVbyJSu7rM7ivX8gI5OMsO4oLZ5dQgeOz6ZZpoP5RuFpz/CJtCzTCgqd+V/2SckwpSvHdfieGq2sFCOvtllxHb6nRIvr8D0dVlyHzzoh9nStE+I6fPYZcR2+p0SL6/A9DU5ch88+Ia7D9xRpcR2+p8CLYx1PgRLX4XsanLgOn2VKu1Gdffc9+Zjkg9oTYnoyqhviEueMlpvmFVYs4Fwjm4S+iVfg+jkWGZ37nPUxb18YIvNX92ffPh74/Jy7f/PfrlKuw/faHzn5FF/HT4O/V/jUutmN+mnyf/Jr5X+XfaP/XT71/p98av0R8imoIJ8qvUrjt7V+mvTcZuW+nZ7bpBTU/tOgnyo9Llyt109DPCOUpEa3+N7rdojbOp7baErCNty9i5+uY56muH+K54d01LptdIv9vW6HuG31e6vX66IO4X/8Pup9Wt0Ouh31eDmv13R0ur/X+7YxXeH4Tre9/l7rFtdtVLlW9Wpu6IW71qo0zuuUaruScvDr9VOn1Lqok6gJik26W60pr1XhSVNaJYVDToNOk27xe6vbQfeP+r3Rba/7W93iuE5/x7bW/bOmelJt65WyNKZPvX7q9FOjKZOSNqsWteo26ZUq3dapBlR6TpvKaZ00rbX0Ven8VtNWp7tWeo82/dakWoBaFQhC3UFzixrVpjzNKS29atJqzkG1i0fJFkdUUbVR6UxKZ1K1J1V/SvQa/Y5tpftrvQ7OH3Rb63bU4yr9jnqK8ot0QSnwaTR/nZ4j9mlwsEUgMae81qoDciFscFyb6DTJeuXyPK6UhtbBPuG+qC3NilUaV0pNp7QmTXMo02JXOrVPnea7U/vUaQnptWZ1WnvELkxae0bl0mipn7QmT1rvJy0zk9qHSevlpDpOyn1SOzRpOZq0tk7KYdJaOGn5mlSjScvJpDQmLVmT8po075PW1klrzqSletLaXCcF6lQrRC9cJdsn3D/bp1HvCPs0JOJjynWlaoJnq2WhUcVGtS+N2p9RS/CoJXxUnqNec9QyNGqJHrUmjloDRq0hYW+rWxzX6e/Y1rof9mnWM1By6/RbrXep9Ti0ojiuThRr1W3SK1W6zfapS9eBdUBb0Sa9unR+tk9onSstAdl2gUmjlITgrFcYNLewT12qyXNKS6+8a5ftE1KA63R6hOSo1/2DHjeodoOqPyR6jX7HttL9tV4H5w+6rXU76nGVfkc9RflFupBO5KpNZXZKuRlSGZ0TPVjnLpV7WEdpa+FnoR1pk+Vr9e5in2CVwLhZuW+XWuMhaT2mUoPyU6X7VqpDo2WiUTvSqB1B+4561GiaGrULvV69V50brcm9lqReOfZaLnqtfb3q2Gs56TU3verap+tM6T69bifdhv2DWoxB89ar3oPao15V77VW9lqvBrV3g9qrPtWTJtUT+JKiV6NHoQ708bwh+VitlvNe7YQwhcc8JjUaVTP7T6hLteZUSnKTct4nhWv9LjnqVLle79urMl06r9PtqPt73eK4QX/HttUtyjOYrJalNn2qk13JpRQWptYzJ73mpGkeUl7QLufSiXa5VqskNWvS0jbpeb2DfYJ9AcEp/ZZ90j71E5CSQa/UpxrVpZxkOwxNcsvfpvIDTXCE5KjV/Z3mtNVUtUl9/N7pfmwb3d/qd5w/6Rb7Zz0O90O9hcK1pg9Ko/2Al9OlktmpCnXyvuvkT9cr/nKbNG2T8m2qH20qxW1qG5rUbjXJQjYr9+1T3RoS7SmVLvQrq9QOVZof9Adh1xpND/ywZuW4Ubch17PWnjn1XMTuzFqSZ633s9qHWdM/q52Z9Xqzcp/VDs2a/nnlPr1uJ93K/knPmzQdY9qP+1Z6/KDbUX9vdYvrZvuULQbs+axXQ3+hW7l/tk+zphj2KXvROdeNqpn9J/htjaaoU/s06/XapHCt3yVHjV6z1Ry0qkyTzut0O+r+Xrc4btDfsW11m+1Tr3dGCUJ5rZPnXyd71iZ7LntFi1a3lV4Jecn2CX5+l6wD+mdtajVRGuDr5J52o3VjXrFd2SeFFapW8jJpLrN9gk84p7QgvUOqs10qR7VeZ9AjJEe17m/0OChQJ/Xxe6f7sW10f6vfcf6kW+yf9Tjcb1BlkPta0welYZ/apDW2OU8oy9AN1us6pn/Uba9blOZJvze6rXSLcoPz5HogDDsEa4WWaUjbTre9bnFcpd9H3YoHIukYkqUWT2RIv4/6Xe4zqEUa1CINqtyg1x20Tg6ajkHTMWi+BrUQQ/JMxnTepFvZP6V0DHp8o1vcf9bjcN3st6J9QBmXfMLDHfT8QXXAfcABXm+v+yfVr1bdK93Wet1edZPvTdJz1O+DblvdX+u20/29fq902+p+XA/HNfp7o99n3cKvQT4rTe+o2163KJezpn9S3WbdDnp9pH9WPXB8r1uUn1q3k943RzjkuEb1w36Ud5RflL9O74d0zrqF7ihHaCFGPQ9blAtJR6X7a81PrTrWqmuduFT6vdLzJv0Ozxznd/p91u+9bnE86l2r6UC6Bt22ml/oDwU7rWNSZnNPLPuOsDTZVx8S7aw32r7WIebQJPWaZI2blfvmuANSkLnWKWZXpXMrLf3NSsvb6bbXrViPSf2XUf0b0KxSD6JSMtkPr1KZrFItrpJdrFyOLqLsVEnVKtnJKuWqSja5Sla5Su1xlSx3lcpc5fqVq0zpU47e55QO6dwmfcrpm9MZ+W65FcWnOqVgTvfN/u+wokHuo+UUgHb2jseU5s5hfCB7RvB5m3RXsTltimNVrlqhM6Z9Q/rUpl/r9KlLv/ZpX5U+tenXfI98RpOOa9K+OX1COc3lD30t2C35BD+jT5ogLbWWMiEwp09Dum/OL9qF1VgWvLI8NiT2u1nROo9S5FGNOmmR25/ci85k55WrdCkl6ImgJNepfNQrJSq3cF3a16yUo1wuxfeZ1HcSNWdtqWY3q88zrxCvdE+lZ076HV46rtDp91m/97rF8bASbUpLTl9mCpWzLzUl1XLfG1ohui/2Mo/3oV3oE6t2hRpqUJUs4phoIdbVrNw3j7MMKX3ZSubSnMsB+ni15rpW21in/egDY1Rq1K2MJQgXjBugH9rrcb2W1V7P77Xc9Uq6d4hi1NqXR4SmTr+3eh/ZjxhUpX3yRs9r9L5N2j/p+Z0eX+kW9x91i3xA4TZ9yjV9TEflVqjT89H2IepQrzDNfT/kBmrm2BT68hiVmbWuSsnv3JgU7vV7p9tat7P+3uj3VreT7pfjBj1uTMdV+nul33E/tOFzOgJWK4/E5dhCjofOqaTVSe1Rt51eCXlBDcgxrjzGlq1aLm3IC+pQne6KklCl32D3mpU2F7mcNffwaJpkYWs3p7Qg3od6l8eg57RFDiVHve4fNKe9qj0k9fH7pL9jO+h+jEl3+r3R76N+b3WL41EfkXukq9Mt8tKkPOTo3ZDKMco4xn5F2+z15nGg3IOc06ccQ4RVGldKA/y5fF/4So3LsbMppTS3xbBtlUOktlf71Kud6dU+9Q59YIxKjbqVERVJz+QQ05r1u9TkKVl9tB6Vti+iy6Q6Tsp90jI+aTmaVLVJa+GktXBKsaVKW5dKW58q7Z/0/E6Pr3SL+4+6RT5glXJ9yx4LUjm6bJ+Qr2yfcEdQy5GNMakCNbMHli1Vo/doVUlRsE8K9/q9022t21l/b/R7q9tJ98txGI3t03GV/l7pd9wv26dOj8heVZM+5XF65BeeYK2twqR2aNJyPmntmlZ6KrCGuU9ep7a/VTverOQl26DsL9d6j/wbakH21+ekbqNXgn3KUZw8Htan0pbtE8pJr1uUJ8lRq/s7zSmO75L6+H3S37EddD/GpDv93uj3Ub+3usXxqI+tpgPp6nSb7X4eYc69iNwfhw80rdgseEioFa3LEch2hQ7KfpXqzOiy15R9Kty3S6oPKX0gUaX2rUpeWJV+xbgGrB5YoUahvwgPQq4FrwH9YIwzYiwA8WP0l1otYZgT02pJgH1GH7vVWoM5GRjZR18MerVamzGGjfYYMVmM/8N6IMKNeoF+R7tileAP1yv9BNwlxxl7vS6UbLVE5RG9NvWMupTbPBMtWyW09eiZd1onMbumSQrju9yn1pw0mgPM0mlUgUav1+hxtR7X6HG1KtKkba/bHCuZ9Mo5ptylT7BUea5G7i9Vemav14RabcpLHjOC99Im64BecOvqVAqREtSheoXSrPfAb8hB43IcA+Wj09zndiHfd0pp6VXr7AFD/U63bcqhXLfS/bXmtFK1q6Q+fkf8BdtO9yMqALqVfu/1e61b3G9SZZBSpA9KIy9NykOOguVxhjw2DY8Ls/DEZqF09y57TTnmmeewwSqNK6UBPlW+L9qCxuW5dbmFypEO+G2Vw1gd7EurNahV/wmRc9jrNh0vczGk9owO/UNJ1ag1edR6PzrMbun0PLEzY7qOcB81B6Peb9TaOmotHLUWjlq+RuUyajkZ1W6NWrJG5TWqlqPW1lFrzqilenR5vLpLuuYYEeYXNS7bp0HPz/Zp0JSBGiIi6JONLs88y/ZpTp8qvUetSkrOqqQwvktMGLN0Ks0BZulUqkCl6UFsd9bjpEQODrNoqrTtdZtj6Y1eOc+zy5/ynCbkF1a31tIwaikatXSNWrvGZHfQvtQux9Zrh94vbDD63GOyXJijKJRQMrJ9Qi3oVwgOqm6lVwKBHA+b06c+XTPbJ5STVs+f9AiJoEsdHFSzQb2RwU1Jffw+6H5sO92PkSHQrfR7r99r3eJ+kyrTajpaTR+UznY/98KuVWXR4lp9rmuHGdLSF0XLc73C6XqlRZBvGPO/Ti0jFM32HpYKSqNFQMlBWwc7dq265bnl6MHkuJ9sc/Qa7c918r7kf/hZ1w7jrfI/RtDhs12ntifbyWuHsViMyF67HFlHT0Wufe2k533tchwEcbQ8U/XawR+Qfj1mcl0nm4C5FNcr1lmYiyIYKbx2mFcHS3jthlSKrh3GMjHidu0wv67WknPt8vwDzFWEj4Q6hVp+vWLZrx3mAWC25bXLM2/hZ8HPhT+La2KO67WD/3Xt8jxxePnwoa4d5nzCYl6vlBwZ30bfBn0NzKa9dpi/jllV1w4ztjD36TpFYBD1ul6JuVw7zM3HPK1rhzlcOXp9naIFUo+EZhuf8rj5ZEfY8zE+YXzXUx+1g8crI5ObTua+SGnfcNL7l3kCoeRuOunZIIY3aDxCZixtOuktSJuLVkN6+jLbcYzH9NqLyxERGW+eYwpgwSRiKnGWTSdxUon6YxZvq610FY8QX7TS/myendRoP7z3x8i83Uq9tT7mEWNnXcyBjFjLODPGqqSNFku6qW1xoz3bOV4jKNOpjyKzsiXK1GiqtvwxlUNUf9SjNp3MfJw0jau2ZtZ2XYjMDrPqpTXu434ZBR5SnxezqBAF3dRWR+Jc4Rp4dmRS67jpMPNN/KZADN5ppR6FpEDGCzGT8jqmTI4ST7hLx8OnkzGlTTepjy5jFJKX1fEBmX0l7Cf1R7NPKqNQ0idu4j1lLg0sh8ydCvne1BRK5AD+II6V8bRN12hepfeFGK5YC6nRkq9WW2pEjMTPa2MJaRzmpmHOrZBotNctqRRfA+MJ4sFIfFlqkkT8xYuCJZu1pMrMMdFOoqNSH2XGssTcNtWDEk8YM7s2nMy6bzUdbToTMdCgQqXtuqSgdojXyuxkod7rfTGi1SkbmRUsR0hvEZ6b2AFJk4yXbDqJG2Lu5oaTOLXUgD6WokE9Q8zllFT06klUUYdGy460VOJTNdpXlPzIsyC91sdZLVOld5CoY+Py0x4Sz5DcScnC3A95AmfSs1q1LY1+w+yMWS2dlNBNl+MVEjGTOF8VFZA7YqxH5sDN0RZ2Wntz7FBKukRD2lg/xVYMDjHSKdWITSdz9qVm4RkPieyKtRQ7IbP20DMRGypRAZm3t6n1D1HWQVsDmXU3azpnvVubauagqZ8jIYlvIBIis+hklKCNV5DyLzP9ME4kT5AMqpNY7jqRnlVlpALzIuQ46c22yWpI7KFLNgzP+MhTKY1aMnga4kfLTLkuliCZPYc5tlIKhfOg9U3qImZtSCmetcS32rpMyQZfu9vWWM6flFjrMONdrtGrNZY+ch6VbdWqVaqTjLBMyRNotbWV2aqbDnPXZW546/AcjjyVM2mNGzR3Ui+vtSVsk03adDJ3Sp6NQB9N2iSpz00kgnkvmHNcOTy/iB7SppbqyqFXJCPbndoiGXuZtdXEPK02tbCD1s1GqY0xtY3Wf5kTsan1UGarY0yu07rcrxAWC5xjL5OWa2kboCOeIJBrjtrKSH0cNL1DajtaVWrTybwmKdM5atVr69ConZFYdZ5pJE8btTGVk95pdBjvh42R8YJNtWsy7pOf5Ji1ZrV6jMRd85M8k+ZB2NbauuU5SBtOIi1tTKPUU5RU9CcmbT/EJo9qJyuHOVUbrk75aNRajtriIb6y4WQuMErPqD6KtLjSv9hw4gtKCZ3UPg1agsQz3nAyN1BGjTc1t62y6x1Ggm4fUWnrMjlEQyRSWyu9UWvwrKoIb2ldxEqN6gFizuWs5axX77ZJ3mWeBS/2SeZINPFeMhqPJ4t7bd8mvYvUnkFbKcyEG7SUderBVLrN45nyHGSbLG4+Cv26Xi3zoBZLShcig1J7q+S7jKoBPPxO7VSVSuy4Ql5iXKP6wk2ynJNeeUPLcKWt06bWAukhDElxlHCxZxJhECvU6TEyF0EiQJ2WZ5lri7nKo1oD8d2rmOZalcDTj53WoEm9mVl9jhzrrLTcyW+ttvPi70gplGeQZJ7kppKQGiOeAGpUpT6M9CereKVJW1n8DS4/VTcqA7H+my7HVaWsdOmsTfXaMN43qteHut4qCbF5mGVbaa4GJSrj+PkZpUm167WObmo5z/MMer0L+kWYPb6h5ULiYp22fINDbFH85z55J63WrfxMi1jQUdv/TYe43qzlUSLV4ie0rk7qyPNis+rbaxkRFQf1gWaHkW2ZTyLebq3Wu1X7glhxrcTkCptaCmTuFKL0o5Z8eapW/PrOYeastOSTenzSa+q0Rc5PLjSakl59ukbPz6VMvMRGLafEWCf1JhChqNWioj+U263G4ak7Kat1qsOT2kXE/uBndGqhZaQHURQZkazVZxo0pzIijnG+0eGpH7F0rVootAAgMWirPTiMVmIW8YZau1b9LsxhqrVVmrWfI/0eyanMm5IcIKaJWVpj8sQn7Z1UDk/N/h4xhOxXyZMfs8Ooa6N+QK12alLtRocxuMfjAegrN2ptR61Pcv/c95cew6yWqFH7LXaojWq02qaLnRFPAr3A7CfAOsh8jk3Xa10VTdfrW6HNGVKZblW1/Gxsoz4IogzShmLe64ba7MphroPcRWpFo9apSdZsUosza4mRVGUrLk90SN3Y1LKFWfkbyV5UWlOlLk6qM+K5s3oyvXokiEdhZQQwbjTVjV5doljDSo4kvgrr0DpEJzCvt1ULISqK1ylPjcF3XcfCIRaOHiPs/KDtMmazSHuCXnCt18H4D54DntTSiQWTmf94/kNKjNjrUX1c+EGtWrBarSx4DupD5KeNu9RGwqqL34rnN2WsdtJWqlatpcVD/3lSmy2Rpi6WPTzNIHVO6nuvfhbilZif9Fg8adQWU9pzxCVn9bPQN5HRx059nNrlWBDWSYFXKfMWNvWq0rrmOW6DWqRWy/Sgtqt1iOQ1eo1aa/2gpQIzlh6OW0nb22m+W+2rdQ6j0dWK51Y7RHs7LedV8saEjFgNudegqZAjpK5K7148U9jBPA9MfHOpQ5VqjOuLfZeaPal9kJhx7ntV6fhGlepTOzU7jEd3WvPkuEFz0cTjpFWSyC3GuHvVFF4rfCzQy3NaK62hlZasKXkr93lD9/tQct6gdXnUVq7XtgSzqeF/rqYN5Qotj1iJ2SGKdxdHzMKRtmJys95r+OR4xMtnbX1F9exN3WQkJUmu2uh+rKIgUbBNh0hSrxZycIhF3PSpZRwCFkJS2KmdmbXejWrnpO3b1FrYaxs1aFm+VuvZaHu5+oceEpSq1Ieq1KZJHwtzC+SeldYWmTGO8QvM5lnvbyO2peLnikUQi9xrOz+vjCB8+tckKzdpmzarpZQezZZSu+vcQb0eKeESAZQ5WEL2oftuaM9kdjnKIVamUc1Xz5Yee6vtongfrXpoaEfh6TQOT/ghh31qUzYd1vF4vE/ca/uIlm3W1nlymDfy+X8bTiIAEmGTuGSTPLVVKnelefWvVcvSJ48lq1G5/o57t1qPxP/vtX2VvuBdx9/8u10C7s/J3X+P373XNlW85Vm9ihwLfKgkrqYLs8jv+xPb3mscRfoG0qPCcxiIrkjfFfNosTpLrXWm0folZRjzqMUiSQuX1RDPvlMPE6NoaEvFYvTqGW+qjzUka4D2ZNJ2XsrspL6/PKvX6n0mtUZ9SmXnMNaCVZ6yly/WFzFgRGfQ58AM6lH9FESXZv2lSn7yzRLSq8fTp/4Gnk+VSGStPnudarf0wDAetan3EN8A43lzarU3HVZV2NB+3qTe5GZq11ef34PXLGtQbaqOs8Nsx1p7poh9SU9A/Ij6k/xtqI9WO4xczFpWqlSS5Rli+EV5/YzWYQyjV28G9rbRa8u4GeJNm1rzNxzms0vLh1UkNpzMu560VIxaM8XDlPLbaCsmXgZG+jA/b1ixILJf+sCDtkiybtLNCNqoaam1FR91z+r17xpJxDMvEgFptA8vucd6FyhBs0P8FmP94U+imrXDfAK51qA9ijzPYta7YpxO0tpqqyD9rUq1Fx9PvGw8kzw7RL1HtVvo1eB5oPVGoKTO3hyBqpO/DpawiphPjliztDbibXRqaaUP3Gp9qR1GOFctHEZj4clIDL5RjySP2E5qkW+O8oj1GpLmEsfBvAGM8klrOSkFqVky9jVpKzRrjyD3XvBMRKUWRuiO2vZL7Fa0bbUkjeoNSy2fXX6GHDlo1fuetO4hviDRS4xbyEhzfvpP7i59aoz9iZ3HCgSDy2NMrVqu/Gww2qdBbTHGgjBT/lr9WEmflKBe7Q1mAg3q03eqK0bUMftZ4iaNtvHw1SWmiCfvJGIjPSPx/2XUe7U2SOskUdhWPULMUbjZcsJiDWqDMXNH/H/MARErXWtvpE72RNrGKtm1UXuQmL0v5b1S+12rx445jrVet3eIWkxqJeExT+rbSn9oU1tGSTHWmJR0tarHoCVE+hJtqh2r8yCqG79U6j3LKEuT2hE8WYXWEhEOjIJUes1Oj7k9CoK8ycinjGJJ7ArPlEpMstY6IWu+9Q4zYaSlk3RILwJ3lh7F7NC7khYFPoRY61Z7WNIWiO2btU/U67Xr1PPBuK60OY1DPxjHdFrPJK7WqYXvtMQj9or5j10qQ5vqO00uP3H86+ZCdOpziUXrU+rQSmHNDolhbjr0i8VjnbWMtW7T4QmlXts7sbCb2hZILA99EIn1Sw1r9KqIQY+pDGFWf6c9lbxaSuUwg0MiWVUqWfl5AunVwC8U/wKzWCV+mCNDndoXrHvX6dXb9Ls884i1BXK/QcY+ENPDM6DiaXd6fazWlNsUiZrlGFG18oennWVmTqethbSOtcNaWpPDmhdSGuRuYhMmh7WNW4cxTplhInayT+nHXITa5fkpnVpsaYEwYjBryyAxeYwRSTRFRr/GFY8Zlki8r1nbPUQSEUHDbBx42eKPSp8QZb9zWNWzc4hpTGrjQUiY1trmYJy6Ui8Sz0vVaoVmzavE33uHta0mpd6pn3DTD9hINhzcZm2HxWpivFzKKCKek4P3jzmqQ/ISpQVEZENqIJ7EEh+p0dYO/SewxwymyiH6WWlty0/pNqm9aLSWSF829yDGVK+lBKF9wPyANqUTkTCMYs7aask8lc5hdij61UJYWoVGey2NwyyQIdWBPBYnHoKMYmHV4Q2H8bkmlgqZKyitZLYkUjalBzBqKUfUfkgpx7MYmK+FWWeNwxq5iI2PLke7kDOh2qSS8Fj/e0NbU5lPMmiJET8Ma0VI5B9WrNHWc9QamK3FqNYCs1YwslA5rIaKMSnM0kKbuP5cNYzryupK6FW3WkY7hxXPZc5ro3lqlBfmnz82V018Z+nFNZpGaefEH5LedeUw03DUEoQ5StcO88Tz8yuj1uncHjdaw/BsvaR8Sv77sFI+pP+ZRzHyHEyJmEvvSEon5jng6UqM0YvnNGr7h5FBrI3aq19WOUSbMdqGNcLm5BmjjyP+9ezWmZWGWdJN8oZkDVhED0WzzeSlDA4RzWzVpLeB3iXmM7UOTwr36gk1KZ/oJWNervhEsH0yFjOpj5mfEpGYQeMqTWevXLE+CCK6s9b2Tv2+1SeBK7VyGDms9b6z1hhpNTG3L/vxncPIeav1GW22+JFCCiubYKZLo+UYtgzPusE3lPyJ79NpXcZK44/NR5OVXVqtBVIy4engSYg6pap1eS7P6PD8icTApAcu7bxY587lVRar1IepUu2ftDXFGofoC2NujvSU8CTmhsP83DGVEGn5OodVFDYcnpCa1fPMs9awGuHSs9Iwf6XXcoDoEmJl0qLPWpdlJoaMIdQur/Yyq28qfkWneZd8iYcjo0Kza1Y8g0l9ofz8HmYwd1oCK21f0F9r1EtGmy82K48OZ39n9U5SAmuH52NlRF4I9NpPwupfGPUWDxHjA1J3J20bMVL++LMYYkUnrY2YByCRdqmLDz2ZUKsFkD6FWEHxAfBc7ePPLoh3P2qrJpHuShXA839SZqT129QzMTaFeGmrRAe19rgubBpKN7RA9EF4YWW5DW2nKvU0MCt/SpYNlrhX7hK9vDkquOGwptnoMBNBat7ksIZrttxD6gNVqkDnMANLeqt9Yis9sUFtKp61fIp/q2MSjZabTfUZYXnFY5y0ncOqmfkPq4E1qlyXON81WvHwH0YKe/XuNhMtRKLX+dtwj0e0Jfe3Y9Q3r/Jbxi9Xr/N43FTyPjrMdMJMGUQTa4cxZInxY7wA9rBXfxOxIJTS5kbqNpw8iSGe4aAtEEbAW7XYs/oU6JGhxXk8gvq4Dg9Hij7v73Ou9ltGk2+WiMeiJb3DKESl/h1iPJ3DHPNK65JEmOQ7nggYteyvkpS5nJV6pWK/8TQjejQSQd90GEXsHHqfKOtSBqUN3lRfWjwo6bWJT9E5zLCR+RKYnwWb+ng05bEysNoT3lB7MiVfFPE+6dHebzFu96hX/9bp60qNe7wnm/9+y6yCVQXW6Un16t2LvcCMMymBQgOzSDFjdHRY4R3z1qXN3HSIXQ0OcWpYAswkmV1+kmRweOIao5itw2xJKX9Y70lmbOH5llX2KEnSi630rPZGP2fDjeo5YSyocXiCB/0YzDN6qDf00N/neGmj/vXay5g076BwP8/173L7zHV8qvD3uDd087rrz2DBU8Di+2FmlYzK5qf3am0F8tgynijCc2kbrlGvT3htahmFz5TX3Rq01W219MKPbT/RBxFGrPoHzy3HLlutTxi5xFgCxgla7X1I72/TYUX+WtsIzNKd1P40Dis1bTg8M9FqfqS3M6g+ed2zRnuBmw5zbPNz4uhjixUV+4JZupi/vM4xubzIHNxeW+pGvfn20V8xU6lR+4UnZYQYVodb5xi0OYN6h5W2J1hz5uFfseaP9GPE+mxqHcCKJ48fIdYYbX2t6t9fR1dtuJQ3jEZuOqxFMjk8Hb3psNbdoG1QpzUDkbONB66zceeVNu651oZ7fMbrQ8/1flrzb9YZzFee1KLIuHheXXJKWkv9kHk1t/0geQYh1wU8LyMea37q6tMaPKjll2NmPX50WEmo1hrTp77xrLZFfG6sITVoSyitNerdp/Ze7jqp9UKUF+ucSI9aajvWZYCPNDrMhZdREvHQZ/WT8VY46ZvKOEynUaLp3r33txmPzS1f7xjEgKvUe8UzyXlF4VmtKyLr8NfwrGajLa6UOUTg0I/Odufh+2yscaeNR++14R6fDQ/KWJFS4q0SC8BM39VVWfPKADKCI1EqrI8r9rJTC9+q3cU7uOBHVuoP4OkXKYESaZa5ebNrXXejRG6k6ID47Vhj+b79UgZlzB4zCeQTRrjbtY749A8rUOO9fnherde2S6wRZrFhVQ5p63ot0ZJnaWkRscJM91FrGdrL26nYUL+oVx8Oqxh2SW3EA/FUQV7jB7OdOi1p0lYPLs99RJQaTw2KRzE7xCFa9Rgxy29IPg5Wid1wWCVLPDmx0XjOB28nkLdAyHharx6IlMzcJm04icm26o10ag16hzla0hJg5letbQVme+DdNY16TvJUtUSBJc6JFeo31HfCjExpU6SHi3F1mWEjcUSJQGxqGcDsAkSRJQ/CEU+gzskjGLSNkFZKnsyc1VuuU9v28DN2G9qijQ6j9cK119KL+ZDSvx615udVusQK1lpWK60FWEUG8xoww2B41BfYSGVKrIeMQGH+dZ+88E2HdZzl995h9miX2jKsIoyn8mWFgk21YqPD+v6rf1AVz3ahjfq05mCtiNGtznNrtS5ifBDv3pJSO6n1XY1x3q8Eanqb6LRqIfCmBYyRycgrZn3VDs/8iv3If5PW0vxU16A9lcblsYVebcLtfNd6b4nRNOoVYz1paR9Gl+cNIWaRVweTOWt4Rh5PVyLOe/e1N9a4+saD18dTJA89lXeX/lhfstU6I2MwjfYnMTOzdeiVbTqsxykjJpPWiNFh3qL0h27qKvNiZMxZbCDWaMFMZonNYF0GjBtfq90QC3bzr3ZYOfnudLR3pAPjSZXDHJDrFYuC9lquhyfCET2Tuaijy2O8g8Nboepk9cWf3NQjZWxfWnN4vKP2tWSeVOWwzuCoNQH2Z1AlsN746DDGLqPQYg3EK/u0HN+s73c/Pf94RPzuP5lngzGUPFKNldM/vf/d65Gt/sms0bwusFjvST2NWfOKOeMytid2oNJ2AeO8lcNqBYO2ho2WJsxImd2nsZv7/aKHvKYN9/jz2+IxPt7urtOm3t9ejsnKPH6nddrvh1vnUevs421vpXQxD75yGDOWNlcIy+yBTls8zP/6tCTJjDaxQI3DPMJJPbL8LHyjVh4RyE7b/E97bRsO88nwBDueN8Y6nfDQJK35yYBGfcbbUWdRScbvMfKT57e3LkclMLqT39CIZ+1bh3mOlcuzuFdbKfAT/VvtWWOdTzyXgBFmeHaz2h6sdbp6xV7/Bo1nIFV5TZ8mnSmjDHiH6qyek8SzRtUTsXXMa0L7jCcHJHerduuutRbP3YXfc+H3nKc1Fq9/9T+xQe1ae//If3/sHfPVH7/P8nm3/O/z1Pj12q1bDpdKz+9Ten5rah/as/5vd+1/Op/+2Bz817n6Q98eK8HlKZcsXb9Ogd+q2x+hu12WFtX69bWr/KeS6VmnfXzMzqzbxn5u7f2c9ns96p/Xjn9u6n99rn6b5frtvs36ftbvUfd+f66/lumv99g+r658Xu36PevuEnR/jb6/tr5+rk3/dbbt80rOr7cfv9+9fuu/dcvFH1+q+Ymf+OmP+fRrW9Rf3y6Uz/Pn6PB0Pq1nd/8rafRHl93f5gfZYP5f5dN/xbL7eb7s5/mr5XP4uam3VmL+u1vW+718lksbrJcpl5/fv/utV1+/t/x5Zffz9titnevXsd9H0c+jaKdG/jEl9vcrV8tbm8+x6et4KL+W/WO17Y9V7I8oseuq8ZjN+2MsrU3drNZy67p9Tp39o/LyW0mWrIPL293/vp/+CB1+7/KyVKrW9RU+p539o8r5H+OJ/f6Wb+nr/NayE+b8fjrH96/uo/8U9n4bf9lzW+7M//3o/4Xff91zC/zjH//4xz/+8Y9//OMf//74v+DjP+zPhyNexSP+lp7/C3tl37/HXsG+P/bYnfrvx/68E3068Nj9v3isrPckvQnsC72IPX9G+PS93/OveK/n/kr7/gqX/hoX7k+u1rUGKvcXn9a7f+3v/RVPVT/0a33Pr50+V373r/ODqZr12ef7fq0fPLd58Nf2wV/vT7M8Wd/ck1+sYHzfuQ/lt1W+9/96f45a5XD/r/fnSJ4Nvv/X5gEKsoJSd8+vovJ952IV84d+bR78tX3k17sZya/3pxmr4N//6/jIr8ODv44P/jrf++v9ZQO/3pdfrCtx969Ybf/uXx8qsfj17vu+cP/p3rvX/lvYG2zjXUe99se999bv2B367XO3E//fXuPYF37/Wfx+4D743x8/4437+pHj30Zb/HiqcdxX7p/+mPDppd/z8LE7fu+V37Y+1d8+eORubB8OohLnMV504f+/64yv/eeLeNx+bDve+zbnF98arHfs1/4+vyQlHz7n7hTj9xe+FduN29DyHcRW7MRrs945lzE6FtR+OJc4I+TxyN/hg//3mDI456VP04E//p/+zLvZ3z7jlftyreNCGVvnuDf++3qKfOXT+UPM255P9b/WOued/3YUlV/n6G3vg6x3XPBfvov6/bxmGcjnoHasc9aOT/vJmsfuxvK790g5x9Ffx2NPHjl2z5ejo0eOCSX0o///4aNuWqXHy0c48nClNr6Nnt/jdfL2edt++3BZeemP2E9l6+FjX/ucnvrjjx9JRbCU5zGte9Fm3m0DcfQ7n6/XjxxxGHO15X7yvwVfOPC+9NtTn+6H0yx1IDNY13rePu+Nv++ep7fOOVtRp3WOlLZIWoF1jpfW6nPzsOtL/fMHj3y8nMgRj5dcHIcSKK3m42cE+/CD/3voSLSWj6Uh2A2U02Bx9mLL87Ad2Yl9rQt/xqX//fFjrz6zZcvnrNuy4YzPadlwzvotG854rGXDcetof7VWy4YjP6dlwznrtWw4+rGWLR+3fsv26TnrtGw4a73WCkev01rhmEBSynsgcP5IefnGXdyy/VvxCPn+J3/eK3+dQPOd+8Jtevbbaxz177GVffy4V740vVnjuNe+/fvbGsf9h//9/I7jXsTW8zxamOfRymzeOvcvMYKSYyV/vbUeE1YWl5VcZUXa1l2nFRLlPc2Vu9bVv2SdaFlJSt5pIO9JknXe+nikrM3d6aq48tZNvPNNVsG9jv0wGV+WtdvwxuH8bqxet/IrVvTEe+sr3coI9RyPuXZYFz5ca3SySqHskf/xhnVZp1jW0ZNfZGUsOR8paJ2sjCnr14WrT07WuJfRblnXWd4XKOvTXTt5Z4K8iS6/IVPeKHetK4nKm1LxzvnWXTu8RU2uLHeUVIpiopPkVY4RhWWlcVFKiEiusZq2vBPk2uGtTJIjeQdp5WSFz3CkvGNTlG6drJUvq5vLqtvXumKlrEcm75jpdR3T1l3runiy1r2s/ijvzx20VEiqJOWSqmvV41rL2XWMB921XtifV2J+N397Hv3TM18XnrkN/y/YhWApnmn/9Dzah2+9DZOW6aN63WH/i3jmafxf2rpnvraEq8OzC0eFNv5K28/Vs8UbPYh1L5z5P/1Z4hk987Xvx3jOmf8V5zzzViPsufI1F9d+5e/1o2/7wj2fxTuFVPwzpedbzdE//Tnnsc7v63liBf/s/leyhP/bH/tjzPm/x6NP43658o8+pdi/7z+987+KMv9csZDPkiLP1JL86I/ec4jNisKvvX29qe7nXwOtyep10NYcRA/lWcxjiBscxLP+l/bzoff//uTO12r3Jcfo31xHD+ksWr+L6OP+EGntxvtcRu8mpE3SIPGIZ7dalHO/ZyceH7yOq3SVsP8wpvqj/yRRjmfR4zvTFEGBn1OJCmcEfaSkfRupSL9JlJGW7tt4pHiEN/P13DPfWSkrZ06iNqfxDrdVyJ7EM/X1z1JpfO2v9OKenK1/lVVv/Tr6T880+nS4ktqrqFX4tn3HUbhm0A51+U0sZdDm03Nu/56vIfXymfrmz9RXv5nSZ550LpMhl59/hV13obX0+tYvX/pPP0S2YI341n3W5Fmszc9iv+9DHOv4NvbIzlLJXOUh/eUNTfGzZImEy7cp5RLNuzv9j6XkP/zZx8r4b/rrZbz+Q+c+j2XoOFpQ1LTP1UBS+WPst4u+4Y6rZfA+i7w+hftK95uo7D+jZmHPx09Uu1kXb1sJ6e1l+3DX8Wex7QrpumnRbh99u6atRxk2We60aidEL7QRN+uPpOVCWyypD+taAMQOYInvKrFS89e1WrfvAKtwfE/axZLdvMZ92txm9FDNelz7XLegwvW917idixfRoznWe8voprT3B7HtEhVhZS7dRTz/X2qxz9WXkByc6TmXesSup7WXauvDv396vb/FvoSU6r177nmzRAjLcL0jLc/H8bibHG56K9faUkKfFzdKRNDrMpaTI1XjWfzlW61HEis71xL3o1qOu/28u+zFM+1/ii+56p/czulX0S79qJ7Cv+6oU9d6rXDly5jSjZj+v63YnPN7jrodZbn7KIkigMZ997vpP30V9drz1zxIub77zE89zLt81bvOfKlxqPMVOlt61MW9Z6E3f77ie4v6991lNd4Tvoezflb/8CHdbmuy/pk3I1nPUi/7MnJ46MxX8Z6XqsaXqssPD56DUgJPPUdQ7j5+tfZ9SmrVot08+9zBh7/PDr+I9fNiJSUov7lUr3PUOmXxsausx/1z0/LrrnJXL+zx9D9WOx67wu2acn</a:t>
            </a:r>
          </a:p>
        </p:txBody>
      </p:sp>
      <p:sp>
        <p:nvSpPr>
          <p:cNvPr id="70" name="WORKBKFUNCTIONCACHE1" hidden="1"/>
          <p:cNvSpPr txBox="1">
            <a:spLocks noChangeArrowheads="1"/>
          </p:cNvSpPr>
          <p:nvPr/>
        </p:nvSpPr>
        <p:spPr bwMode="auto">
          <a:xfrm>
            <a:off x="3197225" y="2944813"/>
            <a:ext cx="638175" cy="457200"/>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Gjrjx29qe25bEzHiqHj517O9L5+BmP1ZTHzscIGvz3h49ev848dKXP73eF8YnVtuv6hjcSUgaPYbWtXIfuTQuVe9I3/aA8qnWgKbjPn/10ZOu2j/qpTmF8MBA8vtXLR+pv30NGu0T3/y9eH6NeuWWGVnkU7C6fcnUcJJ+Tx0MOosWRfNw8czUufKyKPuyLB89C4jkX6nVIL+G2OiFNG75nf6bpwXF3RS9uR3seU+72WOb9R2arsRdtHq58d9ToU1VXR4ouk/V4TCMpn7nPGuj+X7X58m213IPXF/F6B7FM3FVacj2ScccQTflXLOmS1h9cjpSt6vFpv+dmj0AswmU8+jjGW9Y7B30NRIruatlQF296yajl76KGYP5w+fjUa71pI+4+5q6rrZuSm9dHLh+ON65aph817nM70nBT109TeDeRl/Gu2Rq90H7LP93BZ14Z3B735u/WD0o81J+53eP7T3cQU/vszrPvinP/93w+7nNmEt8/a/jP6dzd6FWcxTIjvxzGNirbwhfRMh7F3/9/nCUMKA==&lt;/compressed&gt;</a:t>
            </a:r>
          </a:p>
          <a:p>
            <a:pPr algn="l" rtl="0">
              <a:defRPr sz="1000"/>
            </a:pPr>
            <a:endParaRPr lang="en-US" sz="1000" b="0" i="0" u="none" strike="noStrike" baseline="0">
              <a:solidFill>
                <a:srgbClr val="000000"/>
              </a:solidFill>
              <a:latin typeface="Arial"/>
              <a:cs typeface="Arial"/>
            </a:endParaRPr>
          </a:p>
          <a:p>
            <a:pPr algn="l" rtl="0">
              <a:defRPr sz="1000"/>
            </a:pPr>
            <a:endParaRPr lang="en-US" sz="1000" b="0" i="0" u="none" strike="noStrike" baseline="0">
              <a:solidFill>
                <a:srgbClr val="000000"/>
              </a:solidFill>
              <a:latin typeface="Arial"/>
              <a:cs typeface="Arial"/>
            </a:endParaRPr>
          </a:p>
        </p:txBody>
      </p:sp>
      <p:sp>
        <p:nvSpPr>
          <p:cNvPr id="29" name="WORKBKFUNCTIONCACHE" hidden="1">
            <a:extLst>
              <a:ext uri="{FF2B5EF4-FFF2-40B4-BE49-F238E27FC236}">
                <a16:creationId xmlns:a16="http://schemas.microsoft.com/office/drawing/2014/main" id="{43011BB3-2E5A-4FA3-82B1-A2C408DDFC68}"/>
              </a:ext>
            </a:extLst>
          </p:cNvPr>
          <p:cNvSpPr txBox="1">
            <a:spLocks noChangeArrowheads="1"/>
          </p:cNvSpPr>
          <p:nvPr/>
        </p:nvSpPr>
        <p:spPr bwMode="auto">
          <a:xfrm>
            <a:off x="2344277" y="3026851"/>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lt;compressed size="651798"&gt;eJztvQtvHTe2ps2fYkwDgxngk7ruF3TPARwf2fGBYwtS0oODRsOQFamlJFYU3ZIe6Md/JNd6yS1Zl+1cikvnvBDs2rt2Xcj3IRcXF1msv7pDd+lO3L67cMfuR//phdvz347cgfs391f3rf924f/t+t8u3Zn/5cA980ftuY/+0/9x/8O9dK/dW/fc/3vhtvz3Z+5DvML37p/++B/j1b91p/7TVTz+ufvB/73323DPa9e4yv/1/tPf3X/6a+75s/7hv/1Pf9SF+4u/c7jnSdwfUvjM/c1vD9zP/oh/xiPCmW9j2g9unLnl94RcXbh/+bNexPSfxWvt+z33nf13n58XbtufcXPvr/v2P6KKr/y3C5/uPZ+yS1X23Kfs/8XPtevc7Ea/788re//qFd7zuoVP3/s9//K//dsnavxJdbyM1/5LUvBPquvk9237fXL0t37/d5HIX5KKf/oMpW9qGu79yr3xLN+4d+4Ltxl1+8tKPvO1t+NVD+LZmcUz97W/z0U8Pt8j5GhfS86Fv0atean8b8LmTyuUwhVOvdZ/iVc992f86JWr/THbsfx969P37z7FV7eOaPwRku6b+1u/fzfm8MDvu/lb538LOQ6l5r8viZ4kDJBofU5mkjBDoiYJAyR6thMmSHT+jyQskOhji92RRHESo/Z0SMICiZ4kDJCY2bMzRKImCRMkatYJIyQakjBCoiUJIyTYs7NAool5aRh3MkCiZ1TcCImBJIyQYM/OBok29ibYs7NBgj07KyTYs7NCgj07KyTYs7NCguPYNkg09J1MkJhiTmqO2Rkh0bFOFCchMXFaJwskepIwRKIhCSMkWpIwQ4IjRTZI0HeyQmIgCSMkRpIwQ4J9bCskBpIwQmIkCSMkZpIwQILj2JZIsGdXnsTAOmGKBH0nGyQ4G9MCiZGzMY2QCOOnXLfDAgnOULZFgl6sBRI9SRgg8cLn6r1X/iTuDWvtkUhZIkFzUfPQb/M8g/cc1TPK6Lnbif9vk4spLnJu+H7gPsQzSMcOnTf+HLKxyeYrf9xHv/+9e+mvR5+gNJ237iDSgEUL/toVqRihIt7ze3/OnvvFb0Vp8rHEJxx74o8kExtM2MLY5LLt/7ZIwwiNHb/3ym9bf+a3pGKEym487iD2+c/9X9h7TjqF6ewona14jRN/99Dek0tpLnLMe91/Fgn94tUnF2tc0H+R65CPFT5s+e2w+Og/nTnGK60QeeHvthu3e1GnM233yccan6wNfTJrdIJHduTT8CGmg3ys8XkZr3Tsjz9i22OOziv3JZkYYxIYkIktJm/8d3pm1qh85e//Q0xDuOa/yMcYn3f+21HME8nYIrPt70Am1pgEhb+LPvPPjJwZ5oMZACRki9COXodcbHHZjaM0exw5M0fm68jlhFzMcNnzmhyRhxkeQY0wckYiVojwyZinwIVxTJt0juOszHBNxsus0Al15nBlFtNbv//EcS6TZUasQdbonLK2mOHx0h+37zA6w3pihctrr8WpP/aYdcUQkxOvyaVGYkJaScYOmauoz0WK/zOGaYXOzVUYZCYg4wFW6TAaYI2NrJshz2mSjA0y7/x5r0nDDI3D2Offcj/53469/mEs89JvT/357NXY4RTmmeUoJ59tts/ojU/HnvcNyMcWn60YISAVW1Toq9llI9402xy7hFbH09jyWKUkCh+SizEuu/6uz0nFCBWOO9ujweimRSaYqSFrnJKOJTpB3R9iXknFAhWs1kg7ZomJnE8ednhg7kx4BjB8Ih9bfIImZ/6XfXIxxeXKcZ0z+3yyNoxhWqPDdc5s8+E6Z5bpcJ0ze0zY17THhOucWaTCdc5s8+E6Z1bJcJ0zi0y4ztnT4MN1zmwS4siATS5c58wqGa5zZovLbtRj331PIkaIoIaEWJmMbIZYwDkjzcYIhefROW/GCpNv4p25yokNKuc+L33MzRdk8RtY/N2fEcr0x9gO7MVzwxMU/7hD81rTXFHxRRXvqfiCirc+xTMVX1zxmoovqHhPO76o4p3/o+JLKt7HlrOj4ospPsY091R8UcV7Kr6g4jN7QAUUr6n4oorXLOMLK95Q8YUVb6n4woqzB7Sk4k1Mc8O4yoKK94zWLqz4QMUXVpw9oGUVb6M3zh7QsoqzB7S04uwBLa04e0BLK84e0NKKc5xzWcUb+iqLKj7FFNccA1pY8Y5lfDHFJVZLq7Kk4j0VL6B4Q8UXVryl4osrzhGJZRWnr7K04gMVX1jxkYovrjj7nEsrPlDxhRUfqfjCis9UfEHFOc5ZQnH2gJZTfGAZL6I4fZVlFecsuCUVHzkLbmHFw7gbn8tfUnHO9CyjOL3DJRXvqfiCir/wqcd7GkO+D6j8QsoHbUW1Q7/N483vOUpUmMVztxP/36b+RfQPCpzF7wfuQ7w7KSxP4Y3XmAzKMsAq8GG9/gO2zYtReOvPuFixRME/uqL6C6svXml+m7goSg4lOIT1X/nm0OW1ZwtQVv9t/7dF1RdWfcfvDe+OaH06+JaipdXfjecfxD5weAtB2Mt3ESxFYUcpbMUUnDh5Yzf1X0r/oOlFLPth/5mT9z/zvULl9If/L70xcliaA1vg5TX/6D+dOcbdllb+hb/qbtzuRT3OtP0lh1Icsgb0gUpRCB7QkT/+Q7wfOZTi8NKF9zMd+3sfsW0oRuGV+5LaF9I+aE3ty2gf3kpJT6iU+l85vO0wpIhvPCzF4Z3/dhTTTgJlCGz7K1H7UtoHJb+LvujPjAwZ4IARYpIoQ2Inpob6l9J/N44S7HGEphgBvL+e+i+t/57P+xF1X1z3kOswQkPll1aeTwZY0p/xuLIUjuMsuW1/HuNBS1MIdeBwZXbK23gG56hYYMEaUYrCKUv/4rq/9MftO4wOsNwvrf9rf/SpP/aYZb+A9ic+75cagQhpIoHlCVxFHS5SXJqxuKUp3HxaW2ZssX9cmgJ7x6UYyHP08hwZCSxL4J2/zmuqvrjqh7EPvOV+8r8de53D2Nil3576a7FXsDyPME8oR+v4LKUdFm/8OXu+jSaHMhy2Yo+Z6pdRn75ReQbipbJNKE9iddyGLUNpGqLkIfUvpP+uv/pzqr+w+hyvLKc6o3QltceIvaz1RwolKAQVf4h5ovpLqo9Vzmh/SmjPpzZK6Y65EuHZpb14LjmU4BDyfuZ/2af+RfS/clxnyA6HrAFjcaUocJ0hGxy4zpAFClxnqJz27JOV057rDJVUn+sM2eDAdYZKE+A6QyW15zpDtjhwnaGyJBixLqs/1xkqTYDrDJXRfzfme999T+UXVh4lPsSCZKQs9I3PGRktRCI858p5Ektr/008iqsbLKv+uU9zH1P9BTVfW/N/j2si3lQdV9+O1xUv/pmTGednquRFPD7f5TaNWnNTkYURFj1ZmGDR+rzMZGGIRU0WJlj0bC+MsOj8H1nYYNHHtrsjCwMsxpibniyMsOjJwgSLmX09UyxqsjDComa9MMOiIQszLFqyMMOCfT0bLJqYm4bxKBMsesbMzbAYyMIMC/b1rLBoY++CfT0rLNjXs8OCfT07LNjXs8OCfT07LDjebYVFQz/KCIsp5qXmuJ4ZFh3rhQEWEjGnjbLBoicLUywasjDDoiULQyw4lmSFBf0oOywGsjDDYiQLQyzY77bDYiALMyxGsjDDYiYLEyw43m2LBft6FlgMrBfGWNCPssKCczhtsBg5h9MMizDKyvVAbLDg3GZrLOjT2mDRk4UJFi98vvD20aDIAZkUZxJUFz0P/TbPSHjPkT+zlJ67nfj/NskYIyPnhu8H7kM8g3ws8XnjzyEdq3Tw1ovwHpIDegcG+Lz1512s2LXgu12Rixku4kuHFdP33C8Ob5AhIVuEwrF837AlKmxprJLZ9n9b5GGGx47fG94H1Poz+WY4O1x243EHMQ4Q3lET9p6TT3E+O8pnK17jxB3Hlp9kypORY97r/rPI6Be+Yc4kGfRn5DokZIcQfQBLND76T2eOkUw7TF7E64ftXlTqTD0AErJHKKtD/8wen+CdHflUfIgpISF7hF7GKx3744/YBhnk88p9SSrmqAQKpGKNSnjXM700e1y+cngbcbgm30hsj9A7/+0o5opsrLHZ9ncgFXtUgsbfRQ/6Z0bUTBPCTAEyssZoR69DMtbI7MZRnD2OrRlk83Ukc0IyhsjseVWOSMQQkaBHGFsjEztM+GTN0yDDCKdVPsdxJme4JuNodviEenO4Mufprd9/4jjzyTYl1iJ7fE5ZYwwReemP23cYvWFdsUPmtVfj1B97zPpiisqJV+VS4zMhtWRjic1VVOgijQ4wummHz811HWTuIGMEdvkwQmCPjqzFIc97ko0VNu/8ea/JwxCPwxgH2HI/+d+OPYEw3nnpt6f+fPZyLJEK89Jy/JPPST8FSm98Sva8l0BC1ghtxagBuVjjQr/NMh3xrdn2WGa0OuLGFsguJ9H4kGTMkdn193lOLma4cHTaIg/GPW1SwZwOWU2VfGzxCfr+EHNLLja4YE1IWjNbVOR8ErFEBPNswpOE4RMJWSMUVDnzv+yTjDEyV47rqD0FQlkdRjft8eE6atYJcR0123y4jppFKux9WqTCddRscuE6atYJcR01u2y4jppNKlxH7akQ4jpqVhlx3MAqGa6jZpcN11GzRmY3KrLvvicTM0xQS0IMTUY/Q3zgnFFoc4zC0+2cY2OHyjfx3lw7xQqXc5+bPubnC9L4TTT+7s8J5fpjbA/24tnh+Yt/3KF6ramuqPnCmvfUfFHNW5/mmZoX0Lym5otq3tOeL6x55/+o+bKa97EN7aj5gpqPMdU9NV9Y856aL6r5zD5REc1rar6w5jXL+eKaN9R8cc1bar645uwTLat5E1PdMN6yqOY9Y7mLaz5Q88U1Z59oac3b6J2zT7S05uwTLa85+0TLa84+0fKas0+0vOYcD11a84Z+y8KaTzHNNceJFte8YzlfUHOJ5NK2LKt5T82LaN5Q88U1b6l5Ac05ZrG05vRbltd8oOaLaz5S8wKasx+6vOYDNV9c85GaL675TM0X1ZzjoWU0Z59oSc0HlvNCmtNvWVpzzp1bVvORc+cW1zyMzvF5/2U15xzRUprTV1xW856aL6r5C59+vD8y5PyA2i+mfVBXdDv02zwy/Z4jScVpPHc78f9tEihEIGhwFr8fuA/x/uRQgsMbrzIplKaAVejDGwMO2EovyOGtP+NixR4FX+mK+i+uv/io+Z3noilJlCERVp3lW01LqM+WoDSBbf+3Rd0X133H7w1vsGh9SvjOpOX1343nH8R+cXgTQth7Tg6LcdhRDlsxDSdO3itOAssRCKpexPIf9p85eUc133JUkgD6A9I/I4nlSbAtLqH6R//pzDEit7z2L+J1wnYvKnKmLTFJlCORVaA/VI5D8IaO/PEf4h1JohyJly68L+rY3/2IbURBDq/cl1S/mPpBbapfSv3wxkx6ReX0/8rhPYwhTXwXYzkS7/y3o5h6MijFYNtfieqXUz9o+V30TH9mxMgECYwkk0UpFjsxPSRQjsBuHEXY4xhOQQbyHvcTEihAYM/n/ojKF1A+5DuM4VD75bXnkwW2CDBSV5rDcZxZt+3PY5xoeQ6hHhyuzGV5G8/gjBYbNFgrynE4ZQ0ooPxLf9y+w+gBy/7yBF77o0/9sccs/0XUP/G5v9S4REgVGZRgcBWVuEhRa0bpludw8/lvmePFPnN5Duwxl6Mgz+bL82hksDSDdz7/r6l7Ad0PY794y/3kfzv2Sofxs0u/PfXXYi+hBJEwryjH8fhcpiUab/w5e761JolSJLZiL5r6l9KffpIFCuKzsm2wwGJ1ZIctRHkeouUhCRQjsOuv95z6L64/RzVL6s74XVn1MbYvqwqSQxkOQccfYq6o/7L6Yy01WqEy6vO5j3LKY15FeAJqL55LEmVIhNyf+V/2SaAQgSvHdYwskcgqMEpXjgPXMbJCgusY2eDAdYxKqs9eWkn1uY5RWf25jpEVElzHqDwDrmNUVn2uY2SNBNcxKs2C8ezSBLiOUXkGXMeoFIHdmPN99z21X1x7lPoQI5LRtNBfPmfUtBiL8NQs51Qsr/438SiumbC0/uc+1X1M9xdUfW3VX3l93tx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byfTXl+ewon614jRN3HFt+kilPRo55r/vPIqNf+LY5k2TQn5HrkJAdQvQBLNH46D+dOUYy7TB54cKbwMJ2Lyp1ph4ACdkjlNWhf2aPT/DOjnwqPsSUkJA9Qi/jlY798UdsgwzyeeW+JBVzVAIFUrFGJbzxmV6aPS5fObyPOFyT7yS2R+id/3YUc0U21ths+zuQij0qQePvogf9MyNqpglhpgAZWWO0o9chGWtkduMozh7H1gyy+TqSOSEZQ2T2vCpHJGKISNAjjK2RiR0mfLLmaZBhhNMqn+M4kzNck3E0O3xCvTlcmfP01u8/cZz5ZJsSa5E9PqesMYaIvPTH7TuM3rCu2CHz2qtx6o89Zn0xReXEq3Kp8ZmQWrKxxOYqKnSRRgcY3bTD5+a6DjJ3kDECu3wYIbBHR9bikOc9ycYKm3f+vNfkYYjHYYwDbLmf/G/HnkAY77z021N/Pns5lkiFeWk5/snnpJ8CpTc+JXveSyAha4S2YtSAXKxxod9mmY741mx7LDNaHXFjC2SXk2h8SDLmyOz6Oz0nFzNcODptkQfjnjapYE6HrKZKPrb4BH1/iLklFxtcsCYkrZktKnI+iVgignk24UnC8ImErBEKqpz5X/ZJxhiZK8d11J4CoawOo5v2+HAdNeuEuI6abT5cR80iFfY+LVLhOmo2uXAdNeuEuI6aXTZcR80mFa6j9lQIcR01q4w4bmCVDNdRs8uG66hZI7MbFdl335OJGSaoJSGGJqOfIT5wzii0OUbh6XbOsbFD5Zt4b66dYoXLuc9NH/PzBWn8Jhp/9+eEcv0xtgd78ezw/MU/7lC91lRX1HxhzXtqvqjmrU/zTM0LaF5T80U172nPF9a883/UfFnN+9iGdtR8Qc3HmOqemi+seU/NF9V8Zp+oiOY1NV9Y85rlfHHNG2q+uOYtNV9cc/aJltW8ialuGG9ZVPOesdzFNR+o+eKas0+0tOZt9M7ZJ1pac/aJltecfaLlNWefaHnN2SdaXnOOhy6teUO/ZWHNp5jmmuNEi2vesZwvqLlEcmlbltW8p+ZFNG+o+eKat9S8gOYcs1hac/oty2s+UPPFNR+peQHN2Q9dXvOBmi+u+UjNF9d8puaLas7x0DKas0+0pOYDy3khzem3LK05584tq/nIuXOLax5G5/i8/7Kac45oKc3pKy6reU/NF9X8hU8/3h8Zcn5A7RfTPqgruh36bR6Zfs+RpOI0nrud+P82CRQiEDQ4i98P3Id4f3IoweGNV5kUSlPAKvThjQEHbKUX5PDWn3GxYo+Cr3RF/RfXX3zU/M5z0ZQkypAIq87yraYl1GdLUJrAtv/bou6L677j94Y3WLQ+JXxn0vL678bzD2K/OLwJIezl+xCW47CjHLZiGk6cvFecBJYjEFS9iOU/7D9z8o5qvuWoJAH0B6R/RhLLk2BbXEL1j/7TmWNEbnntX/gr7cbtXlTkTFtikihHIqtAf6gch+ANHfnjP8Q7kkQ5Ei9deF/Usb/7EduIghxeuS+pfjH1g9pUv5T64Y2Z9IrK6f+Vw3sYQ5r4LsZyJN75b0cx9WRQisG2vxLVL6d+0PK76Jn+zIiRCRIYSSaLUix2YnpIoByB3TiKsMcxnIIM5D3uJyRQgMCez/0RlS+gfMh3GMOh9strzycLbBFgpK40h+M4s27bn8c40fIcQj04XJnL8jaewRktNmiwVpTjcMoaUED5l/64fYfRA5b95Qm89kef+mOPWf6LqH/ic3+pcYmQKjIoweAqKnGRotaM0i3P4ebz3zLHi33m8hzYYy5HQZ7Nl+fRyGBpBu98/l9T9wK6H8Z+8Zb7yf927JUO42eXfnvqr8VeQgkiYV5RjuPxuUxLNN74c/Z8a00SpUhsxV409S+lP/0kCxTEZ2XbYIHF6sgOW4jyPETLQxIoRmDXX/E59V9cf45qltSd8buy6mNsX1YVJIcyHIKOP8RcUf9l9cdaarRCZdTncx/llMe8ivAE1F48lyTKkAi5P/O/7JNAIQJXjusYWSKRVWCUrhwHrmNkhQTXMbLBgesYlVSfvbSS6nMdo7L6cx0jKyS4jlF5BlzHqKz6XMfIGgmuY1SaBePZpQlwHaPyDLiOUSkCuzHn++57ar+49ij1IUYko2mhv3zOqGkxFuGpWc6pWF79b+JRXDNhaf3Pfar7mO4vqPraqr92b2MkYVV1XH07Xld8+mdOZqufqZIX8fh8l9s0as1NRRZGWPRkYYJF6/Myk4UhFjVZmGDRs70wwqLzf2Rhg0Uf2+6OLAywGGNuerIwwqInCxMsZvb1TLGoycIIi5r1wgyLhizMsGjJwgwL9vVssGhibhrGo0yw6BkzN8NiIAszLNjXs8Kijb0L9vWssGBfzw4L9vXssGBfzw4L9vXssOB4txUWDf0oIyymmJea43pmWHSsFwZYSMScNsoGi54sTLFoyMIMi5YsDLHgWJIVFvSj7LAYyMIMi5EsDLFgv9sOi4EszLAYycIMi5ksTLDgeLctFuzrWWAxsF4YY0E/ygoLzuG0wWLkHE4zLMIoK9cDscGCc5utsaBPa4NFTxYmWLzw+cL7SoMiB2RSnElQXfQ89Ns8I+E9R/7MUnruduL/2yRjjIycG74fuA/xDPKxxOeNP4d0rNLBWzDCm0kO6B0Y4PPWn3exYteC73ZFLma4iC8dVk3fc784vFGGhGwRCsfyrcSWqLClsUpm2/9tkYcZHjt+b3gzUOvP5Lvi7HDZjccdxDhAeFNN2Mv31ZTns6N8tuI1TtxxbPlJpjwZOea97j+LjH7h2+ZMkkF/Rq5DQnYI0QewROOj/3TmGMm0w+SFv99u3O5Fpc7UAyAhe4SyOvTP7PEJ3tmRT8WHmBISskfoZbzSsT/+iG2QQT6v3JekYo5KoEAq1qiENz7TS7PH5SuH9xGHa/KdxPYIvfPfjmKuyMYam+14F1KxRiVo/F30oH9mRM00IcwUICNrjHb0OiRjjcxuHMXZ49iaQTZfRzInJGOIzJ5X5YhEDBEJeoSxNTKxw4RP1jwNMoxwWuVzHGdyhmsyjmaHT6g3hytznt76/SeOM59sU2ItssfnlDXGEJGX/rh9h9Eb1hU7ZF57NU79scesL6aonHhVLjU+E1JLNpbYXEWFLtLoAKObdvjcXNdB5g4yRmCXDyME9ujIWhzyvCfZWGHzzp/3mjwM8TiMcYAt95P/7dgTCOOdl3576s9nL8cSqTAvLcc/+Zz0U6D0xqdkz3sJJGSN0FaMGpCLNS702yzTEd+abY9lRqsjbmyB7HISjQ9JxhyZXX/f5+RihgtHpy3yYNzTJhXM6ZDVVMnHFp+g7w8xt+RigwvWhKQ1s0VFzicRS0QwzyY8SRg+kZA1QkGVM//LPskYI3PluI7aUyCU1WF00x4frqNmnRDXUbPNh+uoWaTC3qdFKlxHzSYXrqNmnRDXUbPLhuuo2aTCddSeCiGuo2aVEccNrJLhOmp22XAdNWtkdqMi++57MjHDBLUkxNBk9DPEB84ZhTbHKDzdzjk2dqh8E+/NtVOscDn3ueljfr4gjd9E4+/+nFCuP8b2YC+eHZ6/+Mcdqtea6oqaL6x5T80X1bz1aZ6peQHNa2q+qOY97fnCmnf+j5ovq3kf29COmi+o+RhT3VPzhTXvqfmims/sExXRvKbmC2tes5wvrnlDzRfXvKXmi2vOPtGymjcx1Q3jLYtq3jOWu7jmAzVfXHP2iZbWvI3eOftES2vOPtHymrNPtLzm7BMtrzn7RMtrzvHQpTVv6LcsrPkU01xznGhxzTuW8wU1l0gubcuymvfUvIjmDTVfXPOWmhfQnGMWS2tOv2V5zQdqvrjmIzUvoDn7octrPlDzxTUfqfnims/UfFHNOR5aRnP2iZbUfGA5L6Q5/ZalNefcuWU1Hzl3bnHNw+gcn/dfVnPOES2lOX3FZTXvqfmimr/w6cf7I0POD6j9YtoHdUW3Q7/NI9PvOZJUnMZztxP/3yaBQgSCBmfx+4H7EO9PDiU4vPEqk0JpCliFPrwx4ICt9IIc3vozLlbsUfCVrqj/4vqLj5rfeS6akkQZEmHVWb7VtIT6bAlKE9j2f1vUfXHdd/ze8AaL1qeE70xaXv/deP5B7BeHNyGEvXwfwnIcdpTDVkzDiZP3ipPAcgSCqhex/If9Z07eUc23HJUkgP6A9M9IYnkSbItLqP7RfzpzjMgtr/0Lf93duN2LipxpS0wS5UhkFegPleMQvKEjf/yHeEeSKEfipQvvizr2dz9iG1GQwyv3JdUvpn5Qm+qXUj+8MZNeUTn9v3J4D2NIE9/FWI7EO//tKKaeDEox2I5Xo/ql1A9afhc9058ZMTJBAiPJZFGKxU5MDwmUI7AbRxH2OIZTkIG8x/2EBAoQ2PO5P6LyBZQP+Q5jONR+ee35ZIEtAozUleZwHGfWbfvzGCdankOoB4crc1nexjM4o8UGDdaKchxOWQMKKP/SH7fvMHrAsr88gdf+6FN/7DHLfxH1T3zuLzUuEVJFBiUYXEUlLlLUmlG65TncfP5b5nixz1yeA3vM5SjIs/nyPBoZLM3gnc//a+peQPfD2C/ecj/534690mH87NJvT/212EsoQSTMK8pxPD6XaYnGG3/Onm+tSaIUia3Yi6b+pfSnn2SBgvisbBsssFgd2WELUZ6HaHlIAsUI7PrrP6f+i+vPUc2SujN+V1Z9jO3LqoLkUIZD0PGHmCvqv6z+WEuNVqiM+nzuo5zymFcRnoDai+eSRBkSIfdn/pd9EihE4MpxHSNLJLIKjNKV48B1jKyQ4DpGNjhwHaOS6rOXVlJ9rmNUVn+uY2SFBNcxKs+A6xiVVZ/rGFkjwXWMSrNgPLs0Aa5jVJ4B1zEqRWA35nzffU/tF9cepT7EiGQ0LfSXzxk1LcYiPDXLORXLq/9NPIprJiyt/7lPdR/T/QVVX1v1//C/n99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aek09xPjvKZyte48Qdx5afZMqTkWPe6/6zyOgXvm3OJBn0Z+Q6JGSHEH0ASzQ++k9njpFMO0xe+Pvtxu1eVOpMPQASskcoq0P/zB6f4J0d+VR8iCkhIXuEXsYrHfvjj9gGGeTzyn1JKuaoBAqkYo1KeOMzvTR7XL5yeB9xuCbfSWyP0Dv/7Sjmimyssdl2fyMVg1SCxt9FD/pnRtRME8JMATKyxmhHr0My1sjsxlGcPY6tGWTzdSRzQjKGyOz56x+RiCEiQY8wtkYmdpjwyZqnQYYRTqt8juNMznBNxtHs8An15nBlztNbv//EceaTbUqsRfb4nLLGGCLy0h+37zB6w7pih8xrr8apP/aY9cUUlRN//UuNz4TUko0lNldRoYs0OsDoph0+N9d1kLmDjBHY5cMIgT06shaHPO9JNlbYvPPnvSYPQzwOYxxgy/3kfzv2BMJ456Xfnvrz2cuxRCrMS8vxTz4n/RQovfEp2fNeAglZI7QVowbkYo0L/TbLdMS3ZttjmdHqiBtbILucRONDkjFHZtff9zm5mOHC0WmLPBj3tEkFczpkNVXyscUn6PtDzC252OCCNSFpzWxRkfNJxBIRzLMJTxKGTyRkjVBQ5cz/sk8yxshcOa6j9hQIZXUY3bTHh+uoWSfEddRs8+E6ahapsPdpkQrXUbPJheuoWSfEddTssuE6ajapcB21p0KI66hZZcRxA6tkuI6aXTZcR80amd2oyL77nkzMMEEtCTE0Gf0M8YFzRqHNMQpPt3OOjR0q38R7c+0UK1zOfW76mJ8vSOM30fi73xfK9cfYHuzFs8PzF/+4Q/VaU11R84U176n5opq3Ps0zNS+geU3NF9W8pz1fWPPO/1HzZTXvYxvaUfMFNR9jqntqvrDmPTVfVPOZfaIimtfUfGHNa5bzxTVvqPnimrfUfHHN2SdaVvMmprphvGVRzXvGchfXfKDmi2vOPtHSmrfRO2efaGnN2SdaXnP2iZbXnH2i5TVnn2h5zTkeurTmDf2WhTWfYpprjhMtrnnHcr6g5hLJpW1ZVvOemhfRvKHmi2veUvMCmnPMYmnN6bcsr/lAzRfXfKTmBTRnP3R5zQdqvrjmIzVfXPOZmi+qOcdDy2jOPtGSmg8s54U0p9+ytOacO7es5iPnzi2ueRid4/P+y2rOOaKlNKevuKzmPTVfVPMXPv14f2TI+QG1X0z7oK7odui3eWT6PUeSitN47nbi/9skUIhA0OAsfj9wH+L9yaEEhzdeZVIoTQGr0Ic3BhywlV6Qw1t/xsWKPQq+0hX1X1x/8VHzO89FU5IoQyKsOsu3mpZQny1BaQLb/m+Lui+u+47fG95g0fqU8J1Jy+u/G88/iP3i8CaEsPecHBbjsKMctmIaTpy8V5wEliMQVL2I5T/sP3Pyjmq+5agkAfQHpH9GEsuTYFtcQvWP/tOZY0Ruee1f+Ovuxu1eVORMW2KSKEciq0B/qByH4A0d+eM/xDuSRDkSL114X9Sxv/sR24iCHF65L6l+MfWD2lS/lPrhjZn0isrp/5XDexhDmvguxnIk3vlvRzH1ZFCKwba/EtUvp37Q8rvomf7MiJEJEhhJJotSLHZiekigHIHdOIqwxzGcggzkPe4nJFCAwJ6/zhGVL6B8yHcYw6H2y2vPJwtsEWCkrjSH4zizbtufxzjR8hxCPThcmcvyNp7BGS02aLBWlONwyhpQQPmX/rh9h9EDlv3lCbz2R5/6Y49Z/ouof+Kvc6lxiZAqMijB4CoqcZGi1ozSLc/h5vPfMseLfebyHNhjLkdBns2X59HIYGkG73z+X1P3Arofxn7xlvvJ/3bslQ7jZ5d+e+qvxV5CCSJhXlGO4/G5TEs03vhz9nxrTRKlSGzFXjT1L6U//SQLFMRnZdtggcXqyA5biPI8RMtDEihGYNdf/zn1X1x/jmqW1J3xu7LqY2xfVhUkhzIcgo4/xFxR/2X1x1pqtEJl1OdzH+WUx7yK8ATUXjyXJMqQCLk/87/sk0AhAleO6xhZIpFVYJSuHAeuY2SFBNcxssGB6xiVVJ+9tJLqcx2jsvpzHSMrJLiOUXkGXMeorPpcx8gaCa5jVJoF49mlCXAdo/IMuI5RKQK7Mef77ntqv7j2KPUhRiSjaaG/fM6oaTEW4alZzqlYXv1v4lFcM2Fp/c99qvuY7i+o+r2qv4j6nbsw4+p5nHW1eYvETQK40+pVnjmZuX6mql7E4/Mdb5OpNWcVuRjk0pOLOS6tz9dMLka51ORijkvP9sUgl87/kYs9Ln1s9ztyMcZljDnrycUgl55czHGZ2a80y6UmF4NcatYXk1wacjHJpSUXk1zYr7THpYk5axgfM8elZ5zfJJeBXExyYb/SIpc29l7Yr7TIhf1Km1zYr7TJhf1Km1zYr7TJheP7Frk09McMcplivmqOV5rk0rG+GOMiUX7aMXtcenIxy6UhF5NcWnIxyoXjYha50B+zyWUgF5NcRnIxyoX9fZtcBnIxyWUkF5NcZnIxx4Xj+3a5sF9pjcvA+mKYC/0xi1w4D9Yel5HzYE1yCSPJXB/GHhfOG7fMhX6yPS49uZjj8sLnEe/EDeockI8pPoGAaHvot3k2xnuOaD4JYs/dTvx/m5QMU5Jzw/cD9yGeQVZWWb3x55DUUyCFt7SEN+cc0LMwxuqtv9LFiu0LPuAVGZlkJP55WO1/z/3i8CYk0rJLKxzLN2tbJcSW6SlQ2vZ/W2Rjks2O3xvegNX6M/lORJuMduNxBzH+EN7OFPbyHU22WO0oq62YzhN3HL0GUrJFSY55r/vPIq9f+OZF85TQX5LrkJZNWvQfrJL56D+dOUZZbfJ54e+zG7d7UbUz9R5IyzatrBT9PNusgpd35K/1IV6PtGzTeunPPPDX+qdnxjbLNqtX7ksSMk0oECEhy4TCW9fp7dlm9JXD+8FDuvmOcNu03vlvRzGH5GSZ07a/AwnZJhT0/i565T8zwvdkaGFmBHlZ5rUT00xKtintxlGoPY4TGuf0daR0QkpGKe35Ox+RjlE6QZswTkg+NvnwyaanR4nR16fA6jjOgN325zGuZ5NVqE+HK/PA3sa0cDbY0yHG2mWb1SlrklE6L/1x+w6jT6xDNim99sqc+mOPWY/MEgp3vtQYUUg5OVnldBXVukgjGoy82mR1cw0PmWfJ2MTTYMXIhG1SsgaLPJ9LThY5vfPnvSYbo2wOY/xhy/3kfzv2NMI47qXfnvrz2YuySi3M28uxWT7v/tSIvfHX2/MeBmlZprUVoxVkZJkR/b+nQkr8dbZVT4XX6ughW6ynwUz0PiQl05R2/f2ek5FJRhyBt86GMVn7hDCfRVbyJSu7rM7ivX8gI5OMsO4oLZ5dQgeOz6ZZpoP5RuFpz/CJtCzTCgqd+V/2SckwpSvHdfieGq2sFCOvtllxHb6nRIvr8D0dVlyHzzoh9nStE+I6fPYZcR2+p0SL6/A9DU5ch88+Ia7D9xRpcR2+p8CLYx1PgRLX4XsanLgOn2VKu1Gdffc9+Zjkg9oTYnoyqhviEueMlpvmFVYs4Fwjm4S+iVfg+jkWGZ37nPUxb18YIvNX92ffPh74/Jy7f/PfrlKuw/faHzn5FF/HT4O/V/jUutmN+mnyf/Jr5X+XfaP/XT71/p98av0R8imoIJ8qvUrjt7V+mvTcZuW+nZ7bpBTU/tOgnyo9Llyt109DPCOUpEa3+N7rdojbOp7baErCNty9i5+uY56muH+K54d01LptdIv9vW6HuG31e6vX66IO4X/8Pup9Wt0Ouh31eDmv13R0ur/X+7YxXeH4Tre9/l7rFtdtVLlW9Wpu6IW71qo0zuuUaruScvDr9VOn1Lqok6gJik26W60pr1XhSVNaJYVDToNOk27xe6vbQfeP+r3Rba/7W93iuE5/x7bW/bOmelJt65WyNKZPvX7q9FOjKZOSNqsWteo26ZUq3dapBlR6TpvKaZ00rbX0Ven8VtNWp7tWeo82/dakWoBaFQhC3UFzixrVpjzNKS29atJqzkG1i0fJFkdUUbVR6UxKZ1K1J1V/SvQa/Y5tpftrvQ7OH3Rb63bU4yr9jnqK8ot0QSnwaTR/nZ4j9mlwsEUgMae81qoDciFscFyb6DTJeuXyPK6UhtbBPuG+qC3NilUaV0pNp7QmTXMo02JXOrVPnea7U/vUaQnptWZ1WnvELkxae0bl0mipn7QmT1rvJy0zk9qHSevlpDpOyn1SOzRpOZq0tk7KYdJaOGn5mlSjScvJpDQmLVmT8po075PW1klrzqSletLaXCcF6lQrRC9cJdsn3D/bp1HvCPs0JOJjynWlaoJnq2WhUcVGtS+N2p9RS/CoJXxUnqNec9QyNGqJHrUmjloDRq0hYW+rWxzX6e/Y1rof9mnWM1By6/RbrXep9Ti0ojiuThRr1W3SK1W6zfapS9eBdUBb0Sa9unR+tk9onSstAdl2gUmjlITgrFcYNLewT12qyXNKS6+8a5ftE1KA63R6hOSo1/2DHjeodoOqPyR6jX7HttL9tV4H5w+6rXU76nGVfkc9RflFupBO5KpNZXZKuRlSGZ0TPVjnLpV7WEdpa+FnoR1pk+Vr9e5in2CVwLhZuW+XWuMhaT2mUoPyU6X7VqpDo2WiUTvSqB1B+4561GiaGrULvV69V50brcm9lqReOfZaLnqtfb3q2Gs56TU3verap+tM6T69bifdhv2DWoxB89ar3oPao15V77VW9lqvBrV3g9qrPtWTJtUT+JKiV6NHoQ708bwh+VitlvNe7YQwhcc8JjUaVTP7T6hLteZUSnKTct4nhWv9LjnqVLle79urMl06r9PtqPt73eK4QX/HttUtyjOYrJalNn2qk13JpRQWptYzJ73mpGkeUl7QLufSiXa5VqskNWvS0jbpeb2DfYJ9AcEp/ZZ90j71E5CSQa/UpxrVpZxkOwxNcsvfpvIDTXCE5KjV/Z3mtNVUtUl9/N7pfmwb3d/qd5w/6Rb7Zz0O90O9hcK1pg9Ko/2Al9OlktmpCnXyvuvkT9cr/nKbNG2T8m2qH20qxW1qG5rUbjXJQjYr9+1T3RoS7SmVLvQrq9QOVZof9Adh1xpND/ywZuW4Ubch17PWnjn1XMTuzFqSZ633s9qHWdM/q52Z9Xqzcp/VDs2a/nnlPr1uJ93K/knPmzQdY9qP+1Z6/KDbUX9vdYvrZvuULQbs+axXQ3+hW7l/tk+zphj2KXvROdeNqpn9J/htjaaoU/s06/XapHCt3yVHjV6z1Ry0qkyTzut0O+r+Xrc4btDfsW11m+1Tr3dGCUJ5rZPnXyd71iZ7LntFi1a3lV4Jecn2CX5+l6wD+mdtajVRGuDr5J52o3VjXrFd2SeFFapW8jJpLrN9gk84p7QgvUOqs10qR7VeZ9AjJEe17m/0OChQJ/Xxe6f7sW10f6vfcf6kW+yf9Tjcb1BlkPta0welYZ/apDW2OU8oy9AN1us6pn/Uba9blOZJvze6rXSLcoPz5HogDDsEa4WWaUjbTre9bnFcpd9H3YoHIukYkqUWT2RIv4/6Xe4zqEUa1CINqtyg1x20Tg6ajkHTMWi+BrUQQ/JMxnTepFvZP6V0DHp8o1vcf9bjcN3st6J9QBmXfMLDHfT8QXXAfcABXm+v+yfVr1bdK93Wet1edZPvTdJz1O+DblvdX+u20/29fq902+p+XA/HNfp7o99n3cKvQT4rTe+o2163KJezpn9S3WbdDnp9pH9WPXB8r1uUn1q3k943RzjkuEb1w36Ud5RflL9O74d0zrqF7ihHaCFGPQ9blAtJR6X7a81PrTrWqmuduFT6vdLzJv0Ozxznd/p91u+9bnE86l2r6UC6Bt22ml/oDwU7rWNSZnNPLPuOsDTZVx8S7aw32r7WIebQJPWaZI2blfvmuANSkLnWKWZXpXMrLf3NSsvb6bbXrViPSf2XUf0b0KxSD6JSMtkPr1KZrFItrpJdrFyOLqLsVEnVKtnJKuWqSja5Sla5Su1xlSx3lcpc5fqVq0zpU47e55QO6dwmfcrpm9MZ+W65FcWnOqVgTvfN/u+wokHuo+UUgHb2jseU5s5hfCB7RvB5m3RXsTltimNVrlqhM6Z9Q/rUpl/r9KlLv/ZpX5U+tenXfI98RpOOa9K+OX1COc3lD30t2C35BD+jT5ogLbWWMiEwp09Dum/OL9qF1VgWvLI8NiT2u1nROo9S5FGNOmmR25/ci85k55WrdCkl6ImgJNepfNQrJSq3cF3a16yUo1wuxfeZ1HcSNWdtqWY3q88zrxCvdE+lZ076HV46rtDp91m/97rF8bASbUpLTl9mCpWzLzUl1XLfG1ohui/2Mo/3oV3oE6t2hRpqUJUs4phoIdbVrNw3j7MMKX3ZSubSnMsB+ni15rpW21in/egDY1Rq1K2MJQgXjBugH9rrcb2W1V7P77Xc9Uq6d4hi1NqXR4SmTr+3eh/ZjxhUpX3yRs9r9L5N2j/p+Z0eX+kW9x91i3xA4TZ9yjV9TEflVqjT89H2IepQrzDNfT/kBmrm2BT68hiVmbWuSsnv3JgU7vV7p9tat7P+3uj3VreT7pfjBj1uTMdV+nul33E/tOFzOgJWK4/E5dhCjofOqaTVSe1Rt51eCXlBDcgxrjzGlq1aLm3IC+pQne6KklCl32D3mpU2F7mcNffwaJpkYWs3p7Qg3od6l8eg57RFDiVHve4fNKe9qj0k9fH7pL9jO+h+jEl3+r3R76N+b3WL41EfkXukq9Mt8tKkPOTo3ZDKMco4xn5F2+z15nGg3IOc06ccQ4RVGldKA/y5fF/4So3LsbMppTS3xbBtlUOktlf71Kud6dU+9Q59YIxKjbqVERVJz+QQ05r1u9TkKVl9tB6Vti+iy6Q6Tsp90jI+aTmaVLVJa+GktXBKsaVKW5dKW58q7Z/0/E6Pr3SL+4+6RT5glXJ9yx4LUjm6bJ+Qr2yfcEdQy5GNMakCNbMHli1Vo/doVUlRsE8K9/q9022t21l/b/R7q9tJ98txGI3t03GV/l7pd9wv26dOj8heVZM+5XF65BeeYK2twqR2aNJyPmntmlZ6KrCGuU9ep7a/VTverOQl26DsL9d6j/wbakH21+ekbqNXgn3KUZw8Htan0pbtE8pJr1uUJ8lRq/s7zSmO75L6+H3S37EddD/GpDv93uj3Ub+3usXxqI+tpgPp6nSb7X4eYc69iNwfhw80rdgseEioFa3LEch2hQ7KfpXqzOiy15R9Kty3S6oPKX0gUaX2rUpeWJV+xbgGrB5YoUahvwgPQq4FrwH9YIwzYiwA8WP0l1otYZgT02pJgH1GH7vVWoM5GRjZR18MerVamzGGjfYYMVmM/8N6IMKNeoF+R7tileAP1yv9BNwlxxl7vS6UbLVE5RG9NvWMupTbPBMtWyW09eiZd1onMbumSQrju9yn1pw0mgPM0mlUgUav1+hxtR7X6HG1KtKkba/bHCuZ9Mo5ptylT7BUea5G7i9Vemav14RabcpLHjOC99Im64BecOvqVAqREtSheoXSrPfAb8hB43IcA+Wj09zndiHfd0pp6VXr7AFD/U63bcqhXLfS/bXmtFK1q6Q+fkf8BdtO9yMqALqVfu/1e61b3G9SZZBSpA9KIy9NykOOguVxhjw2DY8Ls/DEZqF09y57TTnmmeewwSqNK6UBPlW+L9qCxuW5dbmFypEO+G2Vw1gd7EurNahV/wmRc9jrNh0vczGk9owO/UNJ1ag1edR6PzrMbun0PLEzY7qOcB81B6Peb9TaOmotHLUWjlq+RuUyajkZ1W6NWrJG5TWqlqPW1lFrzqilenR5vLpLuuYYEeYXNS7bp0HPz/Zp0JSBGiIi6JONLs88y/ZpTp8qvUetSkrOqqQwvktMGLN0Ks0BZulUqkCl6UFsd9bjpEQODrNoqrTtdZtj6Y1eOc+zy5/ynCbkF1a31tIwaikatXSNWrvGZHfQvtQux9Zrh94vbDD63GOyXJijKJRQMrJ9Qi3oVwgOqm6lVwKBHA+b06c+XTPbJ5STVs+f9AiJoEsdHFSzQb2RwU1Jffw+6H5sO92PkSHQrfR7r99r3eJ+kyrTajpaTR+UznY/98KuVWXR4lp9rmuHGdLSF0XLc73C6XqlRZBvGPO/Ti0jFM32HpYKSqNFQMlBWwc7dq265bnl6MHkuJ9sc/Qa7c918r7kf/hZ1w7jrfI/RtDhs12ntifbyWuHsViMyF67HFlHT0Wufe2k533tchwEcbQ8U/XawR+Qfj1mcl0nm4C5FNcr1lmYiyIYKbx2mFcHS3jthlSKrh3GMjHidu0wv67WknPt8vwDzFWEj4Q6hVp+vWLZrx3mAWC25bXLM2/hZ8HPhT+La2KO67WD/3Xt8jxxePnwoa4d5nzCYl6vlBwZ30bfBn0NzKa9dpi/jllV1w4ztjD36TpFYBD1ul6JuVw7zM3HPK1rhzlcOXp9naIFUo+EZhuf8rj5ZEfY8zE+YXzXUx+1g8crI5ObTua+SGnfcNL7l3kCoeRuOunZIIY3aDxCZixtOuktSJuLVkN6+jLbcYzH9NqLyxERGW+eYwpgwSRiKnGWTSdxUon6YxZvq610FY8QX7TS/myendRoP7z3x8i83Uq9tT7mEWNnXcyBjFjLODPGqqSNFku6qW1xoz3bOV4jKNOpjyKzsiXK1GiqtvwxlUNUf9SjNp3MfJw0jau2ZtZ2XYjMDrPqpTXu434ZBR5SnxezqBAF3dRWR+Jc4Rp4dmRS67jpMPNN/KZADN5ppR6FpEDGCzGT8jqmTI4ST7hLx8OnkzGlTTepjy5jFJKX1fEBmX0l7Cf1R7NPKqNQ0idu4j1lLg0sh8ydCvne1BRK5AD+II6V8bRN12hepfeFGK5YC6nRkq9WW2pEjMTPa2MJaRzmpmHOrZBotNctqRRfA+MJ4sFIfFlqkkT8xYuCJZu1pMrMMdFOoqNSH2XGssTcNtWDEk8YM7s2nMy6bzUdbToTMdCgQqXtuqSgdojXyuxkod7rfTGi1SkbmRUsR0hvEZ6b2AFJk4yXbDqJG2Lu5oaTOLXUgD6WokE9Q8zllFT06klUUYdGy460VOJTNdpXlPzIsyC91sdZLVOld5CoY+Py0x4Sz5DcScnC3A95AmfSs1q1LY1+w+yMWS2dlNBNl+MVEjGTOF8VFZA7YqxH5sDN0RZ2Wntz7FBKukRD2lg/xVYMDjHSKdWITSdz9qVm4RkPieyKtRQ7IbP20DMRGypRAZm3t6n1D1HWQVsDmXU3azpnvVubauagqZ8jIYlvIBIis+hklKCNV5DyLzP9ME4kT5AMqpNY7jqRnlVlpALzIuQ46c22yWpI7KFLNgzP+MhTKY1aMnga4kfLTLkuliCZPYc5tlIKhfOg9U3qImZtSCmetcS32rpMyQZfu9vWWM6flFjrMONdrtGrNZY+ch6VbdWqVaqTjLBMyRNotbWV2aqbDnPXZW546/AcjjyVM2mNGzR3Ui+vtSVsk03adDJ3Sp6NQB9N2iSpz00kgnkvmHNcOTy/iB7SppbqyqFXJCPbndoiGXuZtdXEPK02tbCD1s1GqY0xtY3Wf5kTsan1UGarY0yu07rcrxAWC5xjL5OWa2kboCOeIJBrjtrKSH0cNL1DajtaVWrTybwmKdM5atVr69ConZFYdZ5pJE8btTGVk95pdBjvh42R8YJNtWsy7pOf5Ji1ZrV6jMRd85M8k+ZB2NbauuU5SBtOIi1tTKPUU5RU9CcmbT/EJo9qJyuHOVUbrk75aNRajtriIb6y4WQuMErPqD6KtLjSv9hw4gtKCZ3UPg1agsQz3nAyN1BGjTc1t62y6x1Ggm4fUWnrMjlEQyRSWyu9UWvwrKoIb2ldxEqN6gFizuWs5axX77ZJ3mWeBS/2SeZINPFeMhqPJ4t7bd8mvYvUnkFbKcyEG7SUderBVLrN45nyHGSbLG4+Cv26Xi3zoBZLShcig1J7q+S7jKoBPPxO7VSVSuy4Ql5iXKP6wk2ynJNeeUPLcKWt06bWAukhDElxlHCxZxJhECvU6TEyF0EiQJ2WZ5lri7nKo1oD8d2rmOZalcDTj53WoEm9mVl9jhzrrLTcyW+ttvPi70gplGeQZJ7kppKQGiOeAGpUpT6M9CereKVJW1n8DS4/VTcqA7H+my7HVaWsdOmsTfXaMN43qteHut4qCbF5mGVbaa4GJSrj+PkZpUm167WObmo5z/MMer0L+kWYPb6h5ULiYp22fINDbFH85z55J63WrfxMi1jQUdv/TYe43qzlUSLV4ie0rk7qyPNis+rbaxkRFQf1gWaHkW2ZTyLebq3Wu1X7glhxrcTkCptaCmTuFKL0o5Z8eapW/PrOYeastOSTenzSa+q0Rc5PLjSakl59ukbPz6VMvMRGLafEWCf1JhChqNWioj+U263G4ak7Kat1qsOT2kXE/uBndGqhZaQHURQZkazVZxo0pzIijnG+0eGpH7F0rVootAAgMWirPTiMVmIW8YZau1b9LsxhqrVVmrWfI/0eyanMm5IcIKaJWVpj8sQn7Z1UDk/N/h4xhOxXyZMfs8Ooa6N+QK12alLtRocxuMfjAegrN2ptR61Pcv/c95cew6yWqFH7LXaojWq02qaLnRFPAr3A7CfAOsh8jk3Xa10VTdfrW6HNGVKZblW1/Gxsoz4IogzShmLe64ba7MphroPcRWpFo9apSdZsUosza4mRVGUrLk90SN3Y1LKFWfkbyV5UWlOlLk6qM+K5s3oyvXokiEdhZQQwbjTVjV5doljDSo4kvgrr0DpEJzCvt1ULISqK1ylPjcF3XcfCIRaOHiPs/KDtMmazSHuCXnCt18H4D54DntTSiQWTmf94/kNKjNjrUX1c+EGtWrBarSx4DupD5KeNu9RGwqqL34rnN2WsdtJWqlatpcVD/3lSmy2Rpi6WPTzNIHVO6nuvfhbilZif9Fg8adQWU9pzxCVn9bPQN5HRx059nNrlWBDWSYFXKfMWNvWq0rrmOW6DWqRWy/Sgtqt1iOQ1eo1aa/2gpQIzlh6OW0nb22m+W+2rdQ6j0dWK51Y7RHs7LedV8saEjFgNudegqZAjpK5K7148U9jBPA9MfHOpQ5VqjOuLfZeaPal9kJhx7ntV6fhGlepTOzU7jEd3WvPkuEFz0cTjpFWSyC3GuHvVFF4rfCzQy3NaK62hlZasKXkr93lD9/tQct6gdXnUVq7XtgSzqeF/rqYN5Qotj1iJ2SGKdxdHzMKRtmJys95r+OR4xMtnbX1F9exN3WQkJUmu2uh+rKIgUbBNh0hSrxZycIhF3PSpZRwCFkJS2KmdmbXejWrnpO3b1FrYaxs1aFm+VuvZaHu5+oceEpSq1Ieq1KZJHwtzC+SeldYWmTGO8QvM5lnvbyO2peLnikUQi9xrOz+vjCB8+tckKzdpmzarpZQezZZSu+vcQb0eKeESAZQ5WEL2oftuaM9kdjnKIVamUc1Xz5Yee6vtongfrXpoaEfh6TQOT/ghh31qUzYd1vF4vE/ca/uIlm3W1nlymDfy+X8bTiIAEmGTuGSTPLVVKnelefWvVcvSJ48lq1G5/o57t1qPxP/vtX2VvuBdx9/8u10C7s/J3X+P373XNlW85Vm9ihwLfKgkrqYLs8jv+xPb3mscRfoG0qPCcxiIrkjfFfNosTpLrXWm0folZRjzqMUiSQuX1RDPvlMPE6NoaEvFYvTqGW+qjzUka4D2ZNJ2XsrspL6/PKvX6n0mtUZ9SmXnMNaCVZ6yly/WFzFgRGfQ58AM6lH9FESXZv2lSn7yzRLSq8fTp/4Gnk+VSGStPnudarf0wDAetan3EN8A43lzarU3HVZV2NB+3qTe5GZq11ef34PXLGtQbaqOs8Nsx1p7poh9SU9A/Ij6k/xtqI9WO4xczFpWqlSS5Rli+EV5/YzWYQyjV28G9rbRa8u4GeJNm1rzNxzms0vLh1UkNpzMu560VIxaM8XDlPLbaCsmXgZG+jA/b1ixILJf+sCDtkiybtLNCNqoaam1FR91z+r17xpJxDMvEgFptA8vucd6FyhBs0P8FmP94U+imrXDfAK51qA9ijzPYta7YpxO0tpqqyD9rUq1Fx9PvGw8kzw7RL1HtVvo1eB5oPVGoKTO3hyBqpO/DpawiphPjliztDbibXRqaaUP3Gp9qR1GOFctHEZj4clIDL5RjySP2E5qkW+O8oj1GpLmEsfBvAGM8klrOSkFqVky9jVpKzRrjyD3XvBMRKUWRuiO2vZL7Fa0bbUkjeoNSy2fXX6GHDlo1fuetO4hviDRS4xbyEhzfvpP7i59aoz9iZ3HCgSDy2NMrVqu/Gww2qdBbTHGgjBT/lr9WEmflKBe7Q1mAg3q03eqK0bUMftZ4iaNtvHw1SWmiCfvJGIjPSPx/2XUe7U2SOskUdhWPULMUbjZcsJiDWqDMXNH/H/MARErXWtvpE72RNrGKtm1UXuQmL0v5b1S+12rx445jrVet3eIWkxqJeExT+rbSn9oU1tGSTHWmJR0tarHoCVE+hJtqh2r8yCqG79U6j3LKEuT2hE8WYXWEhEOjIJUes1Oj7k9CoK8ycinjGJJ7ArPlEpMstY6IWu+9Q4zYaSlk3RILwJ3lh7F7NC7khYFPoRY61Z7WNIWiO2btU/U67Xr1PPBuK60OY1DPxjHdFrPJK7WqYXvtMQj9or5j10qQ5vqO00uP3H86+ZCdOpziUXrU+rQSmHNDolhbjr0i8VjnbWMtW7T4QmlXts7sbCb2hZILA99EIn1Sw1r9KqIQY+pDGFWf6c9lbxaSuUwg0MiWVUqWfl5AunVwC8U/wKzWCV+mCNDndoXrHvX6dXb9Ls884i1BXK/QcY+ENPDM6DiaXd6fazWlNsUiZrlGFG18oennWVmTqethbSOtcNaWpPDmhdSGuRuYhMmh7WNW4cxTplhInayT+nHXITa5fkpnVpsaYEwYjBryyAxeYwRSTRFRr/GFY8Zlki8r1nbPUQSEUHDbBx42eKPSp8QZb9zWNWzc4hpTGrjQUiY1trmYJy6Ui8Sz0vVaoVmzavE33uHta0mpd6pn3DTD9hINhzcZm2HxWpivFzKKCKek4P3jzmqQ/ISpQVEZENqIJ7EEh+p0dYO/SewxwymyiH6WWlty0/pNqm9aLSWSF829yDGVK+lBKF9wPyANqUTkTCMYs7aask8lc5hdij61UJYWoVGey2NwyyQIdWBPBYnHoKMYmHV4Q2H8bkmlgqZKyitZLYkUjalBzBqKUfUfkgpx7MYmK+FWWeNwxq5iI2PLke7kDOh2qSS8Fj/e0NbU5lPMmiJET8Ma0VI5B9WrNHWc9QamK3FqNYCs1YwslA5rIaKMSnM0kKbuP5cNYzryupK6FW3WkY7hxXPZc5ro3lqlBfmnz82V018Z+nFNZpGaefEH5LedeUw03DUEoQ5StcO88Tz8yuj1uncHjdaw/BsvaR8Sv77sFI+pP+ZRzHyHEyJmEvvSEon5jng6UqM0YvnNGr7h5FBrI3aq19WOUSbMdqGNcLm5BmjjyP+9ezWmZWGWdJN8oZkDVhED0WzzeSlDA4RzWzVpLeB3iXmM7UOTwr36gk1KZ/oJWNervhEsH0yFjOpj5mfEpGYQeMqTWevXLE+CCK6s9b2Tv2+1SeBK7VyGDms9b6z1hhpNTG3L/vxncPIeav1GW22+JFCCiubYKZLo+UYtgzPusE3lPyJ79NpXcZK44/NR5OVXVqtBVIy4engSYg6pap1eS7P6PD8icTApAcu7bxY587lVRar1IepUu2ftDXFGofoC2NujvSU8CTmhsP83DGVEGn5OodVFDYcnpCa1fPMs9awGuHSs9Iwf6XXcoDoEmJl0qLPWpdlJoaMIdQur/Yyq28qfkWneZd8iYcjo0Kza1Y8g0l9ofz8HmYwd1oCK21f0F9r1EtGmy82K48OZ39n9U5SAmuH52NlRF4I9NpPwupfGPUWDxHjA1J3J20bMVL++LMYYkUnrY2YByCRdqmLDz2ZUKsFkD6FWEHxAfBc7ePPLoh3P2qrJpHuShXA839SZqT129QzMTaFeGmrRAe19rgubBpKN7RA9EF4YWW5DW2nKvU0MCt/SpYNlrhX7hK9vDkquOGwptnoMBNBat7ksIZrttxD6gNVqkDnMANLeqt9Yis9sUFtKp61fIp/q2MSjZabTfUZYXnFY5y0ncOqmfkPq4E1qlyXON81WvHwH0YKe/XuNhMtRKLX+dtwj0e0Jfe3Y9Q3r/Jbxi9Xr/N43FTyPjrMdMJMGUQTa4cxZInxY7wA9rBXfxOxIJTS5kbqNpw8iSGe4aAtEEbAW7XYs/oU6JGhxXk8gvq4Dg9Hij7v73Ou9ltGk2+WiMeiJb3DKESl/h1iPJ3DHPNK65JEmOQ7nggYteyvkpS5nJV6pWK/8TQjejQSQd90GEXsHHqfKOtSBqUN3lRfWjwo6bWJT9E5zLCR+RKYnwWb+ng05bEysNoT3lB7MiVfFPE+6dHebzFu96hX/9bp60qNe7wnm/9+y6yCVQXW6Un16t2LvcCMMymBQgOzSDFjdHRY4R3z1qXN3HSIXQ0OcWpYAswkmV1+kmRweOIao5itw2xJKX9Y70lmbOH5llX2KEnSi630rPZGP2fDjeo5YSyocXiCB/0YzDN6qDf00N/neGmj/vXay5g076BwP8/173L7zHV8qvD3uDd087rrz2DBU8Di+2FmlYzK5qf3am0F8tgynijCc2kbrlGvT3htahmFz5TX3Rq01W219MKPbT/RBxFGrPoHzy3HLlutTxi5xFgCxgla7X1I72/TYUX+WtsIzNKd1P40Dis1bTg8M9FqfqS3M6g+ed2zRnuBmw5zbPNz4uhjixUV+4JZupi/vM4xubzIHNxeW+pGvfn20V8xU6lR+4UnZYQYVodb5xi0OYN6h5W2J1hz5uFfseaP9GPE+mxqHcCKJ48fIdYYbX2t6t9fR1dtuJQ3jEZuOqxFMjk8Hb3psNbdoG1QpzUDkbONB66zceeVNu651oZ7fMbrQ8/1flrzb9YZzFee1KLIuHheXXJKWkv9kHk1t/0geQYh1wU8LyMea37q6tMaPKjll2NmPX50WEmo1hrTp77xrLZFfG6sITVoSyitNerdp/Ze7jqp9UKUF+ucSI9aajvWZYCPNDrMhZdREvHQZ/WT8VY46ZvKOEynUaLp3r33txmPzS1f7xjEgKvUe8UzyXlF4VmtKyLr8NfwrGajLa6UOUTg0I/Odufh+2yscaeNR++14R6fDQ/KWJFS4q0SC8BM39VVWfPKADKCI1EqrI8r9rJTC9+q3cU7uOBHVuoP4OkXKYESaZa5ebNrXXejRG6k6ID47Vhj+b79UgZlzB4zCeQTRrjbtY749A8rUOO9fnherde2S6wRZrFhVQ5p63ot0ZJnaWkRscJM91FrGdrL26nYUL+oVx8Oqxh2SW3EA/FUQV7jB7OdOi1p0lYPLs99RJQaTw2KRzE7xCFa9Rgxy29IPg5Wid1wWCVLPDmx0XjOB28nkLdAyHharx6IlMzcJm04icm26o10ag16hzla0hJg5letbQVme+DdNY16TvJUtUSBJc6JFeo31HfCjExpU6SHi3F1mWEjcUSJQGxqGcDsAkSRJQ/CEU+gzskjGLSNkFZKnsyc1VuuU9v28DN2G9qijQ6j9cK119KL+ZDSvx615udVusQK1lpWK60FWEUG8xoww2B41BfYSGVKrIeMQGH+dZ+88E2HdZzl995h9miX2jKsIoyn8mWFgk21YqPD+v6rf1AVz3ahjfq05mCtiNGtznNrtS5ifBDv3pJSO6n1XY1x3q8Eanqb6LRqIfCmBYyRycgrZn3VDs/8iv3If5PW0vxU16A9lcblsYVebcLtfNd6b4nRNOoVYz1paR9Gl+cNIWaRVweTOWt4Rh5PVyLOe/e1N9a4+saD18dTJA89lXeX/lhfstU6I2MwjfYnMTOzdeiVbTqsxykjJpPWiNFh3qL0h27qKvNiZMxZbCDWaMFMZonNYF0GjBtfq90QC3bzr3ZYOfnudLR3pAPjSZXDHJDrFYuC9lquhyfCET2Tuaijy2O8g8Nboepk9cWf3NQjZWxfWnN4vKP2tWSeVOWwzuCoNQH2Z1AlsN746DDGLqPQYg3EK/u0HN+s73c/Pf94RPzuP5lngzGUPFKNldM/vf/d65Gt/sms0bwusFjvST2NWfOKOeMytid2oNJ2AeO8lcNqBYO2ho2WJsxImd2nsZv7/aKHvKYN9/jz2+IxPt7urtOm3t9ejsnKPH6nddrvh1vnUevs421vpXQxD75yGDOWNlcIy+yBTls8zP/6tCTJjDaxQI3DPMJJPbL8LHyjVh4RyE7b/E97bRsO88nwBDueN8Y6nfDQJK35yYBGfcbbUWdRScbvMfKT57e3LkclMLqT39CIZ+1bh3mOlcuzuFdbKfAT/VvtWWOdTzyXgBFmeHaz2h6sdbp6xV7/Bo1nIFV5TZ8mnSmjDHiH6qyek8SzRtUTsXXMa0L7jCcHJHerduuutRbP3YXfc+H3nKc1Fq9/9T+xQe1ae//If3/sHfPVH7/P8nm3/O/z1Pj12q1bDpdKz+9Ten5rah/as/5vd+1/Op/+2Bz817n6Q98eK8HlKZcsXb9Ogd+q2x+hu12WFtX69bWr/KeS6VmnfXzMzqzbxn5u7f2c9ns96p/Xjn9u6n99rn6b5frtvs36ftbvUfd+f66/lumv99g+r658Xu36PevuEnR/jb6/tr5+rk3/dbbt80rOr7cfv9+9fuu/dcvFH1+q+Ymf+OmP+fRrW9Rf3y6Uz/Pn6PB0Pq1nd/8rafRHl93f5gfZYP5f5dN/xbL7eb7s5/mr5XP4uam3VmL+u1vW+718lksbrJcpl5/fv/utV1+/t/x5Zffz9titnevXsd9H0c+jaKdG/jEl9vcrV8tbm8+x6et4KL+W/WO17Y9V7I8oseuq8ZjN+2MsrU3drNZy67p9Tp39o/LyW0mWrIPL293/vp/+CB1+7/KyVKrW9RU+p539o8r5H+OJ/f6Wb+nr/NayE+b8fjrH96/uo/8U9n4bf9lzW+7M//3o/4Xff91zC/zjH//4xz/+8Y9//OMf//74v+DjP+zPhyNexSP+lp7/C3tl37/HXsG+P/bYnfrvx/68E3068Nj9v3isrPckvQnsC72IPX9G+PS93/OveK/n/kr7/gqX/hoX7k+u1rUGKvcXn9a7f+3v/RVPVT/0a33Pr50+V373r/ODqZr12ef7fq0fPLd58Nf2wV/vT7M8Wd/ck1+sYHzfuQ/lt1W+9/96f45a5XD/r/fnSJ4Nvv/X5gEKsoJSd8+vovJ952IV84d+bR78tX3k17sZya/3pxmr4N//6/jIr8ODv44P/jrf++v9ZQO/3pdfrCtx969Ybf/uXx8qsfj17vu+cP/p3rvX/lvYG2zjXUe99se999bv2B367XO3E//fXuPYF37/Wfx+4D743x8/4437+pHj30Zb/HiqcdxX7p/+mPDppd/z8LE7fu+V37Y+1d8+eORubB8OohLnMV504f+/64yv/eeLeNx+bDve+zbnF98arHfs1/4+vyQlHz7n7hTj9xe+FduN29DyHcRW7MRrs945lzE6FtR+OJc4I+TxyN/hg//3mDI456VP04E//p/+zLvZ3z7jlftyreNCGVvnuDf++3qKfOXT+UPM255P9b/WOued/3YUlV/n6G3vg6x3XPBfvov6/bxmGcjnoHasc9aOT/vJmsfuxvK790g5x9Ffx2NPHjl2z5ejo0eOCSX0o///4aNuWqXHy0c48nClNr6Nnt/jdfL2edt++3BZeemP2E9l6+FjX/ucnvrjjx9JRbCU5zGte9Fm3m0DcfQ7n6/XjxxxGHO15X7yvwVfOPC+9NtTn+6H0yx1IDNY13rePu+Nv++ep7fOOVtRp3WOlLZIWoF1jpfW6nPzsOtL/fMHj3y8nMgRj5dcHIcSKK3m42cE+/CD/3voSLSWj6Uh2A2U02Bx9mLL87Ad2Yl9rQt/xqX//fFjrz6zZcvnrNuy4YzPadlwzvotG854rGXDcetof7VWy4YjP6dlwznrtWw4+rGWLR+3fsv26TnrtGw4a73WCkev01rhmEBSynsgcP5IefnGXdyy/VvxCPn+J3/eK3+dQPOd+8Jtevbbaxz177GVffy4V740vVnjuNe+/fvbGsf9h//9/I7jXsTW8zxamOfRymzeOvcvMYKSYyV/vbUeE1YWl5VcZUXa1l2nFRLlPc2Vu9bVv2SdaFlJSt5pIO9JknXe+nikrM3d6aq48tZNvPNNVsG9jv0wGV+WtdvwxuH8bqxet/IrVvTEe+sr3coI9RyPuXZYFz5ca3SySqHskf/xhnVZp1jW0ZNfZGUsOR8paJ2sjCnr14WrT07WuJfRblnXWd4XKOvTXTt5Z4K8iS6/IVPeKHetK4nKm1LxzvnWXTu8RU2uLHeUVIpiopPkVY4RhWWlcVFKiEiusZq2vBPk2uGtTJIjeQdp5WSFz3CkvGNTlG6drJUvq5vLqtvXumKlrEcm75jpdR3T1l3runiy1r2s/ijvzx20VEiqJOWSqmvV41rL2XWMB921XtifV2J+N397Hv3TM18XnrkN/y/YhWApnmn/9Dzah2+9DZOW6aN63WH/i3jmafxf2rpnvraEq8OzC0eFNv5K28/Vs8UbPYh1L5z5P/1Z4hk987Xvx3jOmf8V5zzzViPsufI1F9d+5e/1o2/7wj2fxTuFVPwzpedbzdE//Tnnsc7v63liBf/s/leyhP/bH/tjzPm/x6NP43658o8+pdi/7z+987+KMv9csZDPkiLP1JL86I/ec4jNisKvvX29qe7nXwOtyep10NYcRA/lWcxjiBscxLP+l/bzoff//uTO12r3Jcfo31xHD+ksWr+L6OP+EGntxvtcRu8mpE3SIPGIZ7dalHO/ZyceH7yOq3SVsP8wpvqj/yRRjmfR4zvTFEGBn1OJCmcEfaSkfRupSL9JlJGW7tt4pHiEN/P13DPfWSkrZ06iNqfxDrdVyJ7EM/X1z1JpfO2v9OKenK1/lVVv/Tr6T880+nS4ktqrqFX4tn3HUbhm0A51+U0sZdDm03Nu/56vIfXymfrmz9RXv5nSZ550LpMhl59/hV13obX0+tYvX/pPP0S2YI341n3W5Fmszc9iv+9DHOv4NvbIzlLJXOUh/eUNTfGzZImEy7cp5RLNuzv9j6XkP/zZx8r4b/rrZbz+Q+c+j2XoOFpQ1LTP1UBS+WPst4u+4Y6rZfA+i7w+hftK95uo7D+jZmHPx09Uu1kXb1sJ6e1l+3DX8Wex7QrpumnRbh99u6atRxk2We60aidEL7QRN+uPpOVCWyypD+taAMQOYInvKrFS89e1WrfvAKtwfE/axZLdvMZ92txm9FDNelz7XLegwvW917idixfRoznWe8voprT3B7HtEhVhZS7dRTz/X2qxz9WXkByc6TmXesSup7WXauvDv396vb/FvoSU6r177nmzRAjLcL0jLc/H8bibHG56K9faUkKfFzdKRNDrMpaTI1XjWfzlW61HEis71xL3o1qOu/28u+zFM+1/ii+56p/czulX0S79qJ7Cv+6oU9d6rXDly5jSjZj+v63YnPN7jrodZbn7KIkigMZ997vpP30V9drz1zxIub77zE89zLt81bvOfKlxqPMVOlt61MW9Z6E3f77ie4v6991lNd4Tvoezflb/8CHdbmuy/pk3I1nPUi/7MnJ46MxX8Z6XqsaXqssPD56DUgJPPUdQ7j5+tfZ9SmrVot08+9zBh7/PDr+I9fNiJSUov7lUr3PUOmXxsausx/1z0/LrrnJXL+zx9D9WOx67wu2acn</a:t>
            </a:r>
          </a:p>
        </p:txBody>
      </p:sp>
      <p:sp>
        <p:nvSpPr>
          <p:cNvPr id="30" name="WORKBKFUNCTIONCACHE1" hidden="1">
            <a:extLst>
              <a:ext uri="{FF2B5EF4-FFF2-40B4-BE49-F238E27FC236}">
                <a16:creationId xmlns:a16="http://schemas.microsoft.com/office/drawing/2014/main" id="{7310C003-084B-4170-A082-4F8D9C925316}"/>
              </a:ext>
            </a:extLst>
          </p:cNvPr>
          <p:cNvSpPr txBox="1">
            <a:spLocks noChangeArrowheads="1"/>
          </p:cNvSpPr>
          <p:nvPr/>
        </p:nvSpPr>
        <p:spPr bwMode="auto">
          <a:xfrm>
            <a:off x="2344277" y="3026851"/>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Gjrjx29qe25bEzHiqHj517O9L5+BmP1ZTHzscIGvz3h49ev848dKXP73eF8YnVtuv6hjcSUgaPYbWtXIfuTQuVe9I3/aA8qnWgKbjPn/10ZOu2j/qpTmF8MBA8vtXLR+pv30NGu0T3/y9eH6NeuWWGVnkU7C6fcnUcJJ+Tx0MOosWRfNw8czUufKyKPuyLB89C4jkX6nVIL+G2OiFNG75nf6bpwXF3RS9uR3seU+72WOb9R2arsRdtHq58d9ToU1VXR4ouk/V4TCMpn7nPGuj+X7X58m213IPXF/F6B7FM3FVacj2ScccQTflXLOmS1h9cjpSt6vFpv+dmj0AswmU8+jjGW9Y7B30NRIruatlQF296yajl76KGYP5w+fjUa71pI+4+5q6rrZuSm9dHLh+ON65aph817nM70nBT109TeDeRl/Gu2Rq90H7LP93BZ14Z3B735u/WD0o81J+53eP7T3cQU/vszrPvinP/93w+7nNmEt8/a/jP6dzd6FWcxTIjvxzGNirbwhfRMh7F3/9/nCUMKA==&lt;/compressed&gt;</a:t>
            </a:r>
          </a:p>
          <a:p>
            <a:pPr algn="l" rtl="0">
              <a:defRPr sz="1000"/>
            </a:pPr>
            <a:endParaRPr lang="en-US" sz="1000" b="0" i="0" u="none" strike="noStrike" baseline="0">
              <a:solidFill>
                <a:srgbClr val="000000"/>
              </a:solidFill>
              <a:latin typeface="Arial"/>
              <a:cs typeface="Arial"/>
            </a:endParaRPr>
          </a:p>
          <a:p>
            <a:pPr algn="l" rtl="0">
              <a:defRPr sz="1000"/>
            </a:pPr>
            <a:endParaRPr lang="en-US" sz="1000" b="0" i="0" u="none" strike="noStrike" baseline="0">
              <a:solidFill>
                <a:srgbClr val="000000"/>
              </a:solidFill>
              <a:latin typeface="Arial"/>
              <a:cs typeface="Arial"/>
            </a:endParaRPr>
          </a:p>
        </p:txBody>
      </p:sp>
      <p:sp>
        <p:nvSpPr>
          <p:cNvPr id="31" name="WORKBKFUNCTIONCACHE" hidden="1">
            <a:extLst>
              <a:ext uri="{FF2B5EF4-FFF2-40B4-BE49-F238E27FC236}">
                <a16:creationId xmlns:a16="http://schemas.microsoft.com/office/drawing/2014/main" id="{720078BC-5008-446D-B98C-CD755D76094A}"/>
              </a:ext>
            </a:extLst>
          </p:cNvPr>
          <p:cNvSpPr txBox="1">
            <a:spLocks noChangeArrowheads="1"/>
          </p:cNvSpPr>
          <p:nvPr/>
        </p:nvSpPr>
        <p:spPr bwMode="auto">
          <a:xfrm>
            <a:off x="2344277" y="3026851"/>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lt;compressed size="651798"&gt;eJztvQtvHTe2ps2fYkwDgxngk7ruF3TPARwf2fGBYwtS0oODRsOQFamlJFYU3ZIe6Md/JNd6yS1Zl+1cikvnvBDs2rt2Xcj3IRcXF1msv7pDd+lO3L67cMfuR//phdvz347cgfs391f3rf924f/t+t8u3Zn/5cA980ftuY/+0/9x/8O9dK/dW/fc/3vhtvz3Z+5DvML37p/++B/j1b91p/7TVTz+ufvB/73323DPa9e4yv/1/tPf3X/6a+75s/7hv/1Pf9SF+4u/c7jnSdwfUvjM/c1vD9zP/oh/xiPCmW9j2g9unLnl94RcXbh/+bNexPSfxWvt+z33nf13n58XbtufcXPvr/v2P6KKr/y3C5/uPZ+yS1X23Kfs/8XPtevc7Ea/788re//qFd7zuoVP3/s9//K//dsnavxJdbyM1/5LUvBPquvk9237fXL0t37/d5HIX5KKf/oMpW9qGu79yr3xLN+4d+4Ltxl1+8tKPvO1t+NVD+LZmcUz97W/z0U8Pt8j5GhfS86Fv0atean8b8LmTyuUwhVOvdZ/iVc992f86JWr/THbsfx969P37z7FV7eOaPwRku6b+1u/fzfm8MDvu/lb538LOQ6l5r8viZ4kDJBofU5mkjBDoiYJAyR6thMmSHT+jyQskOhji92RRHESo/Z0SMICiZ4kDJCY2bMzRKImCRMkatYJIyQakjBCoiUJIyTYs7NAool5aRh3MkCiZ1TcCImBJIyQYM/OBok29ibYs7NBgj07KyTYs7NCgj07KyTYs7NCguPYNkg09J1MkJhiTmqO2Rkh0bFOFCchMXFaJwskepIwRKIhCSMkWpIwQ4IjRTZI0HeyQmIgCSMkRpIwQ4J9bCskBpIwQmIkCSMkZpIwQILj2JZIsGdXnsTAOmGKBH0nGyQ4G9MCiZGzMY2QCOOnXLfDAgnOULZFgl6sBRI9SRgg8cLn6r1X/iTuDWvtkUhZIkFzUfPQb/M8g/cc1TPK6Lnbif9vk4spLnJu+H7gPsQzSMcOnTf+HLKxyeYrf9xHv/+9e+mvR5+gNJ237iDSgEUL/toVqRihIt7ze3/OnvvFb0Vp8rHEJxx74o8kExtM2MLY5LLt/7ZIwwiNHb/3ym9bf+a3pGKEym487iD2+c/9X9h7TjqF6ewona14jRN/99Dek0tpLnLMe91/Fgn94tUnF2tc0H+R65CPFT5s+e2w+Og/nTnGK60QeeHvthu3e1GnM233yccan6wNfTJrdIJHduTT8CGmg3ys8XkZr3Tsjz9i22OOziv3JZkYYxIYkIktJm/8d3pm1qh85e//Q0xDuOa/yMcYn3f+21HME8nYIrPt70Am1pgEhb+LPvPPjJwZ5oMZACRki9COXodcbHHZjaM0exw5M0fm68jlhFzMcNnzmhyRhxkeQY0wckYiVojwyZinwIVxTJt0juOszHBNxsus0Al15nBlFtNbv//EcS6TZUasQdbonLK2mOHx0h+37zA6w3pihctrr8WpP/aYdcUQkxOvyaVGYkJaScYOmauoz0WK/zOGaYXOzVUYZCYg4wFW6TAaYI2NrJshz2mSjA0y7/x5r0nDDI3D2Offcj/53469/mEs89JvT/357NXY4RTmmeUoJ59tts/ojU/HnvcNyMcWn60YISAVW1Toq9llI9402xy7hFbH09jyWKUkCh+SizEuu/6uz0nFCBWOO9ujweimRSaYqSFrnJKOJTpB3R9iXknFAhWs1kg7ZomJnE8ednhg7kx4BjB8Ih9bfIImZ/6XfXIxxeXKcZ0z+3yyNoxhWqPDdc5s8+E6Z5bpcJ0ze0zY17THhOucWaTCdc5s8+E6Z1bJcJ0zi0y4ztnT4MN1zmwS4siATS5c58wqGa5zZovLbtRj331PIkaIoIaEWJmMbIZYwDkjzcYIhefROW/GCpNv4p25yokNKuc+L33MzRdk8RtY/N2fEcr0x9gO7MVzwxMU/7hD81rTXFHxRRXvqfiCirc+xTMVX1zxmoovqHhPO76o4p3/o+JLKt7HlrOj4ospPsY091R8UcV7Kr6g4jN7QAUUr6n4oorXLOMLK95Q8YUVb6n4woqzB7Sk4k1Mc8O4yoKK94zWLqz4QMUXVpw9oGUVb6M3zh7QsoqzB7S04uwBLa04e0BLK84e0NKKc5xzWcUb+iqLKj7FFNccA1pY8Y5lfDHFJVZLq7Kk4j0VL6B4Q8UXVryl4osrzhGJZRWnr7K04gMVX1jxkYovrjj7nEsrPlDxhRUfqfjCis9UfEHFOc5ZQnH2gJZTfGAZL6I4fZVlFecsuCUVHzkLbmHFw7gbn8tfUnHO9CyjOL3DJRXvqfiCir/wqcd7GkO+D6j8QsoHbUW1Q7/N483vOUpUmMVztxP/36b+RfQPCpzF7wfuQ7w7KSxP4Y3XmAzKMsAq8GG9/gO2zYtReOvPuFixRME/uqL6C6svXml+m7goSg4lOIT1X/nm0OW1ZwtQVv9t/7dF1RdWfcfvDe+OaH06+JaipdXfjecfxD5weAtB2Mt3ESxFYUcpbMUUnDh5Yzf1X0r/oOlFLPth/5mT9z/zvULl9If/L70xcliaA1vg5TX/6D+dOcbdllb+hb/qbtzuRT3OtP0lh1Icsgb0gUpRCB7QkT/+Q7wfOZTi8NKF9zMd+3sfsW0oRuGV+5LaF9I+aE3ty2gf3kpJT6iU+l85vO0wpIhvPCzF4Z3/dhTTTgJlCGz7K1H7UtoHJb+LvujPjAwZ4IARYpIoQ2Inpob6l9J/N44S7HGEphgBvL+e+i+t/57P+xF1X1z3kOswQkPll1aeTwZY0p/xuLIUjuMsuW1/HuNBS1MIdeBwZXbK23gG56hYYMEaUYrCKUv/4rq/9MftO4wOsNwvrf9rf/SpP/aYZb+A9ic+75cagQhpIoHlCVxFHS5SXJqxuKUp3HxaW2ZssX9cmgJ7x6UYyHP08hwZCSxL4J2/zmuqvrjqh7EPvOV+8r8de53D2Nil3576a7FXsDyPME8oR+v4LKUdFm/8OXu+jSaHMhy2Yo+Z6pdRn75ReQbipbJNKE9iddyGLUNpGqLkIfUvpP+uv/pzqr+w+hyvLKc6o3QltceIvaz1RwolKAQVf4h5ovpLqo9Vzmh/SmjPpzZK6Y65EuHZpb14LjmU4BDyfuZ/2af+RfS/clxnyA6HrAFjcaUocJ0hGxy4zpAFClxnqJz27JOV057rDJVUn+sM2eDAdYZKE+A6QyW15zpDtjhwnaGyJBixLqs/1xkqTYDrDJXRfzfme999T+UXVh4lPsSCZKQs9I3PGRktRCI858p5Ektr/008iqsbLKv+uU9zH1P9BTVfW/N/j2si3lQdV9+O1xUv/pmTGednquRFPD7f5TaNWnNTkYURFj1ZmGDR+rzMZGGIRU0WJlj0bC+MsOj8H1nYYNHHtrsjCwMsxpibniyMsOjJwgSLmX09UyxqsjDComa9MMOiIQszLFqyMMOCfT0bLJqYm4bxKBMsesbMzbAYyMIMC/b1rLBoY++CfT0rLNjXs8OCfT07LNjXs8OCfT07LDjebYVFQz/KCIsp5qXmuJ4ZFh3rhQEWEjGnjbLBoicLUywasjDDoiULQyw4lmSFBf0oOywGsjDDYiQLQyzY77bDYiALMyxGsjDDYiYLEyw43m2LBft6FlgMrBfGWNCPssKCczhtsBg5h9MMizDKyvVAbLDg3GZrLOjT2mDRk4UJFi98vvD20aDIAZkUZxJUFz0P/TbPSHjPkT+zlJ67nfj/NskYIyPnhu8H7kM8g3ws8XnjzyEdq3Tw1ovwHpIDegcG+Lz1512s2LXgu12Rixku4kuHFdP33C8Ob5AhIVuEwrF837AlKmxprJLZ9n9b5GGGx47fG94H1Poz+WY4O1x243EHMQ4Q3lET9p6TT3E+O8pnK17jxB3Hlp9kypORY97r/rPI6Be+Yc4kGfRn5DokZIcQfQBLND76T2eOkUw7TF7E64ftXlTqTD0AErJHKKtD/8wen+CdHflUfIgpISF7hF7GKx3744/YBhnk88p9SSrmqAQKpGKNSnjXM700e1y+cngbcbgm30hsj9A7/+0o5opsrLHZ9ncgFXtUgsbfRQ/6Z0bUTBPCTAEyssZoR69DMtbI7MZRnD2OrRlk83Ukc0IyhsjseVWOSMQQkaBHGFsjEztM+GTN0yDDCKdVPsdxJme4JuNodviEenO4Mufprd9/4jjzyTYl1iJ7fE5ZYwwReemP23cYvWFdsUPmtVfj1B97zPpiisqJV+VS4zMhtWRjic1VVOgijQ4wummHz811HWTuIGMEdvkwQmCPjqzFIc97ko0VNu/8ea/JwxCPwxgH2HI/+d+OPYEw3nnpt6f+fPZyLJEK89Jy/JPPST8FSm98Sva8l0BC1ghtxagBuVjjQr/NMh3xrdn2WGa0OuLGFsguJ9H4kGTMkdn193lOLma4cHTaIg/GPW1SwZwOWU2VfGzxCfr+EHNLLja4YE1IWjNbVOR8ErFEBPNswpOE4RMJWSMUVDnzv+yTjDEyV47rqD0FQlkdRjft8eE6atYJcR0123y4jppFKux9WqTCddRscuE6atYJcR01u2y4jppNKlxH7akQ4jpqVhlx3MAqGa6jZpcN11GzRmY3KrLvvicTM0xQS0IMTUY/Q3zgnFFoc4zC0+2cY2OHyjfx3lw7xQqXc5+bPubnC9L4TTT+7s8J5fpjbA/24tnh+Yt/3KF6ramuqPnCmvfUfFHNW5/mmZoX0Lym5otq3tOeL6x55/+o+bKa97EN7aj5gpqPMdU9NV9Y856aL6r5zD5REc1rar6w5jXL+eKaN9R8cc1bar645uwTLat5E1PdMN6yqOY9Y7mLaz5Q88U1Z59oac3b6J2zT7S05uwTLa85+0TLa84+0fKas0+0vOYcD11a84Z+y8KaTzHNNceJFte8YzlfUHOJ5NK2LKt5T82LaN5Q88U1b6l5Ac05ZrG05vRbltd8oOaLaz5S8wKasx+6vOYDNV9c85GaL675TM0X1ZzjoWU0Z59oSc0HlvNCmtNvWVpzzp1bVvORc+cW1zyMzvF5/2U15xzRUprTV1xW856aL6r5C59+vD8y5PyA2i+mfVBXdDv02zwy/Z4jScVpPHc78f9tEihEIGhwFr8fuA/x/uRQgsMbrzIplKaAVejDGwMO2EovyOGtP+NixR4FX+mK+i+uv/io+Z3noilJlCERVp3lW01LqM+WoDSBbf+3Rd0X133H7w1vsGh9SvjOpOX1343nH8R+cXgTQth7Tg6LcdhRDlsxDSdO3itOAssRCKpexPIf9p85eUc133JUkgD6A9I/I4nlSbAtLqH6R//pzDEit7z2L+J1wnYvKnKmLTFJlCORVaA/VI5D8IaO/PEf4h1JohyJly68L+rY3/2IbURBDq/cl1S/mPpBbapfSv3wxkx6ReX0/8rhPYwhTXwXYzkS7/y3o5h6MijFYNtfieqXUz9o+V30TH9mxMgECYwkk0UpFjsxPSRQjsBuHEXY4xhOQQbyHvcTEihAYM/n/ojKF1A+5DuM4VD75bXnkwW2CDBSV5rDcZxZt+3PY5xoeQ6hHhyuzGV5G8/gjBYbNFgrynE4ZQ0ooPxLf9y+w+gBy/7yBF77o0/9sccs/0XUP/G5v9S4REgVGZRgcBWVuEhRa0bpludw8/lvmePFPnN5Duwxl6Mgz+bL82hksDSDdz7/r6l7Ad0PY794y/3kfzv2Sofxs0u/PfXXYi+hBJEwryjH8fhcpiUab/w5e761JolSJLZiL5r6l9KffpIFCuKzsm2wwGJ1ZIctRHkeouUhCRQjsOuv95z6L64/RzVL6s74XVn1MbYvqwqSQxkOQccfYq6o/7L6Yy01WqEy6vO5j3LKY15FeAJqL55LEmVIhNyf+V/2SaAQgSvHdYwskcgqMEpXjgPXMbJCgusY2eDAdYxKqs9eWkn1uY5RWf25jpEVElzHqDwDrmNUVn2uY2SNBNcxKs2C8ezSBLiOUXkGXMeoFIHdmPN99z21X1x7lPoQI5LRtNBfPmfUtBiL8NQs51Qsr/438SiumbC0/uc+1X1M9xdUfW3VX3l93tx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byfTXl+ewon614jRN3HFt+kilPRo55r/vPIqNf+LY5k2TQn5HrkJAdQvQBLNH46D+dOUYy7TB54cKbwMJ2Lyp1ph4ACdkjlNWhf2aPT/DOjnwqPsSUkJA9Qi/jlY798UdsgwzyeeW+JBVzVAIFUrFGJbzxmV6aPS5fObyPOFyT7yS2R+id/3YUc0U21ths+zuQij0qQePvogf9MyNqpglhpgAZWWO0o9chGWtkduMozh7H1gyy+TqSOSEZQ2T2vCpHJGKISNAjjK2RiR0mfLLmaZBhhNMqn+M4kzNck3E0O3xCvTlcmfP01u8/cZz5ZJsSa5E9PqesMYaIvPTH7TuM3rCu2CHz2qtx6o89Zn0xReXEq3Kp8ZmQWrKxxOYqKnSRRgcY3bTD5+a6DjJ3kDECu3wYIbBHR9bikOc9ycYKm3f+vNfkYYjHYYwDbLmf/G/HnkAY77z021N/Pns5lkiFeWk5/snnpJ8CpTc+JXveSyAha4S2YtSAXKxxod9mmY741mx7LDNaHXFjC2SXk2h8SDLmyOz6Oz0nFzNcODptkQfjnjapYE6HrKZKPrb4BH1/iLklFxtcsCYkrZktKnI+iVgignk24UnC8ImErBEKqpz5X/ZJxhiZK8d11J4CoawOo5v2+HAdNeuEuI6abT5cR80iFfY+LVLhOmo2uXAdNeuEuI6aXTZcR80mFa6j9lQIcR01q4w4bmCVDNdRs8uG66hZI7MbFdl335OJGSaoJSGGJqOfIT5wzii0OUbh6XbOsbFD5Zt4b66dYoXLuc9NH/PzBWn8Jhp/9+eEcv0xtgd78ezw/MU/7lC91lRX1HxhzXtqvqjmrU/zTM0LaF5T80U172nPF9a883/UfFnN+9iGdtR8Qc3HmOqemi+seU/NF9V8Zp+oiOY1NV9Y85rlfHHNG2q+uOYtNV9cc/aJltW8ialuGG9ZVPOesdzFNR+o+eKas0+0tOZt9M7ZJ1pac/aJltecfaLlNWefaHnN2SdaXnOOhy6teUO/ZWHNp5jmmuNEi2vesZwvqLlEcmlbltW8p+ZFNG+o+eKat9S8gOYcs1hac/oty2s+UPPFNR+peQHN2Q9dXvOBmi+u+UjNF9d8puaLas7x0DKas0+0pOYDy3khzem3LK05584tq/nIuXOLax5G5/i8/7Kac45oKc3pKy6reU/NF9X8hU8/3h8Zcn5A7RfTPqgruh36bR6Zfs+RpOI0nrud+P82CRQiEDQ4i98P3Id4f3IoweGNV5kUSlPAKvThjQEHbKUX5PDWn3GxYo+Cr3RF/RfXX3zU/M5z0ZQkypAIq87yraYl1GdLUJrAtv/bou6L677j94Y3WLQ+JXxn0vL678bzD2K/OLwJIezl+xCW47CjHLZiGk6cvFecBJYjEFS9iOU/7D9z8o5qvuWoJAH0B6R/RhLLk2BbXEL1j/7TmWNEbnntX/gr7cbtXlTkTFtikihHIqtAf6gch+ANHfnjP8Q7kkQ5Ei9deF/Usb/7EduIghxeuS+pfjH1g9pUv5T64Y2Z9IrK6f+Vw3sYQ5r4LsZyJN75b0cx9WRQisG2vxLVL6d+0PK76Jn+zIiRCRIYSSaLUix2YnpIoByB3TiKsMcxnIIM5D3uJyRQgMCez/0RlS+gfMh3GMOh9strzycLbBFgpK40h+M4s27bn8c40fIcQj04XJnL8jaewRktNmiwVpTjcMoaUED5l/64fYfRA5b95Qm89kef+mOPWf6LqH/ic3+pcYmQKjIoweAqKnGRotaM0i3P4ebz3zLHi33m8hzYYy5HQZ7Nl+fRyGBpBu98/l9T9wK6H8Z+8Zb7yf927JUO42eXfnvqr8VeQgkiYV5RjuPxuUxLNN74c/Z8a00SpUhsxV409S+lP/0kCxTEZ2XbYIHF6sgOW4jyPETLQxIoRmDXX/E59V9cf45qltSd8buy6mNsX1YVJIcyHIKOP8RcUf9l9cdaarRCZdTncx/llMe8ivAE1F48lyTKkAi5P/O/7JNAIQJXjusYWSKRVWCUrhwHrmNkhQTXMbLBgesYlVSfvbSS6nMdo7L6cx0jKyS4jlF5BlzHqKz6XMfIGgmuY1SaBePZpQlwHaPyDLiOUSkCuzHn++57ar+49ij1IUYko2mhv3zOqGkxFuGpWc6pWF79b+JRXDNhaf3Pfar7mO4vqPraqr92b2MkYVV1XH07Xld8+mdOZqufqZIX8fh8l9s0as1NRRZGWPRkYYJF6/Myk4UhFjVZmGDRs70wwqLzf2Rhg0Uf2+6OLAywGGNuerIwwqInCxMsZvb1TLGoycIIi5r1wgyLhizMsGjJwgwL9vVssGhibhrGo0yw6BkzN8NiIAszLNjXs8Kijb0L9vWssGBfzw4L9vXssGBfzw4L9vXssOB4txUWDf0oIyymmJea43pmWHSsFwZYSMScNsoGi54sTLFoyMIMi5YsDLHgWJIVFvSj7LAYyMIMi5EsDLFgv9sOi4EszLAYycIMi5ksTLDgeLctFuzrWWAxsF4YY0E/ygoLzuG0wWLkHE4zLMIoK9cDscGCc5utsaBPa4NFTxYmWLzw+cL7SoMiB2RSnElQXfQ89Ns8I+E9R/7MUnruduL/2yRjjIycG74fuA/xDPKxxOeNP4d0rNLBWzDCm0kO6B0Y4PPWn3exYteC73ZFLma4iC8dVk3fc784vFGGhGwRCsfyrcSWqLClsUpm2/9tkYcZHjt+b3gzUOvP5Lvi7HDZjccdxDhAeFNN2Mv31ZTns6N8tuI1TtxxbPlJpjwZOea97j+LjH7h2+ZMkkF/Rq5DQnYI0QewROOj/3TmGMm0w+SFv99u3O5Fpc7UAyAhe4SyOvTP7PEJ3tmRT8WHmBISskfoZbzSsT/+iG2QQT6v3JekYo5KoEAq1qiENz7TS7PH5SuH9xGHa/KdxPYIvfPfjmKuyMYam+14F1KxRiVo/F30oH9mRM00IcwUICNrjHb0OiRjjcxuHMXZ49iaQTZfRzInJGOIzJ5X5YhEDBEJeoSxNTKxw4RP1jwNMoxwWuVzHGdyhmsyjmaHT6g3hytznt76/SeOM59sU2ItssfnlDXGEJGX/rh9h9Eb1hU7ZF57NU79scesL6aonHhVLjU+E1JLNpbYXEWFLtLoAKObdvjcXNdB5g4yRmCXDyME9ujIWhzyvCfZWGHzzp/3mjwM8TiMcYAt95P/7dgTCOOdl3576s9nL8cSqTAvLcc/+Zz0U6D0xqdkz3sJJGSN0FaMGpCLNS702yzTEd+abY9lRqsjbmyB7HISjQ9JxhyZXX/f5+RihgtHpy3yYNzTJhXM6ZDVVMnHFp+g7w8xt+RigwvWhKQ1s0VFzicRS0QwzyY8SRg+kZA1QkGVM//LPskYI3PluI7aUyCU1WF00x4frqNmnRDXUbPNh+uoWaTC3qdFKlxHzSYXrqNmnRDXUbPLhuuo2aTCddSeCiGuo2aVEccNrJLhOmp22XAdNWtkdqMi++57MjHDBLUkxNBk9DPEB84ZhTbHKDzdzjk2dqh8E+/NtVOscDn3ueljfr4gjd9E4+/+nFCuP8b2YC+eHZ6/+Mcdqtea6oqaL6x5T80X1bz1aZ6peQHNa2q+qOY97fnCmnf+j5ovq3kf29COmi+o+RhT3VPzhTXvqfmims/sExXRvKbmC2tes5wvrnlDzRfXvKXmi2vOPtGymjcx1Q3jLYtq3jOWu7jmAzVfXHP2iZbWvI3eOftES2vOPtHymrNPtLzm7BMtrzn7RMtrzvHQpTVv6LcsrPkU01xznGhxzTuW8wU1l0gubcuymvfUvIjmDTVfXPOWmhfQnGMWS2tOv2V5zQdqvrjmIzUvoDn7octrPlDzxTUfqfnims/UfFHNOR5aRnP2iZbUfGA5L6Q5/ZalNefcuWU1Hzl3bnHNw+gcn/dfVnPOES2lOX3FZTXvqfmimr/w6cf7I0POD6j9YtoHdUW3Q7/NI9PvOZJUnMZztxP/3yaBQgSCBmfx+4H7EO9PDiU4vPEqk0JpCliFPrwx4ICt9IIc3vozLlbsUfCVrqj/4vqLj5rfeS6akkQZEmHVWb7VtIT6bAlKE9j2f1vUfXHdd/ze8AaL1qeE70xaXv/deP5B7BeHNyGEvXwfwnIcdpTDVkzDiZP3ipPAcgSCqhex/If9Z07eUc23HJUkgP6A9M9IYnkSbItLqP7RfzpzjMgtr/0Lf93duN2LipxpS0wS5UhkFegPleMQvKEjf/yHeEeSKEfipQvvizr2dz9iG1GQwyv3JdUvpn5Qm+qXUj+8MZNeUTn9v3J4D2NIE9/FWI7EO//tKKaeDEox2I5Xo/ql1A9afhc9058ZMTJBAiPJZFGKxU5MDwmUI7AbRxH2OIZTkIG8x/2EBAoQ2PO5P6LyBZQP+Q5jONR+ee35ZIEtAozUleZwHGfWbfvzGCdankOoB4crc1nexjM4o8UGDdaKchxOWQMKKP/SH7fvMHrAsr88gdf+6FN/7DHLfxH1T3zuLzUuEVJFBiUYXEUlLlLUmlG65TncfP5b5nixz1yeA3vM5SjIs/nyPBoZLM3gnc//a+peQPfD2C/ecj/534690mH87NJvT/212EsoQSTMK8pxPD6XaYnGG3/Onm+tSaIUia3Yi6b+pfSnn2SBgvisbBsssFgd2WELUZ6HaHlIAsUI7PrrP6f+i+vPUc2SujN+V1Z9jO3LqoLkUIZD0PGHmCvqv6z+WEuNVqiM+nzuo5zymFcRnoDai+eSRBkSIfdn/pd9EihE4MpxHSNLJLIKjNKV48B1jKyQ4DpGNjhwHaOS6rOXVlJ9rmNUVn+uY2SFBNcxKs+A6xiVVZ/rGFkjwXWMSrNgPLs0Aa5jVJ4B1zEqRWA35nzffU/tF9cepT7EiGQ0LfSXzxk1LcYiPDXLORXLq/9NPIprJiyt/7lPdR/T/QVVX1v1//C/n99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aek09xPjvKZyte48Qdx5afZMqTkWPe6/6zyOgXvm3OJBn0Z+Q6JGSHEH0ASzQ++k9njpFMO0xe+Pvtxu1eVOpMPQASskcoq0P/zB6f4J0d+VR8iCkhIXuEXsYrHfvjj9gGGeTzyn1JKuaoBAqkYo1KeOMzvTR7XL5yeB9xuCbfSWyP0Dv/7Sjmimyssdl2fyMVg1SCxt9FD/pnRtRME8JMATKyxmhHr0My1sjsxlGcPY6tGWTzdSRzQjKGyOz56x+RiCEiQY8wtkYmdpjwyZqnQYYRTqt8juNMznBNxtHs8An15nBlztNbv//EceaTbUqsRfb4nLLGGCLy0h+37zB6w7pih8xrr8apP/aY9cUUlRN//UuNz4TUko0lNldRoYs0OsDoph0+N9d1kLmDjBHY5cMIgT06shaHPO9JNlbYvPPnvSYPQzwOYxxgy/3kfzv2BMJ456Xfnvrz2cuxRCrMS8vxTz4n/RQovfEp2fNeAglZI7QVowbkYo0L/TbLdMS3ZttjmdHqiBtbILucRONDkjFHZtff9zm5mOHC0WmLPBj3tEkFczpkNVXyscUn6PtDzC252OCCNSFpzWxRkfNJxBIRzLMJTxKGTyRkjVBQ5cz/sk8yxshcOa6j9hQIZXUY3bTHh+uoWSfEddRs8+E6ahapsPdpkQrXUbPJheuoWSfEddTssuE6ajapcB21p0KI66hZZcRxA6tkuI6aXTZcR80amd2oyL77nkzMMEEtCTE0Gf0M8YFzRqHNMQpPt3OOjR0q38R7c+0UK1zOfW76mJ8vSOM30fi73xfK9cfYHuzFs8PzF/+4Q/VaU11R84U176n5opq3Ps0zNS+geU3NF9W8pz1fWPPO/1HzZTXvYxvaUfMFNR9jqntqvrDmPTVfVPOZfaIimtfUfGHNa5bzxTVvqPnimrfUfHHN2SdaVvMmprphvGVRzXvGchfXfKDmi2vOPtHSmrfRO2efaGnN2SdaXnP2iZbXnH2i5TVnn2h5zTkeurTmDf2WhTWfYpprjhMtrnnHcr6g5hLJpW1ZVvOemhfRvKHmi2veUvMCmnPMYmnN6bcsr/lAzRfXfKTmBTRnP3R5zQdqvrjmIzVfXPOZmi+qOcdDy2jOPtGSmg8s54U0p9+ytOacO7es5iPnzi2ueRid4/P+y2rOOaKlNKevuKzmPTVfVPMXPv14f2TI+QG1X0z7oK7odui3eWT6PUeSitN47nbi/9skUIhA0OAsfj9wH+L9yaEEhzdeZVIoTQGr0Ic3BhywlV6Qw1t/xsWKPQq+0hX1X1x/8VHzO89FU5IoQyKsOsu3mpZQny1BaQLb/m+Lui+u+47fG95g0fqU8J1Jy+u/G88/iP3i8CaEsPecHBbjsKMctmIaTpy8V5wEliMQVL2I5T/sP3Pyjmq+5agkAfQHpH9GEsuTYFtcQvWP/tOZY0Ruee1f+Ovuxu1eVORMW2KSKEciq0B/qByH4A0d+eM/xDuSRDkSL114X9Sxv/sR24iCHF65L6l+MfWD2lS/lPrhjZn0isrp/5XDexhDmvguxnIk3vlvRzH1ZFCKwba/EtUvp37Q8rvomf7MiJEJEhhJJotSLHZiekigHIHdOIqwxzGcggzkPe4nJFCAwJ6/zhGVL6B8yHcYw6H2y2vPJwtsEWCkrjSH4zizbtufxzjR8hxCPThcmcvyNp7BGS02aLBWlONwyhpQQPmX/rh9h9EDlv3lCbz2R5/6Y49Z/ouof+Kvc6lxiZAqMijB4CoqcZGi1ozSLc/h5vPfMseLfebyHNhjLkdBns2X59HIYGkG73z+X1P3Arofxn7xlvvJ/3bslQ7jZ5d+e+qvxV5CCSJhXlGO4/G5TEs03vhz9nxrTRKlSGzFXjT1L6U//SQLFMRnZdtggcXqyA5biPI8RMtDEihGYNdf/zn1X1x/jmqW1J3xu7LqY2xfVhUkhzIcgo4/xFxR/2X1x1pqtEJl1OdzH+WUx7yK8ATUXjyXJMqQCLk/87/sk0AhAleO6xhZIpFVYJSuHAeuY2SFBNcxssGB6xiVVJ+9tJLqcx2jsvpzHSMrJLiOUXkGXMeorPpcx8gaCa5jVJoF49mlCXAdo/IMuI5RKQK7Mef77ntqv7j2KPUhRiSjaaG/fM6oaTEW4alZzqlYXv1v4lFcM2Fp/c99qvuY7i+o+r2qv4j6nbsw4+p5nHW1eYvETQK40+pVnjmZuX6mql7E4/Mdb5OpNWcVuRjk0pOLOS6tz9dMLka51ORijkvP9sUgl87/kYs9Ln1s9ztyMcZljDnrycUgl55czHGZ2a80y6UmF4NcatYXk1wacjHJpSUXk1zYr7THpYk5axgfM8elZ5zfJJeBXExyYb/SIpc29l7Yr7TIhf1Km1zYr7TJhf1Km1zYr7TJheP7Frk09McMcplivmqOV5rk0rG+GOMiUX7aMXtcenIxy6UhF5NcWnIxyoXjYha50B+zyWUgF5NcRnIxyoX9fZtcBnIxyWUkF5NcZnIxx4Xj+3a5sF9pjcvA+mKYC/0xi1w4D9Yel5HzYE1yCSPJXB/GHhfOG7fMhX6yPS49uZjj8sLnEe/EDeockI8pPoGAaHvot3k2xnuOaD4JYs/dTvx/m5QMU5Jzw/cD9yGeQVZWWb3x55DUUyCFt7SEN+cc0LMwxuqtv9LFiu0LPuAVGZlkJP55WO1/z/3i8CYk0rJLKxzLN2tbJcSW6SlQ2vZ/W2Rjks2O3xvegNX6M/lORJuMduNxBzH+EN7OFPbyHU22WO0oq62YzhN3HL0GUrJFSY55r/vPIq9f+OZF85TQX5LrkJZNWvQfrJL56D+dOUZZbfJ54e+zG7d7UbUz9R5IyzatrBT9PNusgpd35K/1IV6PtGzTeunPPPDX+qdnxjbLNqtX7ksSMk0oECEhy4TCW9fp7dlm9JXD+8FDuvmOcNu03vlvRzGH5GSZ07a/AwnZJhT0/i565T8zwvdkaGFmBHlZ5rUT00xKtintxlGoPY4TGuf0daR0QkpGKe35Ox+RjlE6QZswTkg+NvnwyaanR4nR16fA6jjOgN325zGuZ5NVqE+HK/PA3sa0cDbY0yHG2mWb1SlrklE6L/1x+w6jT6xDNim99sqc+mOPWY/MEgp3vtQYUUg5OVnldBXVukgjGoy82mR1cw0PmWfJ2MTTYMXIhG1SsgaLPJ9LThY5vfPnvSYbo2wOY/xhy/3kfzv2NMI47qXfnvrz2YuySi3M28uxWT7v/tSIvfHX2/MeBmlZprUVoxVkZJkR/b+nQkr8dbZVT4XX6ughW6ynwUz0PiQl05R2/f2ek5FJRhyBt86GMVn7hDCfRVbyJSu7rM7ivX8gI5OMsO4oLZ5dQgeOz6ZZpoP5RuFpz/CJtCzTCgqd+V/2SckwpSvHdfieGq2sFCOvtllxHb6nRIvr8D0dVlyHzzoh9nStE+I6fPYZcR2+p0SL6/A9DU5ch88+Ia7D9xRpcR2+p8CLYx1PgRLX4XsanLgOn2VKu1Gdffc9+Zjkg9oTYnoyqhviEueMlpvmFVYs4Fwjm4S+iVfg+jkWGZ37nPUxb18YIvNX92ffPh74/Jy7f/PfrlKuw/faHzn5FF/HT4O/V/jUutmN+mnyf/Jr5X+XfaP/XT71/p98av0R8imoIJ8qvUrjt7V+mvTcZuW+nZ7bpBTU/tOgnyo9Llyt109DPCOUpEa3+N7rdojbOp7baErCNty9i5+uY56muH+K54d01LptdIv9vW6HuG31e6vX66IO4X/8Pup9Wt0Ouh31eDmv13R0ur/X+7YxXeH4Tre9/l7rFtdtVLlW9Wpu6IW71qo0zuuUaruScvDr9VOn1Lqok6gJik26W60pr1XhSVNaJYVDToNOk27xe6vbQfeP+r3Rba/7W93iuE5/x7bW/bOmelJt65WyNKZPvX7q9FOjKZOSNqsWteo26ZUq3dapBlR6TpvKaZ00rbX0Ven8VtNWp7tWeo82/dakWoBaFQhC3UFzixrVpjzNKS29atJqzkG1i0fJFkdUUbVR6UxKZ1K1J1V/SvQa/Y5tpftrvQ7OH3Rb63bU4yr9jnqK8ot0QSnwaTR/nZ4j9mlwsEUgMae81qoDciFscFyb6DTJeuXyPK6UhtbBPuG+qC3NilUaV0pNp7QmTXMo02JXOrVPnea7U/vUaQnptWZ1WnvELkxae0bl0mipn7QmT1rvJy0zk9qHSevlpDpOyn1SOzRpOZq0tk7KYdJaOGn5mlSjScvJpDQmLVmT8po075PW1klrzqSletLaXCcF6lQrRC9cJdsn3D/bp1HvCPs0JOJjynWlaoJnq2WhUcVGtS+N2p9RS/CoJXxUnqNec9QyNGqJHrUmjloDRq0hYW+rWxzX6e/Y1rof9mnWM1By6/RbrXep9Ti0ojiuThRr1W3SK1W6zfapS9eBdUBb0Sa9unR+tk9onSstAdl2gUmjlITgrFcYNLewT12qyXNKS6+8a5ftE1KA63R6hOSo1/2DHjeodoOqPyR6jX7HttL9tV4H5w+6rXU76nGVfkc9RflFupBO5KpNZXZKuRlSGZ0TPVjnLpV7WEdpa+FnoR1pk+Vr9e5in2CVwLhZuW+XWuMhaT2mUoPyU6X7VqpDo2WiUTvSqB1B+4561GiaGrULvV69V50brcm9lqReOfZaLnqtfb3q2Gs56TU3verap+tM6T69bifdhv2DWoxB89ar3oPao15V77VW9lqvBrV3g9qrPtWTJtUT+JKiV6NHoQ708bwh+VitlvNe7YQwhcc8JjUaVTP7T6hLteZUSnKTct4nhWv9LjnqVLle79urMl06r9PtqPt73eK4QX/HttUtyjOYrJalNn2qk13JpRQWptYzJ73mpGkeUl7QLufSiXa5VqskNWvS0jbpeb2DfYJ9AcEp/ZZ90j71E5CSQa/UpxrVpZxkOwxNcsvfpvIDTXCE5KjV/Z3mtNVUtUl9/N7pfmwb3d/qd5w/6Rb7Zz0O90O9hcK1pg9Ko/2Al9OlktmpCnXyvuvkT9cr/nKbNG2T8m2qH20qxW1qG5rUbjXJQjYr9+1T3RoS7SmVLvQrq9QOVZof9Adh1xpND/ywZuW4Ubch17PWnjn1XMTuzFqSZ633s9qHWdM/q52Z9Xqzcp/VDs2a/nnlPr1uJ93K/knPmzQdY9qP+1Z6/KDbUX9vdYvrZvuULQbs+axXQ3+hW7l/tk+zphj2KXvROdeNqpn9J/htjaaoU/s06/XapHCt3yVHjV6z1Ry0qkyTzut0O+r+Xrc4btDfsW11m+1Tr3dGCUJ5rZPnXyd71iZ7LntFi1a3lV4Jecn2CX5+l6wD+mdtajVRGuDr5J52o3VjXrFd2SeFFapW8jJpLrN9gk84p7QgvUOqs10qR7VeZ9AjJEe17m/0OChQJ/Xxe6f7sW10f6vfcf6kW+yf9Tjcb1BlkPta0welYZ/apDW2OU8oy9AN1us6pn/Uba9blOZJvze6rXSLcoPz5HogDDsEa4WWaUjbTre9bnFcpd9H3YoHIukYkqUWT2RIv4/6Xe4zqEUa1CINqtyg1x20Tg6ajkHTMWi+BrUQQ/JMxnTepFvZP6V0DHp8o1vcf9bjcN3st6J9QBmXfMLDHfT8QXXAfcABXm+v+yfVr1bdK93Wet1edZPvTdJz1O+DblvdX+u20/29fq902+p+XA/HNfp7o99n3cKvQT4rTe+o2163KJezpn9S3WbdDnp9pH9WPXB8r1uUn1q3k943RzjkuEb1w36Ud5RflL9O74d0zrqF7ihHaCFGPQ9blAtJR6X7a81PrTrWqmuduFT6vdLzJv0Ozxznd/p91u+9bnE86l2r6UC6Bt22ml/oDwU7rWNSZnNPLPuOsDTZVx8S7aw32r7WIebQJPWaZI2blfvmuANSkLnWKWZXpXMrLf3NSsvb6bbXrViPSf2XUf0b0KxSD6JSMtkPr1KZrFItrpJdrFyOLqLsVEnVKtnJKuWqSja5Sla5Su1xlSx3lcpc5fqVq0zpU47e55QO6dwmfcrpm9MZ+W65FcWnOqVgTvfN/u+wokHuo+UUgHb2jseU5s5hfCB7RvB5m3RXsTltimNVrlqhM6Z9Q/rUpl/r9KlLv/ZpX5U+tenXfI98RpOOa9K+OX1COc3lD30t2C35BD+jT5ogLbWWMiEwp09Dum/OL9qF1VgWvLI8NiT2u1nROo9S5FGNOmmR25/ci85k55WrdCkl6ImgJNepfNQrJSq3cF3a16yUo1wuxfeZ1HcSNWdtqWY3q88zrxCvdE+lZ076HV46rtDp91m/97rF8bASbUpLTl9mCpWzLzUl1XLfG1ohui/2Mo/3oV3oE6t2hRpqUJUs4phoIdbVrNw3j7MMKX3ZSubSnMsB+ni15rpW21in/egDY1Rq1K2MJQgXjBugH9rrcb2W1V7P77Xc9Uq6d4hi1NqXR4SmTr+3eh/ZjxhUpX3yRs9r9L5N2j/p+Z0eX+kW9x91i3xA4TZ9yjV9TEflVqjT89H2IepQrzDNfT/kBmrm2BT68hiVmbWuSsnv3JgU7vV7p9tat7P+3uj3VreT7pfjBj1uTMdV+nul33E/tOFzOgJWK4/E5dhCjofOqaTVSe1Rt51eCXlBDcgxrjzGlq1aLm3IC+pQne6KklCl32D3mpU2F7mcNffwaJpkYWs3p7Qg3od6l8eg57RFDiVHve4fNKe9qj0k9fH7pL9jO+h+jEl3+r3R76N+b3WL41EfkXukq9Mt8tKkPOTo3ZDKMco4xn5F2+z15nGg3IOc06ccQ4RVGldKA/y5fF/4So3LsbMppTS3xbBtlUOktlf71Kud6dU+9Q59YIxKjbqVERVJz+QQ05r1u9TkKVl9tB6Vti+iy6Q6Tsp90jI+aTmaVLVJa+GktXBKsaVKW5dKW58q7Z/0/E6Pr3SL+4+6RT5glXJ9yx4LUjm6bJ+Qr2yfcEdQy5GNMakCNbMHli1Vo/doVUlRsE8K9/q9022t21l/b/R7q9tJ98txGI3t03GV/l7pd9wv26dOj8heVZM+5XF65BeeYK2twqR2aNJyPmntmlZ6KrCGuU9ep7a/VTverOQl26DsL9d6j/wbakH21+ekbqNXgn3KUZw8Htan0pbtE8pJr1uUJ8lRq/s7zSmO75L6+H3S37EddD/GpDv93uj3Ub+3usXxqI+tpgPp6nSb7X4eYc69iNwfhw80rdgseEioFa3LEch2hQ7KfpXqzOiy15R9Kty3S6oPKX0gUaX2rUpeWJV+xbgGrB5YoUahvwgPQq4FrwH9YIwzYiwA8WP0l1otYZgT02pJgH1GH7vVWoM5GRjZR18MerVamzGGjfYYMVmM/8N6IMKNeoF+R7tileAP1yv9BNwlxxl7vS6UbLVE5RG9NvWMupTbPBMtWyW09eiZd1onMbumSQrju9yn1pw0mgPM0mlUgUav1+hxtR7X6HG1KtKkba/bHCuZ9Mo5ptylT7BUea5G7i9Vemav14RabcpLHjOC99Im64BecOvqVAqREtSheoXSrPfAb8hB43IcA+Wj09zndiHfd0pp6VXr7AFD/U63bcqhXLfS/bXmtFK1q6Q+fkf8BdtO9yMqALqVfu/1e61b3G9SZZBSpA9KIy9NykOOguVxhjw2DY8Ls/DEZqF09y57TTnmmeewwSqNK6UBPlW+L9qCxuW5dbmFypEO+G2Vw1gd7EurNahV/wmRc9jrNh0vczGk9owO/UNJ1ag1edR6PzrMbun0PLEzY7qOcB81B6Peb9TaOmotHLUWjlq+RuUyajkZ1W6NWrJG5TWqlqPW1lFrzqilenR5vLpLuuYYEeYXNS7bp0HPz/Zp0JSBGiIi6JONLs88y/ZpTp8qvUetSkrOqqQwvktMGLN0Ks0BZulUqkCl6UFsd9bjpEQODrNoqrTtdZtj6Y1eOc+zy5/ynCbkF1a31tIwaikatXSNWrvGZHfQvtQux9Zrh94vbDD63GOyXJijKJRQMrJ9Qi3oVwgOqm6lVwKBHA+b06c+XTPbJ5STVs+f9AiJoEsdHFSzQb2RwU1Jffw+6H5sO92PkSHQrfR7r99r3eJ+kyrTajpaTR+UznY/98KuVWXR4lp9rmuHGdLSF0XLc73C6XqlRZBvGPO/Ti0jFM32HpYKSqNFQMlBWwc7dq265bnl6MHkuJ9sc/Qa7c918r7kf/hZ1w7jrfI/RtDhs12ntifbyWuHsViMyF67HFlHT0Wufe2k533tchwEcbQ8U/XawR+Qfj1mcl0nm4C5FNcr1lmYiyIYKbx2mFcHS3jthlSKrh3GMjHidu0wv67WknPt8vwDzFWEj4Q6hVp+vWLZrx3mAWC25bXLM2/hZ8HPhT+La2KO67WD/3Xt8jxxePnwoa4d5nzCYl6vlBwZ30bfBn0NzKa9dpi/jllV1w4ztjD36TpFYBD1ul6JuVw7zM3HPK1rhzlcOXp9naIFUo+EZhuf8rj5ZEfY8zE+YXzXUx+1g8crI5ObTua+SGnfcNL7l3kCoeRuOunZIIY3aDxCZixtOuktSJuLVkN6+jLbcYzH9NqLyxERGW+eYwpgwSRiKnGWTSdxUon6YxZvq610FY8QX7TS/myendRoP7z3x8i83Uq9tT7mEWNnXcyBjFjLODPGqqSNFku6qW1xoz3bOV4jKNOpjyKzsiXK1GiqtvwxlUNUf9SjNp3MfJw0jau2ZtZ2XYjMDrPqpTXu434ZBR5SnxezqBAF3dRWR+Jc4Rp4dmRS67jpMPNN/KZADN5ppR6FpEDGCzGT8jqmTI4ST7hLx8OnkzGlTTepjy5jFJKX1fEBmX0l7Cf1R7NPKqNQ0idu4j1lLg0sh8ydCvne1BRK5AD+II6V8bRN12hepfeFGK5YC6nRkq9WW2pEjMTPa2MJaRzmpmHOrZBotNctqRRfA+MJ4sFIfFlqkkT8xYuCJZu1pMrMMdFOoqNSH2XGssTcNtWDEk8YM7s2nMy6bzUdbToTMdCgQqXtuqSgdojXyuxkod7rfTGi1SkbmRUsR0hvEZ6b2AFJk4yXbDqJG2Lu5oaTOLXUgD6WokE9Q8zllFT06klUUYdGy460VOJTNdpXlPzIsyC91sdZLVOld5CoY+Py0x4Sz5DcScnC3A95AmfSs1q1LY1+w+yMWS2dlNBNl+MVEjGTOF8VFZA7YqxH5sDN0RZ2Wntz7FBKukRD2lg/xVYMDjHSKdWITSdz9qVm4RkPieyKtRQ7IbP20DMRGypRAZm3t6n1D1HWQVsDmXU3azpnvVubauagqZ8jIYlvIBIis+hklKCNV5DyLzP9ME4kT5AMqpNY7jqRnlVlpALzIuQ46c22yWpI7KFLNgzP+MhTKY1aMnga4kfLTLkuliCZPYc5tlIKhfOg9U3qImZtSCmetcS32rpMyQZfu9vWWM6flFjrMONdrtGrNZY+ch6VbdWqVaqTjLBMyRNotbWV2aqbDnPXZW546/AcjjyVM2mNGzR3Ui+vtSVsk03adDJ3Sp6NQB9N2iSpz00kgnkvmHNcOTy/iB7SppbqyqFXJCPbndoiGXuZtdXEPK02tbCD1s1GqY0xtY3Wf5kTsan1UGarY0yu07rcrxAWC5xjL5OWa2kboCOeIJBrjtrKSH0cNL1DajtaVWrTybwmKdM5atVr69ConZFYdZ5pJE8btTGVk95pdBjvh42R8YJNtWsy7pOf5Ji1ZrV6jMRd85M8k+ZB2NbauuU5SBtOIi1tTKPUU5RU9CcmbT/EJo9qJyuHOVUbrk75aNRajtriIb6y4WQuMErPqD6KtLjSv9hw4gtKCZ3UPg1agsQz3nAyN1BGjTc1t62y6x1Ggm4fUWnrMjlEQyRSWyu9UWvwrKoIb2ldxEqN6gFizuWs5axX77ZJ3mWeBS/2SeZINPFeMhqPJ4t7bd8mvYvUnkFbKcyEG7SUderBVLrN45nyHGSbLG4+Cv26Xi3zoBZLShcig1J7q+S7jKoBPPxO7VSVSuy4Ql5iXKP6wk2ynJNeeUPLcKWt06bWAukhDElxlHCxZxJhECvU6TEyF0EiQJ2WZ5lri7nKo1oD8d2rmOZalcDTj53WoEm9mVl9jhzrrLTcyW+ttvPi70gplGeQZJ7kppKQGiOeAGpUpT6M9CereKVJW1n8DS4/VTcqA7H+my7HVaWsdOmsTfXaMN43qteHut4qCbF5mGVbaa4GJSrj+PkZpUm167WObmo5z/MMer0L+kWYPb6h5ULiYp22fINDbFH85z55J63WrfxMi1jQUdv/TYe43qzlUSLV4ie0rk7qyPNis+rbaxkRFQf1gWaHkW2ZTyLebq3Wu1X7glhxrcTkCptaCmTuFKL0o5Z8eapW/PrOYeastOSTenzSa+q0Rc5PLjSakl59ukbPz6VMvMRGLafEWCf1JhChqNWioj+U263G4ak7Kat1qsOT2kXE/uBndGqhZaQHURQZkazVZxo0pzIijnG+0eGpH7F0rVootAAgMWirPTiMVmIW8YZau1b9LsxhqrVVmrWfI/0eyanMm5IcIKaJWVpj8sQn7Z1UDk/N/h4xhOxXyZMfs8Ooa6N+QK12alLtRocxuMfjAegrN2ptR61Pcv/c95cew6yWqFH7LXaojWq02qaLnRFPAr3A7CfAOsh8jk3Xa10VTdfrW6HNGVKZblW1/Gxsoz4IogzShmLe64ba7MphroPcRWpFo9apSdZsUosza4mRVGUrLk90SN3Y1LKFWfkbyV5UWlOlLk6qM+K5s3oyvXokiEdhZQQwbjTVjV5doljDSo4kvgrr0DpEJzCvt1ULISqK1ylPjcF3XcfCIRaOHiPs/KDtMmazSHuCXnCt18H4D54DntTSiQWTmf94/kNKjNjrUX1c+EGtWrBarSx4DupD5KeNu9RGwqqL34rnN2WsdtJWqlatpcVD/3lSmy2Rpi6WPTzNIHVO6nuvfhbilZif9Fg8adQWU9pzxCVn9bPQN5HRx059nNrlWBDWSYFXKfMWNvWq0rrmOW6DWqRWy/Sgtqt1iOQ1eo1aa/2gpQIzlh6OW0nb22m+W+2rdQ6j0dWK51Y7RHs7LedV8saEjFgNudegqZAjpK5K7148U9jBPA9MfHOpQ5VqjOuLfZeaPal9kJhx7ntV6fhGlepTOzU7jEd3WvPkuEFz0cTjpFWSyC3GuHvVFF4rfCzQy3NaK62hlZasKXkr93lD9/tQct6gdXnUVq7XtgSzqeF/rqYN5Qotj1iJ2SGKdxdHzMKRtmJys95r+OR4xMtnbX1F9exN3WQkJUmu2uh+rKIgUbBNh0hSrxZycIhF3PSpZRwCFkJS2KmdmbXejWrnpO3b1FrYaxs1aFm+VuvZaHu5+oceEpSq1Ieq1KZJHwtzC+SeldYWmTGO8QvM5lnvbyO2peLnikUQi9xrOz+vjCB8+tckKzdpmzarpZQezZZSu+vcQb0eKeESAZQ5WEL2oftuaM9kdjnKIVamUc1Xz5Yee6vtongfrXpoaEfh6TQOT/ghh31qUzYd1vF4vE/ca/uIlm3W1nlymDfy+X8bTiIAEmGTuGSTPLVVKnelefWvVcvSJ48lq1G5/o57t1qPxP/vtX2VvuBdx9/8u10C7s/J3X+P373XNlW85Vm9ihwLfKgkrqYLs8jv+xPb3mscRfoG0qPCcxiIrkjfFfNosTpLrXWm0folZRjzqMUiSQuX1RDPvlMPE6NoaEvFYvTqGW+qjzUka4D2ZNJ2XsrspL6/PKvX6n0mtUZ9SmXnMNaCVZ6yly/WFzFgRGfQ58AM6lH9FESXZv2lSn7yzRLSq8fTp/4Gnk+VSGStPnudarf0wDAetan3EN8A43lzarU3HVZV2NB+3qTe5GZq11ef34PXLGtQbaqOs8Nsx1p7poh9SU9A/Ij6k/xtqI9WO4xczFpWqlSS5Rli+EV5/YzWYQyjV28G9rbRa8u4GeJNm1rzNxzms0vLh1UkNpzMu560VIxaM8XDlPLbaCsmXgZG+jA/b1ixILJf+sCDtkiybtLNCNqoaam1FR91z+r17xpJxDMvEgFptA8vucd6FyhBs0P8FmP94U+imrXDfAK51qA9ijzPYta7YpxO0tpqqyD9rUq1Fx9PvGw8kzw7RL1HtVvo1eB5oPVGoKTO3hyBqpO/DpawiphPjliztDbibXRqaaUP3Gp9qR1GOFctHEZj4clIDL5RjySP2E5qkW+O8oj1GpLmEsfBvAGM8klrOSkFqVky9jVpKzRrjyD3XvBMRKUWRuiO2vZL7Fa0bbUkjeoNSy2fXX6GHDlo1fuetO4hviDRS4xbyEhzfvpP7i59aoz9iZ3HCgSDy2NMrVqu/Gww2qdBbTHGgjBT/lr9WEmflKBe7Q1mAg3q03eqK0bUMftZ4iaNtvHw1SWmiCfvJGIjPSPx/2XUe7U2SOskUdhWPULMUbjZcsJiDWqDMXNH/H/MARErXWtvpE72RNrGKtm1UXuQmL0v5b1S+12rx445jrVet3eIWkxqJeExT+rbSn9oU1tGSTHWmJR0tarHoCVE+hJtqh2r8yCqG79U6j3LKEuT2hE8WYXWEhEOjIJUes1Oj7k9CoK8ycinjGJJ7ArPlEpMstY6IWu+9Q4zYaSlk3RILwJ3lh7F7NC7khYFPoRY61Z7WNIWiO2btU/U67Xr1PPBuK60OY1DPxjHdFrPJK7WqYXvtMQj9or5j10qQ5vqO00uP3H86+ZCdOpziUXrU+rQSmHNDolhbjr0i8VjnbWMtW7T4QmlXts7sbCb2hZILA99EIn1Sw1r9KqIQY+pDGFWf6c9lbxaSuUwg0MiWVUqWfl5AunVwC8U/wKzWCV+mCNDndoXrHvX6dXb9Ls884i1BXK/QcY+ENPDM6DiaXd6fazWlNsUiZrlGFG18oennWVmTqethbSOtcNaWpPDmhdSGuRuYhMmh7WNW4cxTplhInayT+nHXITa5fkpnVpsaYEwYjBryyAxeYwRSTRFRr/GFY8Zlki8r1nbPUQSEUHDbBx42eKPSp8QZb9zWNWzc4hpTGrjQUiY1trmYJy6Ui8Sz0vVaoVmzavE33uHta0mpd6pn3DTD9hINhzcZm2HxWpivFzKKCKek4P3jzmqQ/ISpQVEZENqIJ7EEh+p0dYO/SewxwymyiH6WWlty0/pNqm9aLSWSF829yDGVK+lBKF9wPyANqUTkTCMYs7aask8lc5hdij61UJYWoVGey2NwyyQIdWBPBYnHoKMYmHV4Q2H8bkmlgqZKyitZLYkUjalBzBqKUfUfkgpx7MYmK+FWWeNwxq5iI2PLke7kDOh2qSS8Fj/e0NbU5lPMmiJET8Ma0VI5B9WrNHWc9QamK3FqNYCs1YwslA5rIaKMSnM0kKbuP5cNYzryupK6FW3WkY7hxXPZc5ro3lqlBfmnz82V018Z+nFNZpGaefEH5LedeUw03DUEoQ5StcO88Tz8yuj1uncHjdaw/BsvaR8Sv77sFI+pP+ZRzHyHEyJmEvvSEon5jng6UqM0YvnNGr7h5FBrI3aq19WOUSbMdqGNcLm5BmjjyP+9ezWmZWGWdJN8oZkDVhED0WzzeSlDA4RzWzVpLeB3iXmM7UOTwr36gk1KZ/oJWNervhEsH0yFjOpj5mfEpGYQeMqTWevXLE+CCK6s9b2Tv2+1SeBK7VyGDms9b6z1hhpNTG3L/vxncPIeav1GW22+JFCCiubYKZLo+UYtgzPusE3lPyJ79NpXcZK44/NR5OVXVqtBVIy4engSYg6pap1eS7P6PD8icTApAcu7bxY587lVRar1IepUu2ftDXFGofoC2NujvSU8CTmhsP83DGVEGn5OodVFDYcnpCa1fPMs9awGuHSs9Iwf6XXcoDoEmJl0qLPWpdlJoaMIdQur/Yyq28qfkWneZd8iYcjo0Kza1Y8g0l9ofz8HmYwd1oCK21f0F9r1EtGmy82K48OZ39n9U5SAmuH52NlRF4I9NpPwupfGPUWDxHjA1J3J20bMVL++LMYYkUnrY2YByCRdqmLDz2ZUKsFkD6FWEHxAfBc7ePPLoh3P2qrJpHuShXA839SZqT129QzMTaFeGmrRAe19rgubBpKN7RA9EF4YWW5DW2nKvU0MCt/SpYNlrhX7hK9vDkquOGwptnoMBNBat7ksIZrttxD6gNVqkDnMANLeqt9Yis9sUFtKp61fIp/q2MSjZabTfUZYXnFY5y0ncOqmfkPq4E1qlyXON81WvHwH0YKe/XuNhMtRKLX+dtwj0e0Jfe3Y9Q3r/Jbxi9Xr/N43FTyPjrMdMJMGUQTa4cxZInxY7wA9rBXfxOxIJTS5kbqNpw8iSGe4aAtEEbAW7XYs/oU6JGhxXk8gvq4Dg9Hij7v73Ou9ltGk2+WiMeiJb3DKESl/h1iPJ3DHPNK65JEmOQ7nggYteyvkpS5nJV6pWK/8TQjejQSQd90GEXsHHqfKOtSBqUN3lRfWjwo6bWJT9E5zLCR+RKYnwWb+ng05bEysNoT3lB7MiVfFPE+6dHebzFu96hX/9bp60qNe7wnm/9+y6yCVQXW6Un16t2LvcCMMymBQgOzSDFjdHRY4R3z1qXN3HSIXQ0OcWpYAswkmV1+kmRweOIao5itw2xJKX9Y70lmbOH5llX2KEnSi630rPZGP2fDjeo5YSyocXiCB/0YzDN6qDf00N/neGmj/vXay5g076BwP8/173L7zHV8qvD3uDd087rrz2DBU8Di+2FmlYzK5qf3am0F8tgynijCc2kbrlGvT3htahmFz5TX3Rq01W219MKPbT/RBxFGrPoHzy3HLlutTxi5xFgCxgla7X1I72/TYUX+WtsIzNKd1P40Dis1bTg8M9FqfqS3M6g+ed2zRnuBmw5zbPNz4uhjixUV+4JZupi/vM4xubzIHNxeW+pGvfn20V8xU6lR+4UnZYQYVodb5xi0OYN6h5W2J1hz5uFfseaP9GPE+mxqHcCKJ48fIdYYbX2t6t9fR1dtuJQ3jEZuOqxFMjk8Hb3psNbdoG1QpzUDkbONB66zceeVNu651oZ7fMbrQ8/1flrzb9YZzFee1KLIuHheXXJKWkv9kHk1t/0geQYh1wU8LyMea37q6tMaPKjll2NmPX50WEmo1hrTp77xrLZFfG6sITVoSyitNerdp/Ze7jqp9UKUF+ucSI9aajvWZYCPNDrMhZdREvHQZ/WT8VY46ZvKOEynUaLp3r33txmPzS1f7xjEgKvUe8UzyXlF4VmtKyLr8NfwrGajLa6UOUTg0I/Odufh+2yscaeNR++14R6fDQ/KWJFS4q0SC8BM39VVWfPKADKCI1EqrI8r9rJTC9+q3cU7uOBHVuoP4OkXKYESaZa5ebNrXXejRG6k6ID47Vhj+b79UgZlzB4zCeQTRrjbtY749A8rUOO9fnherde2S6wRZrFhVQ5p63ot0ZJnaWkRscJM91FrGdrL26nYUL+oVx8Oqxh2SW3EA/FUQV7jB7OdOi1p0lYPLs99RJQaTw2KRzE7xCFa9Rgxy29IPg5Wid1wWCVLPDmx0XjOB28nkLdAyHharx6IlMzcJm04icm26o10ag16hzla0hJg5letbQVme+DdNY16TvJUtUSBJc6JFeo31HfCjExpU6SHi3F1mWEjcUSJQGxqGcDsAkSRJQ/CEU+gzskjGLSNkFZKnsyc1VuuU9v28DN2G9qijQ6j9cK119KL+ZDSvx615udVusQK1lpWK60FWEUG8xoww2B41BfYSGVKrIeMQGH+dZ+88E2HdZzl995h9miX2jKsIoyn8mWFgk21YqPD+v6rf1AVz3ahjfq05mCtiNGtznNrtS5ifBDv3pJSO6n1XY1x3q8Eanqb6LRqIfCmBYyRycgrZn3VDs/8iv3If5PW0vxU16A9lcblsYVebcLtfNd6b4nRNOoVYz1paR9Gl+cNIWaRVweTOWt4Rh5PVyLOe/e1N9a4+saD18dTJA89lXeX/lhfstU6I2MwjfYnMTOzdeiVbTqsxykjJpPWiNFh3qL0h27qKvNiZMxZbCDWaMFMZonNYF0GjBtfq90QC3bzr3ZYOfnudLR3pAPjSZXDHJDrFYuC9lquhyfCET2Tuaijy2O8g8Nboepk9cWf3NQjZWxfWnN4vKP2tWSeVOWwzuCoNQH2Z1AlsN746DDGLqPQYg3EK/u0HN+s73c/Pf94RPzuP5lngzGUPFKNldM/vf/d65Gt/sms0bwusFjvST2NWfOKOeMytid2oNJ2AeO8lcNqBYO2ho2WJsxImd2nsZv7/aKHvKYN9/jz2+IxPt7urtOm3t9ejsnKPH6nddrvh1vnUevs421vpXQxD75yGDOWNlcIy+yBTls8zP/6tCTJjDaxQI3DPMJJPbL8LHyjVh4RyE7b/E97bRsO88nwBDueN8Y6nfDQJK35yYBGfcbbUWdRScbvMfKT57e3LkclMLqT39CIZ+1bh3mOlcuzuFdbKfAT/VvtWWOdTzyXgBFmeHaz2h6sdbp6xV7/Bo1nIFV5TZ8mnSmjDHiH6qyek8SzRtUTsXXMa0L7jCcHJHerduuutRbP3YXfc+H3nKc1Fq9/9T+xQe1ae//If3/sHfPVH7/P8nm3/O/z1Pj12q1bDpdKz+9Ten5rah/as/5vd+1/Op/+2Bz817n6Q98eK8HlKZcsXb9Ogd+q2x+hu12WFtX69bWr/KeS6VmnfXzMzqzbxn5u7f2c9ns96p/Xjn9u6n99rn6b5frtvs36ftbvUfd+f66/lumv99g+r658Xu36PevuEnR/jb6/tr5+rk3/dbbt80rOr7cfv9+9fuu/dcvFH1+q+Ymf+OmP+fRrW9Rf3y6Uz/Pn6PB0Pq1nd/8rafRHl93f5gfZYP5f5dN/xbL7eb7s5/mr5XP4uam3VmL+u1vW+718lksbrJcpl5/fv/utV1+/t/x5Zffz9titnevXsd9H0c+jaKdG/jEl9vcrV8tbm8+x6et4KL+W/WO17Y9V7I8oseuq8ZjN+2MsrU3drNZy67p9Tp39o/LyW0mWrIPL293/vp/+CB1+7/KyVKrW9RU+p539o8r5H+OJ/f6Wb+nr/NayE+b8fjrH96/uo/8U9n4bf9lzW+7M//3o/4Xff91zC/zjH//4xz/+8Y9//OMf//74v+DjP+zPhyNexSP+lp7/C3tl37/HXsG+P/bYnfrvx/68E3068Nj9v3isrPckvQnsC72IPX9G+PS93/OveK/n/kr7/gqX/hoX7k+u1rUGKvcXn9a7f+3v/RVPVT/0a33Pr50+V373r/ODqZr12ef7fq0fPLd58Nf2wV/vT7M8Wd/ck1+sYHzfuQ/lt1W+9/96f45a5XD/r/fnSJ4Nvv/X5gEKsoJSd8+vovJ952IV84d+bR78tX3k17sZya/3pxmr4N//6/jIr8ODv44P/jrf++v9ZQO/3pdfrCtx969Ybf/uXx8qsfj17vu+cP/p3rvX/lvYG2zjXUe99se999bv2B367XO3E//fXuPYF37/Wfx+4D743x8/4437+pHj30Zb/HiqcdxX7p/+mPDppd/z8LE7fu+V37Y+1d8+eORubB8OohLnMV504f+/64yv/eeLeNx+bDve+zbnF98arHfs1/4+vyQlHz7n7hTj9xe+FduN29DyHcRW7MRrs945lzE6FtR+OJc4I+TxyN/hg//3mDI456VP04E//p/+zLvZ3z7jlftyreNCGVvnuDf++3qKfOXT+UPM255P9b/WOued/3YUlV/n6G3vg6x3XPBfvov6/bxmGcjnoHasc9aOT/vJmsfuxvK790g5x9Ffx2NPHjl2z5ejo0eOCSX0o///4aNuWqXHy0c48nClNr6Nnt/jdfL2edt++3BZeemP2E9l6+FjX/ucnvrjjx9JRbCU5zGte9Fm3m0DcfQ7n6/XjxxxGHO15X7yvwVfOPC+9NtTn+6H0yx1IDNY13rePu+Nv++ep7fOOVtRp3WOlLZIWoF1jpfW6nPzsOtL/fMHj3y8nMgRj5dcHIcSKK3m42cE+/CD/3voSLSWj6Uh2A2U02Bx9mLL87Ad2Yl9rQt/xqX//fFjrz6zZcvnrNuy4YzPadlwzvotG854rGXDcetof7VWy4YjP6dlwznrtWw4+rGWLR+3fsv26TnrtGw4a73WCkev01rhmEBSynsgcP5IefnGXdyy/VvxCPn+J3/eK3+dQPOd+8Jtevbbaxz177GVffy4V740vVnjuNe+/fvbGsf9h//9/I7jXsTW8zxamOfRymzeOvcvMYKSYyV/vbUeE1YWl5VcZUXa1l2nFRLlPc2Vu9bVv2SdaFlJSt5pIO9JknXe+nikrM3d6aq48tZNvPNNVsG9jv0wGV+WtdvwxuH8bqxet/IrVvTEe+sr3coI9RyPuXZYFz5ca3SySqHskf/xhnVZp1jW0ZNfZGUsOR8paJ2sjCnr14WrT07WuJfRblnXWd4XKOvTXTt5Z4K8iS6/IVPeKHetK4nKm1LxzvnWXTu8RU2uLHeUVIpiopPkVY4RhWWlcVFKiEiusZq2vBPk2uGtTJIjeQdp5WSFz3CkvGNTlG6drJUvq5vLqtvXumKlrEcm75jpdR3T1l3runiy1r2s/ijvzx20VEiqJOWSqmvV41rL2XWMB921XtifV2J+N397Hv3TM18XnrkN/y/YhWApnmn/9Dzah2+9DZOW6aN63WH/i3jmafxf2rpnvraEq8OzC0eFNv5K28/Vs8UbPYh1L5z5P/1Z4hk987Xvx3jOmf8V5zzzViPsufI1F9d+5e/1o2/7wj2fxTuFVPwzpedbzdE//Tnnsc7v63liBf/s/leyhP/bH/tjzPm/x6NP43658o8+pdi/7z+987+KMv9csZDPkiLP1JL86I/ec4jNisKvvX29qe7nXwOtyep10NYcRA/lWcxjiBscxLP+l/bzoff//uTO12r3Jcfo31xHD+ksWr+L6OP+EGntxvtcRu8mpE3SIPGIZ7dalHO/ZyceH7yOq3SVsP8wpvqj/yRRjmfR4zvTFEGBn1OJCmcEfaSkfRupSL9JlJGW7tt4pHiEN/P13DPfWSkrZ06iNqfxDrdVyJ7EM/X1z1JpfO2v9OKenK1/lVVv/Tr6T880+nS4ktqrqFX4tn3HUbhm0A51+U0sZdDm03Nu/56vIfXymfrmz9RXv5nSZ550LpMhl59/hV13obX0+tYvX/pPP0S2YI341n3W5Fmszc9iv+9DHOv4NvbIzlLJXOUh/eUNTfGzZImEy7cp5RLNuzv9j6XkP/zZx8r4b/rrZbz+Q+c+j2XoOFpQ1LTP1UBS+WPst4u+4Y6rZfA+i7w+hftK95uo7D+jZmHPx09Uu1kXb1sJ6e1l+3DX8Wex7QrpumnRbh99u6atRxk2We60aidEL7QRN+uPpOVCWyypD+taAMQOYInvKrFS89e1WrfvAKtwfE/axZLdvMZ92txm9FDNelz7XLegwvW917idixfRoznWe8voprT3B7HtEhVhZS7dRTz/X2qxz9WXkByc6TmXesSup7WXauvDv396vb/FvoSU6r177nmzRAjLcL0jLc/H8bibHG56K9faUkKfFzdKRNDrMpaTI1XjWfzlW61HEis71xL3o1qOu/28u+zFM+1/ii+56p/czulX0S79qJ7Cv+6oU9d6rXDly5jSjZj+v63YnPN7jrodZbn7KIkigMZ997vpP30V9drz1zxIub77zE89zLt81bvOfKlxqPMVOlt61MW9Z6E3f77ie4v6991lNd4Tvoezflb/8CHdbmuy/pk3I1nPUi/7MnJ46MxX8Z6XqsaXqssPD56DUgJPPUdQ7j5+tfZ9SmrVot08+9zBh7/PDr+I9fNiJSUov7lUr3PUOmXxsausx/1z0/LrrnJXL+zx9D9WOx67wu2acn</a:t>
            </a:r>
          </a:p>
        </p:txBody>
      </p:sp>
      <p:sp>
        <p:nvSpPr>
          <p:cNvPr id="32" name="WORKBKFUNCTIONCACHE1" hidden="1">
            <a:extLst>
              <a:ext uri="{FF2B5EF4-FFF2-40B4-BE49-F238E27FC236}">
                <a16:creationId xmlns:a16="http://schemas.microsoft.com/office/drawing/2014/main" id="{9C77D1B5-FE4C-46EE-A416-B18AF70EB237}"/>
              </a:ext>
            </a:extLst>
          </p:cNvPr>
          <p:cNvSpPr txBox="1">
            <a:spLocks noChangeArrowheads="1"/>
          </p:cNvSpPr>
          <p:nvPr/>
        </p:nvSpPr>
        <p:spPr bwMode="auto">
          <a:xfrm>
            <a:off x="2344277" y="3026851"/>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Gjrjx29qe25bEzHiqHj517O9L5+BmP1ZTHzscIGvz3h49ev848dKXP73eF8YnVtuv6hjcSUgaPYbWtXIfuTQuVe9I3/aA8qnWgKbjPn/10ZOu2j/qpTmF8MBA8vtXLR+pv30NGu0T3/y9eH6NeuWWGVnkU7C6fcnUcJJ+Tx0MOosWRfNw8czUufKyKPuyLB89C4jkX6nVIL+G2OiFNG75nf6bpwXF3RS9uR3seU+72WOb9R2arsRdtHq58d9ToU1VXR4ouk/V4TCMpn7nPGuj+X7X58m213IPXF/F6B7FM3FVacj2ScccQTflXLOmS1h9cjpSt6vFpv+dmj0AswmU8+jjGW9Y7B30NRIruatlQF296yajl76KGYP5w+fjUa71pI+4+5q6rrZuSm9dHLh+ON65aph817nM70nBT109TeDeRl/Gu2Rq90H7LP93BZ14Z3B735u/WD0o81J+53eP7T3cQU/vszrPvinP/93w+7nNmEt8/a/jP6dzd6FWcxTIjvxzGNirbwhfRMh7F3/9/nCUMKA==&lt;/compressed&gt;</a:t>
            </a:r>
          </a:p>
          <a:p>
            <a:pPr algn="l" rtl="0">
              <a:defRPr sz="1000"/>
            </a:pPr>
            <a:endParaRPr lang="en-US" sz="1000" b="0" i="0" u="none" strike="noStrike" baseline="0">
              <a:solidFill>
                <a:srgbClr val="000000"/>
              </a:solidFill>
              <a:latin typeface="Arial"/>
              <a:cs typeface="Arial"/>
            </a:endParaRPr>
          </a:p>
          <a:p>
            <a:pPr algn="l" rtl="0">
              <a:defRPr sz="1000"/>
            </a:pPr>
            <a:endParaRPr lang="en-US" sz="1000" b="0" i="0" u="none" strike="noStrike" baseline="0">
              <a:solidFill>
                <a:srgbClr val="000000"/>
              </a:solidFill>
              <a:latin typeface="Arial"/>
              <a:cs typeface="Arial"/>
            </a:endParaRPr>
          </a:p>
        </p:txBody>
      </p:sp>
      <p:sp>
        <p:nvSpPr>
          <p:cNvPr id="34" name="WORKBKFUNCTIONCACHE" hidden="1">
            <a:extLst>
              <a:ext uri="{FF2B5EF4-FFF2-40B4-BE49-F238E27FC236}">
                <a16:creationId xmlns:a16="http://schemas.microsoft.com/office/drawing/2014/main" id="{00000000-0008-0000-0300-000002000000}"/>
              </a:ext>
            </a:extLst>
          </p:cNvPr>
          <p:cNvSpPr txBox="1">
            <a:spLocks noChangeArrowheads="1"/>
          </p:cNvSpPr>
          <p:nvPr/>
        </p:nvSpPr>
        <p:spPr bwMode="auto">
          <a:xfrm>
            <a:off x="2375067" y="2987675"/>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lt;compressed size="651798"&gt;eJztvQtvHTe2ps2fYkwDgxngk7ruF3TPARwf2fGBYwtS0oODRsOQFamlJFYU3ZIe6Md/JNd6yS1Zl+1cikvnvBDs2rt2Xcj3IRcXF1msv7pDd+lO3L67cMfuR//phdvz347cgfs391f3rf924f/t+t8u3Zn/5cA980ftuY/+0/9x/8O9dK/dW/fc/3vhtvz3Z+5DvML37p/++B/j1b91p/7TVTz+ufvB/73323DPa9e4yv/1/tPf3X/6a+75s/7hv/1Pf9SF+4u/c7jnSdwfUvjM/c1vD9zP/oh/xiPCmW9j2g9unLnl94RcXbh/+bNexPSfxWvt+z33nf13n58XbtufcXPvr/v2P6KKr/y3C5/uPZ+yS1X23Kfs/8XPtevc7Ea/788re//qFd7zuoVP3/s9//K//dsnavxJdbyM1/5LUvBPquvk9237fXL0t37/d5HIX5KKf/oMpW9qGu79yr3xLN+4d+4Ltxl1+8tKPvO1t+NVD+LZmcUz97W/z0U8Pt8j5GhfS86Fv0atean8b8LmTyuUwhVOvdZ/iVc992f86JWr/THbsfx969P37z7FV7eOaPwRku6b+1u/fzfm8MDvu/lb538LOQ6l5r8viZ4kDJBofU5mkjBDoiYJAyR6thMmSHT+jyQskOhji92RRHESo/Z0SMICiZ4kDJCY2bMzRKImCRMkatYJIyQakjBCoiUJIyTYs7NAool5aRh3MkCiZ1TcCImBJIyQYM/OBok29ibYs7NBgj07KyTYs7NCgj07KyTYs7NCguPYNkg09J1MkJhiTmqO2Rkh0bFOFCchMXFaJwskepIwRKIhCSMkWpIwQ4IjRTZI0HeyQmIgCSMkRpIwQ4J9bCskBpIwQmIkCSMkZpIwQILj2JZIsGdXnsTAOmGKBH0nGyQ4G9MCiZGzMY2QCOOnXLfDAgnOULZFgl6sBRI9SRgg8cLn6r1X/iTuDWvtkUhZIkFzUfPQb/M8g/cc1TPK6Lnbif9vk4spLnJu+H7gPsQzSMcOnTf+HLKxyeYrf9xHv/+9e+mvR5+gNJ237iDSgEUL/toVqRihIt7ze3/OnvvFb0Vp8rHEJxx74o8kExtM2MLY5LLt/7ZIwwiNHb/3ym9bf+a3pGKEym487iD2+c/9X9h7TjqF6ewona14jRN/99Dek0tpLnLMe91/Fgn94tUnF2tc0H+R65CPFT5s+e2w+Og/nTnGK60QeeHvthu3e1GnM233yccan6wNfTJrdIJHduTT8CGmg3ys8XkZr3Tsjz9i22OOziv3JZkYYxIYkIktJm/8d3pm1qh85e//Q0xDuOa/yMcYn3f+21HME8nYIrPt70Am1pgEhb+LPvPPjJwZ5oMZACRki9COXodcbHHZjaM0exw5M0fm68jlhFzMcNnzmhyRhxkeQY0wckYiVojwyZinwIVxTJt0juOszHBNxsus0Al15nBlFtNbv//EcS6TZUasQdbonLK2mOHx0h+37zA6w3pihctrr8WpP/aYdcUQkxOvyaVGYkJaScYOmauoz0WK/zOGaYXOzVUYZCYg4wFW6TAaYI2NrJshz2mSjA0y7/x5r0nDDI3D2Offcj/53469/mEs89JvT/357NXY4RTmmeUoJ59tts/ojU/HnvcNyMcWn60YISAVW1Toq9llI9402xy7hFbH09jyWKUkCh+SizEuu/6uz0nFCBWOO9ujweimRSaYqSFrnJKOJTpB3R9iXknFAhWs1kg7ZomJnE8ednhg7kx4BjB8Ih9bfIImZ/6XfXIxxeXKcZ0z+3yyNoxhWqPDdc5s8+E6Z5bpcJ0ze0zY17THhOucWaTCdc5s8+E6Z1bJcJ0zi0y4ztnT4MN1zmwS4siATS5c58wqGa5zZovLbtRj331PIkaIoIaEWJmMbIZYwDkjzcYIhefROW/GCpNv4p25yokNKuc+L33MzRdk8RtY/N2fEcr0x9gO7MVzwxMU/7hD81rTXFHxRRXvqfiCirc+xTMVX1zxmoovqHhPO76o4p3/o+JLKt7HlrOj4ospPsY091R8UcV7Kr6g4jN7QAUUr6n4oorXLOMLK95Q8YUVb6n4woqzB7Sk4k1Mc8O4yoKK94zWLqz4QMUXVpw9oGUVb6M3zh7QsoqzB7S04uwBLa04e0BLK84e0NKKc5xzWcUb+iqLKj7FFNccA1pY8Y5lfDHFJVZLq7Kk4j0VL6B4Q8UXVryl4osrzhGJZRWnr7K04gMVX1jxkYovrjj7nEsrPlDxhRUfqfjCis9UfEHFOc5ZQnH2gJZTfGAZL6I4fZVlFecsuCUVHzkLbmHFw7gbn8tfUnHO9CyjOL3DJRXvqfiCir/wqcd7GkO+D6j8QsoHbUW1Q7/N483vOUpUmMVztxP/36b+RfQPCpzF7wfuQ7w7KSxP4Y3XmAzKMsAq8GG9/gO2zYtReOvPuFixRME/uqL6C6svXml+m7goSg4lOIT1X/nm0OW1ZwtQVv9t/7dF1RdWfcfvDe+OaH06+JaipdXfjecfxD5weAtB2Mt3ESxFYUcpbMUUnDh5Yzf1X0r/oOlFLPth/5mT9z/zvULl9If/L70xcliaA1vg5TX/6D+dOcbdllb+hb/qbtzuRT3OtP0lh1Icsgb0gUpRCB7QkT/+Q7wfOZTi8NKF9zMd+3sfsW0oRuGV+5LaF9I+aE3ty2gf3kpJT6iU+l85vO0wpIhvPCzF4Z3/dhTTTgJlCGz7K1H7UtoHJb+LvujPjAwZ4IARYpIoQ2Inpob6l9J/N44S7HGEphgBvL+e+i+t/57P+xF1X1z3kOswQkPll1aeTwZY0p/xuLIUjuMsuW1/HuNBS1MIdeBwZXbK23gG56hYYMEaUYrCKUv/4rq/9MftO4wOsNwvrf9rf/SpP/aYZb+A9ic+75cagQhpIoHlCVxFHS5SXJqxuKUp3HxaW2ZssX9cmgJ7x6UYyHP08hwZCSxL4J2/zmuqvrjqh7EPvOV+8r8de53D2Nil3576a7FXsDyPME8oR+v4LKUdFm/8OXu+jSaHMhy2Yo+Z6pdRn75ReQbipbJNKE9iddyGLUNpGqLkIfUvpP+uv/pzqr+w+hyvLKc6o3QltceIvaz1RwolKAQVf4h5ovpLqo9Vzmh/SmjPpzZK6Y65EuHZpb14LjmU4BDyfuZ/2af+RfS/clxnyA6HrAFjcaUocJ0hGxy4zpAFClxnqJz27JOV057rDJVUn+sM2eDAdYZKE+A6QyW15zpDtjhwnaGyJBixLqs/1xkqTYDrDJXRfzfme999T+UXVh4lPsSCZKQs9I3PGRktRCI858p5Ektr/008iqsbLKv+uU9zH1P9BTVfW/N/j2si3lQdV9+O1xUv/pmTGednquRFPD7f5TaNWnNTkYURFj1ZmGDR+rzMZGGIRU0WJlj0bC+MsOj8H1nYYNHHtrsjCwMsxpibniyMsOjJwgSLmX09UyxqsjDComa9MMOiIQszLFqyMMOCfT0bLJqYm4bxKBMsesbMzbAYyMIMC/b1rLBoY++CfT0rLNjXs8OCfT07LNjXs8OCfT07LDjebYVFQz/KCIsp5qXmuJ4ZFh3rhQEWEjGnjbLBoicLUywasjDDoiULQyw4lmSFBf0oOywGsjDDYiQLQyzY77bDYiALMyxGsjDDYiYLEyw43m2LBft6FlgMrBfGWNCPssKCczhtsBg5h9MMizDKyvVAbLDg3GZrLOjT2mDRk4UJFi98vvD20aDIAZkUZxJUFz0P/TbPSHjPkT+zlJ67nfj/NskYIyPnhu8H7kM8g3ws8XnjzyEdq3Tw1ovwHpIDegcG+Lz1512s2LXgu12Rixku4kuHFdP33C8Ob5AhIVuEwrF837AlKmxprJLZ9n9b5GGGx47fG94H1Poz+WY4O1x243EHMQ4Q3lET9p6TT3E+O8pnK17jxB3Hlp9kypORY97r/rPI6Be+Yc4kGfRn5DokZIcQfQBLND76T2eOkUw7TF7E64ftXlTqTD0AErJHKKtD/8wen+CdHflUfIgpISF7hF7GKx3744/YBhnk88p9SSrmqAQKpGKNSnjXM700e1y+cngbcbgm30hsj9A7/+0o5opsrLHZ9ncgFXtUgsbfRQ/6Z0bUTBPCTAEyssZoR69DMtbI7MZRnD2OrRlk83Ukc0IyhsjseVWOSMQQkaBHGFsjEztM+GTN0yDDCKdVPsdxJme4JuNodviEenO4Mufprd9/4jjzyTYl1iJ7fE5ZYwwReemP23cYvWFdsUPmtVfj1B97zPpiisqJV+VS4zMhtWRjic1VVOgijQ4wummHz811HWTuIGMEdvkwQmCPjqzFIc97ko0VNu/8ea/JwxCPwxgH2HI/+d+OPYEw3nnpt6f+fPZyLJEK89Jy/JPPST8FSm98Sva8l0BC1ghtxagBuVjjQr/NMh3xrdn2WGa0OuLGFsguJ9H4kGTMkdn193lOLma4cHTaIg/GPW1SwZwOWU2VfGzxCfr+EHNLLja4YE1IWjNbVOR8ErFEBPNswpOE4RMJWSMUVDnzv+yTjDEyV47rqD0FQlkdRjft8eE6atYJcR0123y4jppFKux9WqTCddRscuE6atYJcR01u2y4jppNKlxH7akQ4jpqVhlx3MAqGa6jZpcN11GzRmY3KrLvvicTM0xQS0IMTUY/Q3zgnFFoc4zC0+2cY2OHyjfx3lw7xQqXc5+bPubnC9L4TTT+7s8J5fpjbA/24tnh+Yt/3KF6ramuqPnCmvfUfFHNW5/mmZoX0Lym5otq3tOeL6x55/+o+bKa97EN7aj5gpqPMdU9NV9Y856aL6r5zD5REc1rar6w5jXL+eKaN9R8cc1bar645uwTLat5E1PdMN6yqOY9Y7mLaz5Q88U1Z59oac3b6J2zT7S05uwTLa85+0TLa84+0fKas0+0vOYcD11a84Z+y8KaTzHNNceJFte8YzlfUHOJ5NK2LKt5T82LaN5Q88U1b6l5Ac05ZrG05vRbltd8oOaLaz5S8wKasx+6vOYDNV9c85GaL675TM0X1ZzjoWU0Z59oSc0HlvNCmtNvWVpzzp1bVvORc+cW1zyMzvF5/2U15xzRUprTV1xW856aL6r5C59+vD8y5PyA2i+mfVBXdDv02zwy/Z4jScVpPHc78f9tEihEIGhwFr8fuA/x/uRQgsMbrzIplKaAVejDGwMO2EovyOGtP+NixR4FX+mK+i+uv/io+Z3noilJlCERVp3lW01LqM+WoDSBbf+3Rd0X133H7w1vsGh9SvjOpOX1343nH8R+cXgTQth7Tg6LcdhRDlsxDSdO3itOAssRCKpexPIf9p85eUc133JUkgD6A9I/I4nlSbAtLqH6R//pzDEit7z2L+J1wnYvKnKmLTFJlCORVaA/VI5D8IaO/PEf4h1JohyJly68L+rY3/2IbURBDq/cl1S/mPpBbapfSv3wxkx6ReX0/8rhPYwhTXwXYzkS7/y3o5h6MijFYNtfieqXUz9o+V30TH9mxMgECYwkk0UpFjsxPSRQjsBuHEXY4xhOQQbyHvcTEihAYM/n/ojKF1A+5DuM4VD75bXnkwW2CDBSV5rDcZxZt+3PY5xoeQ6hHhyuzGV5G8/gjBYbNFgrynE4ZQ0ooPxLf9y+w+gBy/7yBF77o0/9sccs/0XUP/G5v9S4REgVGZRgcBWVuEhRa0bpludw8/lvmePFPnN5Duwxl6Mgz+bL82hksDSDdz7/r6l7Ad0PY794y/3kfzv2Sofxs0u/PfXXYi+hBJEwryjH8fhcpiUab/w5e761JolSJLZiL5r6l9KffpIFCuKzsm2wwGJ1ZIctRHkeouUhCRQjsOuv95z6L64/RzVL6s74XVn1MbYvqwqSQxkOQccfYq6o/7L6Yy01WqEy6vO5j3LKY15FeAJqL55LEmVIhNyf+V/2SaAQgSvHdYwskcgqMEpXjgPXMbJCgusY2eDAdYxKqs9eWkn1uY5RWf25jpEVElzHqDwDrmNUVn2uY2SNBNcxKs2C8ezSBLiOUXkGXMeoFIHdmPN99z21X1x7lPoQI5LRtNBfPmfUtBiL8NQs51Qsr/438SiumbC0/uc+1X1M9xdUfW3VX3l93tx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byfTXl+ewon614jRN3HFt+kilPRo55r/vPIqNf+LY5k2TQn5HrkJAdQvQBLNH46D+dOUYy7TB54cKbwMJ2Lyp1ph4ACdkjlNWhf2aPT/DOjnwqPsSUkJA9Qi/jlY798UdsgwzyeeW+JBVzVAIFUrFGJbzxmV6aPS5fObyPOFyT7yS2R+id/3YUc0U21ths+zuQij0qQePvogf9MyNqpglhpgAZWWO0o9chGWtkduMozh7H1gyy+TqSOSEZQ2T2vCpHJGKISNAjjK2RiR0mfLLmaZBhhNMqn+M4kzNck3E0O3xCvTlcmfP01u8/cZz5ZJsSa5E9PqesMYaIvPTH7TuM3rCu2CHz2qtx6o89Zn0xReXEq3Kp8ZmQWrKxxOYqKnSRRgcY3bTD5+a6DjJ3kDECu3wYIbBHR9bikOc9ycYKm3f+vNfkYYjHYYwDbLmf/G/HnkAY77z021N/Pns5lkiFeWk5/snnpJ8CpTc+JXveSyAha4S2YtSAXKxxod9mmY741mx7LDNaHXFjC2SXk2h8SDLmyOz6Oz0nFzNcODptkQfjnjapYE6HrKZKPrb4BH1/iLklFxtcsCYkrZktKnI+iVgignk24UnC8ImErBEKqpz5X/ZJxhiZK8d11J4CoawOo5v2+HAdNeuEuI6abT5cR80iFfY+LVLhOmo2uXAdNeuEuI6aXTZcR80mFa6j9lQIcR01q4w4bmCVDNdRs8uG66hZI7MbFdl335OJGSaoJSGGJqOfIT5wzii0OUbh6XbOsbFD5Zt4b66dYoXLuc9NH/PzBWn8Jhp/9+eEcv0xtgd78ezw/MU/7lC91lRX1HxhzXtqvqjmrU/zTM0LaF5T80U172nPF9a883/UfFnN+9iGdtR8Qc3HmOqemi+seU/NF9V8Zp+oiOY1NV9Y85rlfHHNG2q+uOYtNV9cc/aJltW8ialuGG9ZVPOesdzFNR+o+eKas0+0tOZt9M7ZJ1pac/aJltecfaLlNWefaHnN2SdaXnOOhy6teUO/ZWHNp5jmmuNEi2vesZwvqLlEcmlbltW8p+ZFNG+o+eKat9S8gOYcs1hac/oty2s+UPPFNR+peQHN2Q9dXvOBmi+u+UjNF9d8puaLas7x0DKas0+0pOYDy3khzem3LK05584tq/nIuXOLax5G5/i8/7Kac45oKc3pKy6reU/NF9X8hU8/3h8Zcn5A7RfTPqgruh36bR6Zfs+RpOI0nrud+P82CRQiEDQ4i98P3Id4f3IoweGNV5kUSlPAKvThjQEHbKUX5PDWn3GxYo+Cr3RF/RfXX3zU/M5z0ZQkypAIq87yraYl1GdLUJrAtv/bou6L677j94Y3WLQ+JXxn0vL678bzD2K/OLwJIezl+xCW47CjHLZiGk6cvFecBJYjEFS9iOU/7D9z8o5qvuWoJAH0B6R/RhLLk2BbXEL1j/7TmWNEbnntX/gr7cbtXlTkTFtikihHIqtAf6gch+ANHfnjP8Q7kkQ5Ei9deF/Usb/7EduIghxeuS+pfjH1g9pUv5T64Y2Z9IrK6f+Vw3sYQ5r4LsZyJN75b0cx9WRQisG2vxLVL6d+0PK76Jn+zIiRCRIYSSaLUix2YnpIoByB3TiKsMcxnIIM5D3uJyRQgMCez/0RlS+gfMh3GMOh9strzycLbBFgpK40h+M4s27bn8c40fIcQj04XJnL8jaewRktNmiwVpTjcMoaUED5l/64fYfRA5b95Qm89kef+mOPWf6LqH/ic3+pcYmQKjIoweAqKnGRotaM0i3P4ebz3zLHi33m8hzYYy5HQZ7Nl+fRyGBpBu98/l9T9wK6H8Z+8Zb7yf927JUO42eXfnvqr8VeQgkiYV5RjuPxuUxLNN74c/Z8a00SpUhsxV409S+lP/0kCxTEZ2XbYIHF6sgOW4jyPETLQxIoRmDXX/E59V9cf45qltSd8buy6mNsX1YVJIcyHIKOP8RcUf9l9cdaarRCZdTncx/llMe8ivAE1F48lyTKkAi5P/O/7JNAIQJXjusYWSKRVWCUrhwHrmNkhQTXMbLBgesYlVSfvbSS6nMdo7L6cx0jKyS4jlF5BlzHqKz6XMfIGgmuY1SaBePZpQlwHaPyDLiOUSkCuzHn++57ar+49ij1IUYko2mhv3zOqGkxFuGpWc6pWF79b+JRXDNhaf3Pfar7mO4vqPraqr92b2MkYVV1XH07Xld8+mdOZqufqZIX8fh8l9s0as1NRRZGWPRkYYJF6/Myk4UhFjVZmGDRs70wwqLzf2Rhg0Uf2+6OLAywGGNuerIwwqInCxMsZvb1TLGoycIIi5r1wgyLhizMsGjJwgwL9vVssGhibhrGo0yw6BkzN8NiIAszLNjXs8Kijb0L9vWssGBfzw4L9vXssGBfzw4L9vXssOB4txUWDf0oIyymmJea43pmWHSsFwZYSMScNsoGi54sTLFoyMIMi5YsDLHgWJIVFvSj7LAYyMIMi5EsDLFgv9sOi4EszLAYycIMi5ksTLDgeLctFuzrWWAxsF4YY0E/ygoLzuG0wWLkHE4zLMIoK9cDscGCc5utsaBPa4NFTxYmWLzw+cL7SoMiB2RSnElQXfQ89Ns8I+E9R/7MUnruduL/2yRjjIycG74fuA/xDPKxxOeNP4d0rNLBWzDCm0kO6B0Y4PPWn3exYteC73ZFLma4iC8dVk3fc784vFGGhGwRCsfyrcSWqLClsUpm2/9tkYcZHjt+b3gzUOvP5Lvi7HDZjccdxDhAeFNN2Mv31ZTns6N8tuI1TtxxbPlJpjwZOea97j+LjH7h2+ZMkkF/Rq5DQnYI0QewROOj/3TmGMm0w+SFv99u3O5Fpc7UAyAhe4SyOvTP7PEJ3tmRT8WHmBISskfoZbzSsT/+iG2QQT6v3JekYo5KoEAq1qiENz7TS7PH5SuH9xGHa/KdxPYIvfPfjmKuyMYam+14F1KxRiVo/F30oH9mRM00IcwUICNrjHb0OiRjjcxuHMXZ49iaQTZfRzInJGOIzJ5X5YhEDBEJeoSxNTKxw4RP1jwNMoxwWuVzHGdyhmsyjmaHT6g3hytznt76/SeOM59sU2ItssfnlDXGEJGX/rh9h9Eb1hU7ZF57NU79scesL6aonHhVLjU+E1JLNpbYXEWFLtLoAKObdvjcXNdB5g4yRmCXDyME9ujIWhzyvCfZWGHzzp/3mjwM8TiMcYAt95P/7dgTCOOdl3576s9nL8cSqTAvLcc/+Zz0U6D0xqdkz3sJJGSN0FaMGpCLNS702yzTEd+abY9lRqsjbmyB7HISjQ9JxhyZXX/f5+RihgtHpy3yYNzTJhXM6ZDVVMnHFp+g7w8xt+RigwvWhKQ1s0VFzicRS0QwzyY8SRg+kZA1QkGVM//LPskYI3PluI7aUyCU1WF00x4frqNmnRDXUbPNh+uoWaTC3qdFKlxHzSYXrqNmnRDXUbPLhuuo2aTCddSeCiGuo2aVEccNrJLhOmp22XAdNWtkdqMi++57MjHDBLUkxNBk9DPEB84ZhTbHKDzdzjk2dqh8E+/NtVOscDn3ueljfr4gjd9E4+/+nFCuP8b2YC+eHZ6/+Mcdqtea6oqaL6x5T80X1bz1aZ6peQHNa2q+qOY97fnCmnf+j5ovq3kf29COmi+o+RhT3VPzhTXvqfmims/sExXRvKbmC2tes5wvrnlDzRfXvKXmi2vOPtGymjcx1Q3jLYtq3jOWu7jmAzVfXHP2iZbWvI3eOftES2vOPtHymrNPtLzm7BMtrzn7RMtrzvHQpTVv6LcsrPkU01xznGhxzTuW8wU1l0gubcuymvfUvIjmDTVfXPOWmhfQnGMWS2tOv2V5zQdqvrjmIzUvoDn7octrPlDzxTUfqfnims/UfFHNOR5aRnP2iZbUfGA5L6Q5/ZalNefcuWU1Hzl3bnHNw+gcn/dfVnPOES2lOX3FZTXvqfmimr/w6cf7I0POD6j9YtoHdUW3Q7/NI9PvOZJUnMZztxP/3yaBQgSCBmfx+4H7EO9PDiU4vPEqk0JpCliFPrwx4ICt9IIc3vozLlbsUfCVrqj/4vqLj5rfeS6akkQZEmHVWb7VtIT6bAlKE9j2f1vUfXHdd/ze8AaL1qeE70xaXv/deP5B7BeHNyGEvXwfwnIcdpTDVkzDiZP3ipPAcgSCqhex/If9Z07eUc23HJUkgP6A9M9IYnkSbItLqP7RfzpzjMgtr/0Lf93duN2LipxpS0wS5UhkFegPleMQvKEjf/yHeEeSKEfipQvvizr2dz9iG1GQwyv3JdUvpn5Qm+qXUj+8MZNeUTn9v3J4D2NIE9/FWI7EO//tKKaeDEox2I5Xo/ql1A9afhc9058ZMTJBAiPJZFGKxU5MDwmUI7AbRxH2OIZTkIG8x/2EBAoQ2PO5P6LyBZQP+Q5jONR+ee35ZIEtAozUleZwHGfWbfvzGCdankOoB4crc1nexjM4o8UGDdaKchxOWQMKKP/SH7fvMHrAsr88gdf+6FN/7DHLfxH1T3zuLzUuEVJFBiUYXEUlLlLUmlG65TncfP5b5nixz1yeA3vM5SjIs/nyPBoZLM3gnc//a+peQPfD2C/ecj/534690mH87NJvT/212EsoQSTMK8pxPD6XaYnGG3/Onm+tSaIUia3Yi6b+pfSnn2SBgvisbBsssFgd2WELUZ6HaHlIAsUI7PrrP6f+i+vPUc2SujN+V1Z9jO3LqoLkUIZD0PGHmCvqv6z+WEuNVqiM+nzuo5zymFcRnoDai+eSRBkSIfdn/pd9EihE4MpxHSNLJLIKjNKV48B1jKyQ4DpGNjhwHaOS6rOXVlJ9rmNUVn+uY2SFBNcxKs+A6xiVVZ/rGFkjwXWMSrNgPLs0Aa5jVJ4B1zEqRWA35nzffU/tF9cepT7EiGQ0LfSXzxk1LcYiPDXLORXLq/9NPIprJiyt/7lPdR/T/QVVX1v1//C/n99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aek09xPjvKZyte48Qdx5afZMqTkWPe6/6zyOgXvm3OJBn0Z+Q6JGSHEH0ASzQ++k9njpFMO0xe+Pvtxu1eVOpMPQASskcoq0P/zB6f4J0d+VR8iCkhIXuEXsYrHfvjj9gGGeTzyn1JKuaoBAqkYo1KeOMzvTR7XL5yeB9xuCbfSWyP0Dv/7Sjmimyssdl2fyMVg1SCxt9FD/pnRtRME8JMATKyxmhHr0My1sjsxlGcPY6tGWTzdSRzQjKGyOz56x+RiCEiQY8wtkYmdpjwyZqnQYYRTqt8juNMznBNxtHs8An15nBlztNbv//EceaTbUqsRfb4nLLGGCLy0h+37zB6w7pih8xrr8apP/aY9cUUlRN//UuNz4TUko0lNldRoYs0OsDoph0+N9d1kLmDjBHY5cMIgT06shaHPO9JNlbYvPPnvSYPQzwOYxxgy/3kfzv2BMJ456Xfnvrz2cuxRCrMS8vxTz4n/RQovfEp2fNeAglZI7QVowbkYo0L/TbLdMS3ZttjmdHqiBtbILucRONDkjFHZtff9zm5mOHC0WmLPBj3tEkFczpkNVXyscUn6PtDzC252OCCNSFpzWxRkfNJxBIRzLMJTxKGTyRkjVBQ5cz/sk8yxshcOa6j9hQIZXUY3bTHh+uoWSfEddRs8+E6ahapsPdpkQrXUbPJheuoWSfEddTssuE6ajapcB21p0KI66hZZcRxA6tkuI6aXTZcR80amd2oyL77nkzMMEEtCTE0Gf0M8YFzRqHNMQpPt3OOjR0q38R7c+0UK1zOfW76mJ8vSOM30fi73xfK9cfYHuzFs8PzF/+4Q/VaU11R84U176n5opq3Ps0zNS+geU3NF9W8pz1fWPPO/1HzZTXvYxvaUfMFNR9jqntqvrDmPTVfVPOZfaIimtfUfGHNa5bzxTVvqPnimrfUfHHN2SdaVvMmprphvGVRzXvGchfXfKDmi2vOPtHSmrfRO2efaGnN2SdaXnP2iZbXnH2i5TVnn2h5zTkeurTmDf2WhTWfYpprjhMtrnnHcr6g5hLJpW1ZVvOemhfRvKHmi2veUvMCmnPMYmnN6bcsr/lAzRfXfKTmBTRnP3R5zQdqvrjmIzVfXPOZmi+qOcdDy2jOPtGSmg8s54U0p9+ytOacO7es5iPnzi2ueRid4/P+y2rOOaKlNKevuKzmPTVfVPMXPv14f2TI+QG1X0z7oK7odui3eWT6PUeSitN47nbi/9skUIhA0OAsfj9wH+L9yaEEhzdeZVIoTQGr0Ic3BhywlV6Qw1t/xsWKPQq+0hX1X1x/8VHzO89FU5IoQyKsOsu3mpZQny1BaQLb/m+Lui+u+47fG95g0fqU8J1Jy+u/G88/iP3i8CaEsPecHBbjsKMctmIaTpy8V5wEliMQVL2I5T/sP3Pyjmq+5agkAfQHpH9GEsuTYFtcQvWP/tOZY0Ruee1f+Ovuxu1eVORMW2KSKEciq0B/qByH4A0d+eM/xDuSRDkSL114X9Sxv/sR24iCHF65L6l+MfWD2lS/lPrhjZn0isrp/5XDexhDmvguxnIk3vlvRzH1ZFCKwba/EtUvp37Q8rvomf7MiJEJEhhJJotSLHZiekigHIHdOIqwxzGcggzkPe4nJFCAwJ6/zhGVL6B8yHcYw6H2y2vPJwtsEWCkrjSH4zizbtufxzjR8hxCPThcmcvyNp7BGS02aLBWlONwyhpQQPmX/rh9h9EDlv3lCbz2R5/6Y49Z/ouof+Kvc6lxiZAqMijB4CoqcZGi1ozSLc/h5vPfMseLfebyHNhjLkdBns2X59HIYGkG73z+X1P3Arofxn7xlvvJ/3bslQ7jZ5d+e+qvxV5CCSJhXlGO4/G5TEs03vhz9nxrTRKlSGzFXjT1L6U//SQLFMRnZdtggcXqyA5biPI8RMtDEihGYNdf/zn1X1x/jmqW1J3xu7LqY2xfVhUkhzIcgo4/xFxR/2X1x1pqtEJl1OdzH+WUx7yK8ATUXjyXJMqQCLk/87/sk0AhAleO6xhZIpFVYJSuHAeuY2SFBNcxssGB6xiVVJ+9tJLqcx2jsvpzHSMrJLiOUXkGXMeorPpcx8gaCa5jVJoF49mlCXAdo/IMuI5RKQK7Mef77ntqv7j2KPUhRiSjaaG/fM6oaTEW4alZzqlYXv1v4lFcM2Fp/c99qvuY7i+o+r2qv4j6nbsw4+p5nHW1eYvETQK40+pVnjmZuX6mql7E4/Mdb5OpNWcVuRjk0pOLOS6tz9dMLka51ORijkvP9sUgl87/kYs9Ln1s9ztyMcZljDnrycUgl55czHGZ2a80y6UmF4NcatYXk1wacjHJpSUXk1zYr7THpYk5axgfM8elZ5zfJJeBXExyYb/SIpc29l7Yr7TIhf1Km1zYr7TJhf1Km1zYr7TJheP7Frk09McMcplivmqOV5rk0rG+GOMiUX7aMXtcenIxy6UhF5NcWnIxyoXjYha50B+zyWUgF5NcRnIxyoX9fZtcBnIxyWUkF5NcZnIxx4Xj+3a5sF9pjcvA+mKYC/0xi1w4D9Yel5HzYE1yCSPJXB/GHhfOG7fMhX6yPS49uZjj8sLnEe/EDeockI8pPoGAaHvot3k2xnuOaD4JYs/dTvx/m5QMU5Jzw/cD9yGeQVZWWb3x55DUUyCFt7SEN+cc0LMwxuqtv9LFiu0LPuAVGZlkJP55WO1/z/3i8CYk0rJLKxzLN2tbJcSW6SlQ2vZ/W2Rjks2O3xvegNX6M/lORJuMduNxBzH+EN7OFPbyHU22WO0oq62YzhN3HL0GUrJFSY55r/vPIq9f+OZF85TQX5LrkJZNWvQfrJL56D+dOUZZbfJ54e+zG7d7UbUz9R5IyzatrBT9PNusgpd35K/1IV6PtGzTeunPPPDX+qdnxjbLNqtX7ksSMk0oECEhy4TCW9fp7dlm9JXD+8FDuvmOcNu03vlvRzGH5GSZ07a/AwnZJhT0/i565T8zwvdkaGFmBHlZ5rUT00xKtintxlGoPY4TGuf0daR0QkpGKe35Ox+RjlE6QZswTkg+NvnwyaanR4nR16fA6jjOgN325zGuZ5NVqE+HK/PA3sa0cDbY0yHG2mWb1SlrklE6L/1x+w6jT6xDNim99sqc+mOPWY/MEgp3vtQYUUg5OVnldBXVukgjGoy82mR1cw0PmWfJ2MTTYMXIhG1SsgaLPJ9LThY5vfPnvSYbo2wOY/xhy/3kfzv2NMI47qXfnvrz2YuySi3M28uxWT7v/tSIvfHX2/MeBmlZprUVoxVkZJkR/b+nQkr8dbZVT4XX6ughW6ynwUz0PiQl05R2/f2ek5FJRhyBt86GMVn7hDCfRVbyJSu7rM7ivX8gI5OMsO4oLZ5dQgeOz6ZZpoP5RuFpz/CJtCzTCgqd+V/2SckwpSvHdfieGq2sFCOvtllxHb6nRIvr8D0dVlyHzzoh9nStE+I6fPYZcR2+p0SL6/A9DU5ch88+Ia7D9xRpcR2+p8CLYx1PgRLX4XsanLgOn2VKu1Gdffc9+Zjkg9oTYnoyqhviEueMlpvmFVYs4Fwjm4S+iVfg+jkWGZ37nPUxb18YIvNX92ffPh74/Jy7f/PfrlKuw/faHzn5FF/HT4O/V/jUutmN+mnyf/Jr5X+XfaP/XT71/p98av0R8imoIJ8qvUrjt7V+mvTcZuW+nZ7bpBTU/tOgnyo9Llyt109DPCOUpEa3+N7rdojbOp7baErCNty9i5+uY56muH+K54d01LptdIv9vW6HuG31e6vX66IO4X/8Pup9Wt0Ouh31eDmv13R0ur/X+7YxXeH4Tre9/l7rFtdtVLlW9Wpu6IW71qo0zuuUaruScvDr9VOn1Lqok6gJik26W60pr1XhSVNaJYVDToNOk27xe6vbQfeP+r3Rba/7W93iuE5/x7bW/bOmelJt65WyNKZPvX7q9FOjKZOSNqsWteo26ZUq3dapBlR6TpvKaZ00rbX0Ven8VtNWp7tWeo82/dakWoBaFQhC3UFzixrVpjzNKS29atJqzkG1i0fJFkdUUbVR6UxKZ1K1J1V/SvQa/Y5tpftrvQ7OH3Rb63bU4yr9jnqK8ot0QSnwaTR/nZ4j9mlwsEUgMae81qoDciFscFyb6DTJeuXyPK6UhtbBPuG+qC3NilUaV0pNp7QmTXMo02JXOrVPnea7U/vUaQnptWZ1WnvELkxae0bl0mipn7QmT1rvJy0zk9qHSevlpDpOyn1SOzRpOZq0tk7KYdJaOGn5mlSjScvJpDQmLVmT8po075PW1klrzqSletLaXCcF6lQrRC9cJdsn3D/bp1HvCPs0JOJjynWlaoJnq2WhUcVGtS+N2p9RS/CoJXxUnqNec9QyNGqJHrUmjloDRq0hYW+rWxzX6e/Y1rof9mnWM1By6/RbrXep9Ti0ojiuThRr1W3SK1W6zfapS9eBdUBb0Sa9unR+tk9onSstAdl2gUmjlITgrFcYNLewT12qyXNKS6+8a5ftE1KA63R6hOSo1/2DHjeodoOqPyR6jX7HttL9tV4H5w+6rXU76nGVfkc9RflFupBO5KpNZXZKuRlSGZ0TPVjnLpV7WEdpa+FnoR1pk+Vr9e5in2CVwLhZuW+XWuMhaT2mUoPyU6X7VqpDo2WiUTvSqB1B+4561GiaGrULvV69V50brcm9lqReOfZaLnqtfb3q2Gs56TU3verap+tM6T69bifdhv2DWoxB89ar3oPao15V77VW9lqvBrV3g9qrPtWTJtUT+JKiV6NHoQ708bwh+VitlvNe7YQwhcc8JjUaVTP7T6hLteZUSnKTct4nhWv9LjnqVLle79urMl06r9PtqPt73eK4QX/HttUtyjOYrJalNn2qk13JpRQWptYzJ73mpGkeUl7QLufSiXa5VqskNWvS0jbpeb2DfYJ9AcEp/ZZ90j71E5CSQa/UpxrVpZxkOwxNcsvfpvIDTXCE5KjV/Z3mtNVUtUl9/N7pfmwb3d/qd5w/6Rb7Zz0O90O9hcK1pg9Ko/2Al9OlktmpCnXyvuvkT9cr/nKbNG2T8m2qH20qxW1qG5rUbjXJQjYr9+1T3RoS7SmVLvQrq9QOVZof9Adh1xpND/ywZuW4Ubch17PWnjn1XMTuzFqSZ633s9qHWdM/q52Z9Xqzcp/VDs2a/nnlPr1uJ93K/knPmzQdY9qP+1Z6/KDbUX9vdYvrZvuULQbs+axXQ3+hW7l/tk+zphj2KXvROdeNqpn9J/htjaaoU/s06/XapHCt3yVHjV6z1Ry0qkyTzut0O+r+Xrc4btDfsW11m+1Tr3dGCUJ5rZPnXyd71iZ7LntFi1a3lV4Jecn2CX5+l6wD+mdtajVRGuDr5J52o3VjXrFd2SeFFapW8jJpLrN9gk84p7QgvUOqs10qR7VeZ9AjJEe17m/0OChQJ/Xxe6f7sW10f6vfcf6kW+yf9Tjcb1BlkPta0welYZ/apDW2OU8oy9AN1us6pn/Uba9blOZJvze6rXSLcoPz5HogDDsEa4WWaUjbTre9bnFcpd9H3YoHIukYkqUWT2RIv4/6Xe4zqEUa1CINqtyg1x20Tg6ajkHTMWi+BrUQQ/JMxnTepFvZP6V0DHp8o1vcf9bjcN3st6J9QBmXfMLDHfT8QXXAfcABXm+v+yfVr1bdK93Wet1edZPvTdJz1O+DblvdX+u20/29fq902+p+XA/HNfp7o99n3cKvQT4rTe+o2163KJezpn9S3WbdDnp9pH9WPXB8r1uUn1q3k943RzjkuEb1w36Ud5RflL9O74d0zrqF7ihHaCFGPQ9blAtJR6X7a81PrTrWqmuduFT6vdLzJv0Ozxznd/p91u+9bnE86l2r6UC6Bt22ml/oDwU7rWNSZnNPLPuOsDTZVx8S7aw32r7WIebQJPWaZI2blfvmuANSkLnWKWZXpXMrLf3NSsvb6bbXrViPSf2XUf0b0KxSD6JSMtkPr1KZrFItrpJdrFyOLqLsVEnVKtnJKuWqSja5Sla5Su1xlSx3lcpc5fqVq0zpU47e55QO6dwmfcrpm9MZ+W65FcWnOqVgTvfN/u+wokHuo+UUgHb2jseU5s5hfCB7RvB5m3RXsTltimNVrlqhM6Z9Q/rUpl/r9KlLv/ZpX5U+tenXfI98RpOOa9K+OX1COc3lD30t2C35BD+jT5ogLbWWMiEwp09Dum/OL9qF1VgWvLI8NiT2u1nROo9S5FGNOmmR25/ci85k55WrdCkl6ImgJNepfNQrJSq3cF3a16yUo1wuxfeZ1HcSNWdtqWY3q88zrxCvdE+lZ076HV46rtDp91m/97rF8bASbUpLTl9mCpWzLzUl1XLfG1ohui/2Mo/3oV3oE6t2hRpqUJUs4phoIdbVrNw3j7MMKX3ZSubSnMsB+ni15rpW21in/egDY1Rq1K2MJQgXjBugH9rrcb2W1V7P77Xc9Uq6d4hi1NqXR4SmTr+3eh/ZjxhUpX3yRs9r9L5N2j/p+Z0eX+kW9x91i3xA4TZ9yjV9TEflVqjT89H2IepQrzDNfT/kBmrm2BT68hiVmbWuSsnv3JgU7vV7p9tat7P+3uj3VreT7pfjBj1uTMdV+nul33E/tOFzOgJWK4/E5dhCjofOqaTVSe1Rt51eCXlBDcgxrjzGlq1aLm3IC+pQne6KklCl32D3mpU2F7mcNffwaJpkYWs3p7Qg3od6l8eg57RFDiVHve4fNKe9qj0k9fH7pL9jO+h+jEl3+r3R76N+b3WL41EfkXukq9Mt8tKkPOTo3ZDKMco4xn5F2+z15nGg3IOc06ccQ4RVGldKA/y5fF/4So3LsbMppTS3xbBtlUOktlf71Kud6dU+9Q59YIxKjbqVERVJz+QQ05r1u9TkKVl9tB6Vti+iy6Q6Tsp90jI+aTmaVLVJa+GktXBKsaVKW5dKW58q7Z/0/E6Pr3SL+4+6RT5glXJ9yx4LUjm6bJ+Qr2yfcEdQy5GNMakCNbMHli1Vo/doVUlRsE8K9/q9022t21l/b/R7q9tJ98txGI3t03GV/l7pd9wv26dOj8heVZM+5XF65BeeYK2twqR2aNJyPmntmlZ6KrCGuU9ep7a/VTverOQl26DsL9d6j/wbakH21+ekbqNXgn3KUZw8Htan0pbtE8pJr1uUJ8lRq/s7zSmO75L6+H3S37EddD/GpDv93uj3Ub+3usXxqI+tpgPp6nSb7X4eYc69iNwfhw80rdgseEioFa3LEch2hQ7KfpXqzOiy15R9Kty3S6oPKX0gUaX2rUpeWJV+xbgGrB5YoUahvwgPQq4FrwH9YIwzYiwA8WP0l1otYZgT02pJgH1GH7vVWoM5GRjZR18MerVamzGGjfYYMVmM/8N6IMKNeoF+R7tileAP1yv9BNwlxxl7vS6UbLVE5RG9NvWMupTbPBMtWyW09eiZd1onMbumSQrju9yn1pw0mgPM0mlUgUav1+hxtR7X6HG1KtKkba/bHCuZ9Mo5ptylT7BUea5G7i9Vemav14RabcpLHjOC99Im64BecOvqVAqREtSheoXSrPfAb8hB43IcA+Wj09zndiHfd0pp6VXr7AFD/U63bcqhXLfS/bXmtFK1q6Q+fkf8BdtO9yMqALqVfu/1e61b3G9SZZBSpA9KIy9NykOOguVxhjw2DY8Ls/DEZqF09y57TTnmmeewwSqNK6UBPlW+L9qCxuW5dbmFypEO+G2Vw1gd7EurNahV/wmRc9jrNh0vczGk9owO/UNJ1ag1edR6PzrMbun0PLEzY7qOcB81B6Peb9TaOmotHLUWjlq+RuUyajkZ1W6NWrJG5TWqlqPW1lFrzqilenR5vLpLuuYYEeYXNS7bp0HPz/Zp0JSBGiIi6JONLs88y/ZpTp8qvUetSkrOqqQwvktMGLN0Ks0BZulUqkCl6UFsd9bjpEQODrNoqrTtdZtj6Y1eOc+zy5/ynCbkF1a31tIwaikatXSNWrvGZHfQvtQux9Zrh94vbDD63GOyXJijKJRQMrJ9Qi3oVwgOqm6lVwKBHA+b06c+XTPbJ5STVs+f9AiJoEsdHFSzQb2RwU1Jffw+6H5sO92PkSHQrfR7r99r3eJ+kyrTajpaTR+UznY/98KuVWXR4lp9rmuHGdLSF0XLc73C6XqlRZBvGPO/Ti0jFM32HpYKSqNFQMlBWwc7dq265bnl6MHkuJ9sc/Qa7c918r7kf/hZ1w7jrfI/RtDhs12ntifbyWuHsViMyF67HFlHT0Wufe2k533tchwEcbQ8U/XawR+Qfj1mcl0nm4C5FNcr1lmYiyIYKbx2mFcHS3jthlSKrh3GMjHidu0wv67WknPt8vwDzFWEj4Q6hVp+vWLZrx3mAWC25bXLM2/hZ8HPhT+La2KO67WD/3Xt8jxxePnwoa4d5nzCYl6vlBwZ30bfBn0NzKa9dpi/jllV1w4ztjD36TpFYBD1ul6JuVw7zM3HPK1rhzlcOXp9naIFUo+EZhuf8rj5ZEfY8zE+YXzXUx+1g8crI5ObTua+SGnfcNL7l3kCoeRuOunZIIY3aDxCZixtOuktSJuLVkN6+jLbcYzH9NqLyxERGW+eYwpgwSRiKnGWTSdxUon6YxZvq610FY8QX7TS/myendRoP7z3x8i83Uq9tT7mEWNnXcyBjFjLODPGqqSNFku6qW1xoz3bOV4jKNOpjyKzsiXK1GiqtvwxlUNUf9SjNp3MfJw0jau2ZtZ2XYjMDrPqpTXu434ZBR5SnxezqBAF3dRWR+Jc4Rp4dmRS67jpMPNN/KZADN5ppR6FpEDGCzGT8jqmTI4ST7hLx8OnkzGlTTepjy5jFJKX1fEBmX0l7Cf1R7NPKqNQ0idu4j1lLg0sh8ydCvne1BRK5AD+II6V8bRN12hepfeFGK5YC6nRkq9WW2pEjMTPa2MJaRzmpmHOrZBotNctqRRfA+MJ4sFIfFlqkkT8xYuCJZu1pMrMMdFOoqNSH2XGssTcNtWDEk8YM7s2nMy6bzUdbToTMdCgQqXtuqSgdojXyuxkod7rfTGi1SkbmRUsR0hvEZ6b2AFJk4yXbDqJG2Lu5oaTOLXUgD6WokE9Q8zllFT06klUUYdGy460VOJTNdpXlPzIsyC91sdZLVOld5CoY+Py0x4Sz5DcScnC3A95AmfSs1q1LY1+w+yMWS2dlNBNl+MVEjGTOF8VFZA7YqxH5sDN0RZ2Wntz7FBKukRD2lg/xVYMDjHSKdWITSdz9qVm4RkPieyKtRQ7IbP20DMRGypRAZm3t6n1D1HWQVsDmXU3azpnvVubauagqZ8jIYlvIBIis+hklKCNV5DyLzP9ME4kT5AMqpNY7jqRnlVlpALzIuQ46c22yWpI7KFLNgzP+MhTKY1aMnga4kfLTLkuliCZPYc5tlIKhfOg9U3qImZtSCmetcS32rpMyQZfu9vWWM6flFjrMONdrtGrNZY+ch6VbdWqVaqTjLBMyRNotbWV2aqbDnPXZW546/AcjjyVM2mNGzR3Ui+vtSVsk03adDJ3Sp6NQB9N2iSpz00kgnkvmHNcOTy/iB7SppbqyqFXJCPbndoiGXuZtdXEPK02tbCD1s1GqY0xtY3Wf5kTsan1UGarY0yu07rcrxAWC5xjL5OWa2kboCOeIJBrjtrKSH0cNL1DajtaVWrTybwmKdM5atVr69ConZFYdZ5pJE8btTGVk95pdBjvh42R8YJNtWsy7pOf5Ji1ZrV6jMRd85M8k+ZB2NbauuU5SBtOIi1tTKPUU5RU9CcmbT/EJo9qJyuHOVUbrk75aNRajtriIb6y4WQuMErPqD6KtLjSv9hw4gtKCZ3UPg1agsQz3nAyN1BGjTc1t62y6x1Ggm4fUWnrMjlEQyRSWyu9UWvwrKoIb2ldxEqN6gFizuWs5axX77ZJ3mWeBS/2SeZINPFeMhqPJ4t7bd8mvYvUnkFbKcyEG7SUderBVLrN45nyHGSbLG4+Cv26Xi3zoBZLShcig1J7q+S7jKoBPPxO7VSVSuy4Ql5iXKP6wk2ynJNeeUPLcKWt06bWAukhDElxlHCxZxJhECvU6TEyF0EiQJ2WZ5lri7nKo1oD8d2rmOZalcDTj53WoEm9mVl9jhzrrLTcyW+ttvPi70gplGeQZJ7kppKQGiOeAGpUpT6M9CereKVJW1n8DS4/VTcqA7H+my7HVaWsdOmsTfXaMN43qteHut4qCbF5mGVbaa4GJSrj+PkZpUm167WObmo5z/MMer0L+kWYPb6h5ULiYp22fINDbFH85z55J63WrfxMi1jQUdv/TYe43qzlUSLV4ie0rk7qyPNis+rbaxkRFQf1gWaHkW2ZTyLebq3Wu1X7glhxrcTkCptaCmTuFKL0o5Z8eapW/PrOYeastOSTenzSa+q0Rc5PLjSakl59ukbPz6VMvMRGLafEWCf1JhChqNWioj+U263G4ak7Kat1qsOT2kXE/uBndGqhZaQHURQZkazVZxo0pzIijnG+0eGpH7F0rVootAAgMWirPTiMVmIW8YZau1b9LsxhqrVVmrWfI/0eyanMm5IcIKaJWVpj8sQn7Z1UDk/N/h4xhOxXyZMfs8Ooa6N+QK12alLtRocxuMfjAegrN2ptR61Pcv/c95cew6yWqFH7LXaojWq02qaLnRFPAr3A7CfAOsh8jk3Xa10VTdfrW6HNGVKZblW1/Gxsoz4IogzShmLe64ba7MphroPcRWpFo9apSdZsUosza4mRVGUrLk90SN3Y1LKFWfkbyV5UWlOlLk6qM+K5s3oyvXokiEdhZQQwbjTVjV5doljDSo4kvgrr0DpEJzCvt1ULISqK1ylPjcF3XcfCIRaOHiPs/KDtMmazSHuCXnCt18H4D54DntTSiQWTmf94/kNKjNjrUX1c+EGtWrBarSx4DupD5KeNu9RGwqqL34rnN2WsdtJWqlatpcVD/3lSmy2Rpi6WPTzNIHVO6nuvfhbilZif9Fg8adQWU9pzxCVn9bPQN5HRx059nNrlWBDWSYFXKfMWNvWq0rrmOW6DWqRWy/Sgtqt1iOQ1eo1aa/2gpQIzlh6OW0nb22m+W+2rdQ6j0dWK51Y7RHs7LedV8saEjFgNudegqZAjpK5K7148U9jBPA9MfHOpQ5VqjOuLfZeaPal9kJhx7ntV6fhGlepTOzU7jEd3WvPkuEFz0cTjpFWSyC3GuHvVFF4rfCzQy3NaK62hlZasKXkr93lD9/tQct6gdXnUVq7XtgSzqeF/rqYN5Qotj1iJ2SGKdxdHzMKRtmJys95r+OR4xMtnbX1F9exN3WQkJUmu2uh+rKIgUbBNh0hSrxZycIhF3PSpZRwCFkJS2KmdmbXejWrnpO3b1FrYaxs1aFm+VuvZaHu5+oceEpSq1Ieq1KZJHwtzC+SeldYWmTGO8QvM5lnvbyO2peLnikUQi9xrOz+vjCB8+tckKzdpmzarpZQezZZSu+vcQb0eKeESAZQ5WEL2oftuaM9kdjnKIVamUc1Xz5Yee6vtongfrXpoaEfh6TQOT/ghh31qUzYd1vF4vE/ca/uIlm3W1nlymDfy+X8bTiIAEmGTuGSTPLVVKnelefWvVcvSJ48lq1G5/o57t1qPxP/vtX2VvuBdx9/8u10C7s/J3X+P373XNlW85Vm9ihwLfKgkrqYLs8jv+xPb3mscRfoG0qPCcxiIrkjfFfNosTpLrXWm0folZRjzqMUiSQuX1RDPvlMPE6NoaEvFYvTqGW+qjzUka4D2ZNJ2XsrspL6/PKvX6n0mtUZ9SmXnMNaCVZ6yly/WFzFgRGfQ58AM6lH9FESXZv2lSn7yzRLSq8fTp/4Gnk+VSGStPnudarf0wDAetan3EN8A43lzarU3HVZV2NB+3qTe5GZq11ef34PXLGtQbaqOs8Nsx1p7poh9SU9A/Ij6k/xtqI9WO4xczFpWqlSS5Rli+EV5/YzWYQyjV28G9rbRa8u4GeJNm1rzNxzms0vLh1UkNpzMu560VIxaM8XDlPLbaCsmXgZG+jA/b1ixILJf+sCDtkiybtLNCNqoaam1FR91z+r17xpJxDMvEgFptA8vucd6FyhBs0P8FmP94U+imrXDfAK51qA9ijzPYta7YpxO0tpqqyD9rUq1Fx9PvGw8kzw7RL1HtVvo1eB5oPVGoKTO3hyBqpO/DpawiphPjliztDbibXRqaaUP3Gp9qR1GOFctHEZj4clIDL5RjySP2E5qkW+O8oj1GpLmEsfBvAGM8klrOSkFqVky9jVpKzRrjyD3XvBMRKUWRuiO2vZL7Fa0bbUkjeoNSy2fXX6GHDlo1fuetO4hviDRS4xbyEhzfvpP7i59aoz9iZ3HCgSDy2NMrVqu/Gww2qdBbTHGgjBT/lr9WEmflKBe7Q1mAg3q03eqK0bUMftZ4iaNtvHw1SWmiCfvJGIjPSPx/2XUe7U2SOskUdhWPULMUbjZcsJiDWqDMXNH/H/MARErXWtvpE72RNrGKtm1UXuQmL0v5b1S+12rx445jrVet3eIWkxqJeExT+rbSn9oU1tGSTHWmJR0tarHoCVE+hJtqh2r8yCqG79U6j3LKEuT2hE8WYXWEhEOjIJUes1Oj7k9CoK8ycinjGJJ7ArPlEpMstY6IWu+9Q4zYaSlk3RILwJ3lh7F7NC7khYFPoRY61Z7WNIWiO2btU/U67Xr1PPBuK60OY1DPxjHdFrPJK7WqYXvtMQj9or5j10qQ5vqO00uP3H86+ZCdOpziUXrU+rQSmHNDolhbjr0i8VjnbWMtW7T4QmlXts7sbCb2hZILA99EIn1Sw1r9KqIQY+pDGFWf6c9lbxaSuUwg0MiWVUqWfl5AunVwC8U/wKzWCV+mCNDndoXrHvX6dXb9Ls884i1BXK/QcY+ENPDM6DiaXd6fazWlNsUiZrlGFG18oennWVmTqethbSOtcNaWpPDmhdSGuRuYhMmh7WNW4cxTplhInayT+nHXITa5fkpnVpsaYEwYjBryyAxeYwRSTRFRr/GFY8Zlki8r1nbPUQSEUHDbBx42eKPSp8QZb9zWNWzc4hpTGrjQUiY1trmYJy6Ui8Sz0vVaoVmzavE33uHta0mpd6pn3DTD9hINhzcZm2HxWpivFzKKCKek4P3jzmqQ/ISpQVEZENqIJ7EEh+p0dYO/SewxwymyiH6WWlty0/pNqm9aLSWSF829yDGVK+lBKF9wPyANqUTkTCMYs7aask8lc5hdij61UJYWoVGey2NwyyQIdWBPBYnHoKMYmHV4Q2H8bkmlgqZKyitZLYkUjalBzBqKUfUfkgpx7MYmK+FWWeNwxq5iI2PLke7kDOh2qSS8Fj/e0NbU5lPMmiJET8Ma0VI5B9WrNHWc9QamK3FqNYCs1YwslA5rIaKMSnM0kKbuP5cNYzryupK6FW3WkY7hxXPZc5ro3lqlBfmnz82V018Z+nFNZpGaefEH5LedeUw03DUEoQ5StcO88Tz8yuj1uncHjdaw/BsvaR8Sv77sFI+pP+ZRzHyHEyJmEvvSEon5jng6UqM0YvnNGr7h5FBrI3aq19WOUSbMdqGNcLm5BmjjyP+9ezWmZWGWdJN8oZkDVhED0WzzeSlDA4RzWzVpLeB3iXmM7UOTwr36gk1KZ/oJWNervhEsH0yFjOpj5mfEpGYQeMqTWevXLE+CCK6s9b2Tv2+1SeBK7VyGDms9b6z1hhpNTG3L/vxncPIeav1GW22+JFCCiubYKZLo+UYtgzPusE3lPyJ79NpXcZK44/NR5OVXVqtBVIy4engSYg6pap1eS7P6PD8icTApAcu7bxY587lVRar1IepUu2ftDXFGofoC2NujvSU8CTmhsP83DGVEGn5OodVFDYcnpCa1fPMs9awGuHSs9Iwf6XXcoDoEmJl0qLPWpdlJoaMIdQur/Yyq28qfkWneZd8iYcjo0Kza1Y8g0l9ofz8HmYwd1oCK21f0F9r1EtGmy82K48OZ39n9U5SAmuH52NlRF4I9NpPwupfGPUWDxHjA1J3J20bMVL++LMYYkUnrY2YByCRdqmLDz2ZUKsFkD6FWEHxAfBc7ePPLoh3P2qrJpHuShXA839SZqT129QzMTaFeGmrRAe19rgubBpKN7RA9EF4YWW5DW2nKvU0MCt/SpYNlrhX7hK9vDkquOGwptnoMBNBat7ksIZrttxD6gNVqkDnMANLeqt9Yis9sUFtKp61fIp/q2MSjZabTfUZYXnFY5y0ncOqmfkPq4E1qlyXON81WvHwH0YKe/XuNhMtRKLX+dtwj0e0Jfe3Y9Q3r/Jbxi9Xr/N43FTyPjrMdMJMGUQTa4cxZInxY7wA9rBXfxOxIJTS5kbqNpw8iSGe4aAtEEbAW7XYs/oU6JGhxXk8gvq4Dg9Hij7v73Ou9ltGk2+WiMeiJb3DKESl/h1iPJ3DHPNK65JEmOQ7nggYteyvkpS5nJV6pWK/8TQjejQSQd90GEXsHHqfKOtSBqUN3lRfWjwo6bWJT9E5zLCR+RKYnwWb+ng05bEysNoT3lB7MiVfFPE+6dHebzFu96hX/9bp60qNe7wnm/9+y6yCVQXW6Un16t2LvcCMMymBQgOzSDFjdHRY4R3z1qXN3HSIXQ0OcWpYAswkmV1+kmRweOIao5itw2xJKX9Y70lmbOH5llX2KEnSi630rPZGP2fDjeo5YSyocXiCB/0YzDN6qDf00N/neGmj/vXay5g076BwP8/173L7zHV8qvD3uDd087rrz2DBU8Di+2FmlYzK5qf3am0F8tgynijCc2kbrlGvT3htahmFz5TX3Rq01W219MKPbT/RBxFGrPoHzy3HLlutTxi5xFgCxgla7X1I72/TYUX+WtsIzNKd1P40Dis1bTg8M9FqfqS3M6g+ed2zRnuBmw5zbPNz4uhjixUV+4JZupi/vM4xubzIHNxeW+pGvfn20V8xU6lR+4UnZYQYVodb5xi0OYN6h5W2J1hz5uFfseaP9GPE+mxqHcCKJ48fIdYYbX2t6t9fR1dtuJQ3jEZuOqxFMjk8Hb3psNbdoG1QpzUDkbONB66zceeVNu651oZ7fMbrQ8/1flrzb9YZzFee1KLIuHheXXJKWkv9kHk1t/0geQYh1wU8LyMea37q6tMaPKjll2NmPX50WEmo1hrTp77xrLZFfG6sITVoSyitNerdp/Ze7jqp9UKUF+ucSI9aajvWZYCPNDrMhZdREvHQZ/WT8VY46ZvKOEynUaLp3r33txmPzS1f7xjEgKvUe8UzyXlF4VmtKyLr8NfwrGajLa6UOUTg0I/Odufh+2yscaeNR++14R6fDQ/KWJFS4q0SC8BM39VVWfPKADKCI1EqrI8r9rJTC9+q3cU7uOBHVuoP4OkXKYESaZa5ebNrXXejRG6k6ID47Vhj+b79UgZlzB4zCeQTRrjbtY749A8rUOO9fnherde2S6wRZrFhVQ5p63ot0ZJnaWkRscJM91FrGdrL26nYUL+oVx8Oqxh2SW3EA/FUQV7jB7OdOi1p0lYPLs99RJQaTw2KRzE7xCFa9Rgxy29IPg5Wid1wWCVLPDmx0XjOB28nkLdAyHharx6IlMzcJm04icm26o10ag16hzla0hJg5letbQVme+DdNY16TvJUtUSBJc6JFeo31HfCjExpU6SHi3F1mWEjcUSJQGxqGcDsAkSRJQ/CEU+gzskjGLSNkFZKnsyc1VuuU9v28DN2G9qijQ6j9cK119KL+ZDSvx615udVusQK1lpWK60FWEUG8xoww2B41BfYSGVKrIeMQGH+dZ+88E2HdZzl995h9miX2jKsIoyn8mWFgk21YqPD+v6rf1AVz3ahjfq05mCtiNGtznNrtS5ifBDv3pJSO6n1XY1x3q8Eanqb6LRqIfCmBYyRycgrZn3VDs/8iv3If5PW0vxU16A9lcblsYVebcLtfNd6b4nRNOoVYz1paR9Gl+cNIWaRVweTOWt4Rh5PVyLOe/e1N9a4+saD18dTJA89lXeX/lhfstU6I2MwjfYnMTOzdeiVbTqsxykjJpPWiNFh3qL0h27qKvNiZMxZbCDWaMFMZonNYF0GjBtfq90QC3bzr3ZYOfnudLR3pAPjSZXDHJDrFYuC9lquhyfCET2Tuaijy2O8g8Nboepk9cWf3NQjZWxfWnN4vKP2tWSeVOWwzuCoNQH2Z1AlsN746DDGLqPQYg3EK/u0HN+s73c/Pf94RPzuP5lngzGUPFKNldM/vf/d65Gt/sms0bwusFjvST2NWfOKOeMytid2oNJ2AeO8lcNqBYO2ho2WJsxImd2nsZv7/aKHvKYN9/jz2+IxPt7urtOm3t9ejsnKPH6nddrvh1vnUevs421vpXQxD75yGDOWNlcIy+yBTls8zP/6tCTJjDaxQI3DPMJJPbL8LHyjVh4RyE7b/E97bRsO88nwBDueN8Y6nfDQJK35yYBGfcbbUWdRScbvMfKT57e3LkclMLqT39CIZ+1bh3mOlcuzuFdbKfAT/VvtWWOdTzyXgBFmeHaz2h6sdbp6xV7/Bo1nIFV5TZ8mnSmjDHiH6qyek8SzRtUTsXXMa0L7jCcHJHerduuutRbP3YXfc+H3nKc1Fq9/9T+xQe1ae//If3/sHfPVH7/P8nm3/O/z1Pj12q1bDpdKz+9Ten5rah/as/5vd+1/Op/+2Bz817n6Q98eK8HlKZcsXb9Ogd+q2x+hu12WFtX69bWr/KeS6VmnfXzMzqzbxn5u7f2c9ns96p/Xjn9u6n99rn6b5frtvs36ftbvUfd+f66/lumv99g+r658Xu36PevuEnR/jb6/tr5+rk3/dbbt80rOr7cfv9+9fuu/dcvFH1+q+Ymf+OmP+fRrW9Rf3y6Uz/Pn6PB0Pq1nd/8rafRHl93f5gfZYP5f5dN/xbL7eb7s5/mr5XP4uam3VmL+u1vW+718lksbrJcpl5/fv/utV1+/t/x5Zffz9titnevXsd9H0c+jaKdG/jEl9vcrV8tbm8+x6et4KL+W/WO17Y9V7I8oseuq8ZjN+2MsrU3drNZy67p9Tp39o/LyW0mWrIPL293/vp/+CB1+7/KyVKrW9RU+p539o8r5H+OJ/f6Wb+nr/NayE+b8fjrH96/uo/8U9n4bf9lzW+7M//3o/4Xff91zC/zjH//4xz/+8Y9//OMf//74v+DjP+zPhyNexSP+lp7/C3tl37/HXsG+P/bYnfrvx/68E3068Nj9v3isrPckvQnsC72IPX9G+PS93/OveK/n/kr7/gqX/hoX7k+u1rUGKvcXn9a7f+3v/RVPVT/0a33Pr50+V373r/ODqZr12ef7fq0fPLd58Nf2wV/vT7M8Wd/ck1+sYHzfuQ/lt1W+9/96f45a5XD/r/fnSJ4Nvv/X5gEKsoJSd8+vovJ952IV84d+bR78tX3k17sZya/3pxmr4N//6/jIr8ODv44P/jrf++v9ZQO/3pdfrCtx969Ybf/uXx8qsfj17vu+cP/p3rvX/lvYG2zjXUe99se999bv2B367XO3E//fXuPYF37/Wfx+4D743x8/4437+pHj30Zb/HiqcdxX7p/+mPDppd/z8LE7fu+V37Y+1d8+eORubB8OohLnMV504f+/64yv/eeLeNx+bDve+zbnF98arHfs1/4+vyQlHz7n7hTj9xe+FduN29DyHcRW7MRrs945lzE6FtR+OJc4I+TxyN/hg//3mDI456VP04E//p/+zLvZ3z7jlftyreNCGVvnuDf++3qKfOXT+UPM255P9b/WOued/3YUlV/n6G3vg6x3XPBfvov6/bxmGcjnoHasc9aOT/vJmsfuxvK790g5x9Ffx2NPHjl2z5ejo0eOCSX0o///4aNuWqXHy0c48nClNr6Nnt/jdfL2edt++3BZeemP2E9l6+FjX/ucnvrjjx9JRbCU5zGte9Fm3m0DcfQ7n6/XjxxxGHO15X7yvwVfOPC+9NtTn+6H0yx1IDNY13rePu+Nv++ep7fOOVtRp3WOlLZIWoF1jpfW6nPzsOtL/fMHj3y8nMgRj5dcHIcSKK3m42cE+/CD/3voSLSWj6Uh2A2U02Bx9mLL87Ad2Yl9rQt/xqX//fFjrz6zZcvnrNuy4YzPadlwzvotG854rGXDcetof7VWy4YjP6dlwznrtWw4+rGWLR+3fsv26TnrtGw4a73WCkev01rhmEBSynsgcP5IefnGXdyy/VvxCPn+J3/eK3+dQPOd+8Jtevbbaxz177GVffy4V740vVnjuNe+/fvbGsf9h//9/I7jXsTW8zxamOfRymzeOvcvMYKSYyV/vbUeE1YWl5VcZUXa1l2nFRLlPc2Vu9bVv2SdaFlJSt5pIO9JknXe+nikrM3d6aq48tZNvPNNVsG9jv0wGV+WtdvwxuH8bqxet/IrVvTEe+sr3coI9RyPuXZYFz5ca3SySqHskf/xhnVZp1jW0ZNfZGUsOR8paJ2sjCnr14WrT07WuJfRblnXWd4XKOvTXTt5Z4K8iS6/IVPeKHetK4nKm1LxzvnWXTu8RU2uLHeUVIpiopPkVY4RhWWlcVFKiEiusZq2vBPk2uGtTJIjeQdp5WSFz3CkvGNTlG6drJUvq5vLqtvXumKlrEcm75jpdR3T1l3runiy1r2s/ijvzx20VEiqJOWSqmvV41rL2XWMB921XtifV2J+N397Hv3TM18XnrkN/y/YhWApnmn/9Dzah2+9DZOW6aN63WH/i3jmafxf2rpnvraEq8OzC0eFNv5K28/Vs8UbPYh1L5z5P/1Z4hk987Xvx3jOmf8V5zzzViPsufI1F9d+5e/1o2/7wj2fxTuFVPwzpedbzdE//Tnnsc7v63liBf/s/leyhP/bH/tjzPm/x6NP43658o8+pdi/7z+987+KMv9csZDPkiLP1JL86I/ec4jNisKvvX29qe7nXwOtyep10NYcRA/lWcxjiBscxLP+l/bzoff//uTO12r3Jcfo31xHD+ksWr+L6OP+EGntxvtcRu8mpE3SIPGIZ7dalHO/ZyceH7yOq3SVsP8wpvqj/yRRjmfR4zvTFEGBn1OJCmcEfaSkfRupSL9JlJGW7tt4pHiEN/P13DPfWSkrZ06iNqfxDrdVyJ7EM/X1z1JpfO2v9OKenK1/lVVv/Tr6T880+nS4ktqrqFX4tn3HUbhm0A51+U0sZdDm03Nu/56vIfXymfrmz9RXv5nSZ550LpMhl59/hV13obX0+tYvX/pPP0S2YI341n3W5Fmszc9iv+9DHOv4NvbIzlLJXOUh/eUNTfGzZImEy7cp5RLNuzv9j6XkP/zZx8r4b/rrZbz+Q+c+j2XoOFpQ1LTP1UBS+WPst4u+4Y6rZfA+i7w+hftK95uo7D+jZmHPx09Uu1kXb1sJ6e1l+3DX8Wex7QrpumnRbh99u6atRxk2We60aidEL7QRN+uPpOVCWyypD+taAMQOYInvKrFS89e1WrfvAKtwfE/axZLdvMZ92txm9FDNelz7XLegwvW917idixfRoznWe8voprT3B7HtEhVhZS7dRTz/X2qxz9WXkByc6TmXesSup7WXauvDv396vb/FvoSU6r177nmzRAjLcL0jLc/H8bibHG56K9faUkKfFzdKRNDrMpaTI1XjWfzlW61HEis71xL3o1qOu/28u+zFM+1/ii+56p/czulX0S79qJ7Cv+6oU9d6rXDly5jSjZj+v63YnPN7jrodZbn7KIkigMZ997vpP30V9drz1zxIub77zE89zLt81bvOfKlxqPMVOlt61MW9Z6E3f77ie4v6991lNd4Tvoezflb/8CHdbmuy/pk3I1nPUi/7MnJ46MxX8Z6XqsaXqssPD56DUgJPPUdQ7j5+tfZ9SmrVot08+9zBh7/PDr+I9fNiJSUov7lUr3PUOmXxsausx/1z0/LrrnJXL+zx9D9WOx67wu2acn</a:t>
            </a:r>
          </a:p>
        </p:txBody>
      </p:sp>
      <p:sp>
        <p:nvSpPr>
          <p:cNvPr id="35" name="WORKBKFUNCTIONCACHE1" hidden="1">
            <a:extLst>
              <a:ext uri="{FF2B5EF4-FFF2-40B4-BE49-F238E27FC236}">
                <a16:creationId xmlns:a16="http://schemas.microsoft.com/office/drawing/2014/main" id="{00000000-0008-0000-0300-000003000000}"/>
              </a:ext>
            </a:extLst>
          </p:cNvPr>
          <p:cNvSpPr txBox="1">
            <a:spLocks noChangeArrowheads="1"/>
          </p:cNvSpPr>
          <p:nvPr/>
        </p:nvSpPr>
        <p:spPr bwMode="auto">
          <a:xfrm>
            <a:off x="2375067" y="2987675"/>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Gjrjx29qe25bEzHiqHj517O9L5+BmP1ZTHzscIGvz3h49ev848dKXP73eF8YnVtuv6hjcSUgaPYbWtXIfuTQuVe9I3/aA8qnWgKbjPn/10ZOu2j/qpTmF8MBA8vtXLR+pv30NGu0T3/y9eH6NeuWWGVnkU7C6fcnUcJJ+Tx0MOosWRfNw8czUufKyKPuyLB89C4jkX6nVIL+G2OiFNG75nf6bpwXF3RS9uR3seU+72WOb9R2arsRdtHq58d9ToU1VXR4ouk/V4TCMpn7nPGuj+X7X58m213IPXF/F6B7FM3FVacj2ScccQTflXLOmS1h9cjpSt6vFpv+dmj0AswmU8+jjGW9Y7B30NRIruatlQF296yajl76KGYP5w+fjUa71pI+4+5q6rrZuSm9dHLh+ON65aph817nM70nBT109TeDeRl/Gu2Rq90H7LP93BZ14Z3B735u/WD0o81J+53eP7T3cQU/vszrPvinP/93w+7nNmEt8/a/jP6dzd6FWcxTIjvxzGNirbwhfRMh7F3/9/nCUMKA==&lt;/compressed&gt;</a:t>
            </a:r>
          </a:p>
          <a:p>
            <a:pPr algn="l" rtl="0">
              <a:defRPr sz="1000"/>
            </a:pPr>
            <a:endParaRPr lang="en-US" sz="1000" b="0" i="0" u="none" strike="noStrike" baseline="0">
              <a:solidFill>
                <a:srgbClr val="000000"/>
              </a:solidFill>
              <a:latin typeface="Arial"/>
              <a:cs typeface="Arial"/>
            </a:endParaRPr>
          </a:p>
          <a:p>
            <a:pPr algn="l" rtl="0">
              <a:defRPr sz="1000"/>
            </a:pPr>
            <a:endParaRPr lang="en-US" sz="1000" b="0" i="0" u="none" strike="noStrike" baseline="0">
              <a:solidFill>
                <a:srgbClr val="000000"/>
              </a:solidFill>
              <a:latin typeface="Arial"/>
              <a:cs typeface="Arial"/>
            </a:endParaRPr>
          </a:p>
        </p:txBody>
      </p:sp>
      <p:sp>
        <p:nvSpPr>
          <p:cNvPr id="36" name="WORKBKFUNCTIONCACHE" hidden="1">
            <a:extLst>
              <a:ext uri="{FF2B5EF4-FFF2-40B4-BE49-F238E27FC236}">
                <a16:creationId xmlns:a16="http://schemas.microsoft.com/office/drawing/2014/main" id="{00000000-0008-0000-0300-000004000000}"/>
              </a:ext>
            </a:extLst>
          </p:cNvPr>
          <p:cNvSpPr txBox="1">
            <a:spLocks noChangeArrowheads="1"/>
          </p:cNvSpPr>
          <p:nvPr/>
        </p:nvSpPr>
        <p:spPr bwMode="auto">
          <a:xfrm>
            <a:off x="2375067" y="2987675"/>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lt;compressed size="651798"&gt;eJztvQtvHTe2ps2fYkwDgxngk7ruF3TPARwf2fGBYwtS0oODRsOQFamlJFYU3ZIe6Md/JNd6yS1Zl+1cikvnvBDs2rt2Xcj3IRcXF1msv7pDd+lO3L67cMfuR//phdvz347cgfs391f3rf924f/t+t8u3Zn/5cA980ftuY/+0/9x/8O9dK/dW/fc/3vhtvz3Z+5DvML37p/++B/j1b91p/7TVTz+ufvB/73323DPa9e4yv/1/tPf3X/6a+75s/7hv/1Pf9SF+4u/c7jnSdwfUvjM/c1vD9zP/oh/xiPCmW9j2g9unLnl94RcXbh/+bNexPSfxWvt+z33nf13n58XbtufcXPvr/v2P6KKr/y3C5/uPZ+yS1X23Kfs/8XPtevc7Ea/788re//qFd7zuoVP3/s9//K//dsnavxJdbyM1/5LUvBPquvk9237fXL0t37/d5HIX5KKf/oMpW9qGu79yr3xLN+4d+4Ltxl1+8tKPvO1t+NVD+LZmcUz97W/z0U8Pt8j5GhfS86Fv0atean8b8LmTyuUwhVOvdZ/iVc992f86JWr/THbsfx969P37z7FV7eOaPwRku6b+1u/fzfm8MDvu/lb538LOQ6l5r8viZ4kDJBofU5mkjBDoiYJAyR6thMmSHT+jyQskOhji92RRHESo/Z0SMICiZ4kDJCY2bMzRKImCRMkatYJIyQakjBCoiUJIyTYs7NAool5aRh3MkCiZ1TcCImBJIyQYM/OBok29ibYs7NBgj07KyTYs7NCgj07KyTYs7NCguPYNkg09J1MkJhiTmqO2Rkh0bFOFCchMXFaJwskepIwRKIhCSMkWpIwQ4IjRTZI0HeyQmIgCSMkRpIwQ4J9bCskBpIwQmIkCSMkZpIwQILj2JZIsGdXnsTAOmGKBH0nGyQ4G9MCiZGzMY2QCOOnXLfDAgnOULZFgl6sBRI9SRgg8cLn6r1X/iTuDWvtkUhZIkFzUfPQb/M8g/cc1TPK6Lnbif9vk4spLnJu+H7gPsQzSMcOnTf+HLKxyeYrf9xHv/+9e+mvR5+gNJ237iDSgEUL/toVqRihIt7ze3/OnvvFb0Vp8rHEJxx74o8kExtM2MLY5LLt/7ZIwwiNHb/3ym9bf+a3pGKEym487iD2+c/9X9h7TjqF6ewona14jRN/99Dek0tpLnLMe91/Fgn94tUnF2tc0H+R65CPFT5s+e2w+Og/nTnGK60QeeHvthu3e1GnM233yccan6wNfTJrdIJHduTT8CGmg3ys8XkZr3Tsjz9i22OOziv3JZkYYxIYkIktJm/8d3pm1qh85e//Q0xDuOa/yMcYn3f+21HME8nYIrPt70Am1pgEhb+LPvPPjJwZ5oMZACRki9COXodcbHHZjaM0exw5M0fm68jlhFzMcNnzmhyRhxkeQY0wckYiVojwyZinwIVxTJt0juOszHBNxsus0Al15nBlFtNbv//EcS6TZUasQdbonLK2mOHx0h+37zA6w3pihctrr8WpP/aYdcUQkxOvyaVGYkJaScYOmauoz0WK/zOGaYXOzVUYZCYg4wFW6TAaYI2NrJshz2mSjA0y7/x5r0nDDI3D2Offcj/53469/mEs89JvT/357NXY4RTmmeUoJ59tts/ojU/HnvcNyMcWn60YISAVW1Toq9llI9402xy7hFbH09jyWKUkCh+SizEuu/6uz0nFCBWOO9ujweimRSaYqSFrnJKOJTpB3R9iXknFAhWs1kg7ZomJnE8ednhg7kx4BjB8Ih9bfIImZ/6XfXIxxeXKcZ0z+3yyNoxhWqPDdc5s8+E6Z5bpcJ0ze0zY17THhOucWaTCdc5s8+E6Z1bJcJ0zi0y4ztnT4MN1zmwS4siATS5c58wqGa5zZovLbtRj331PIkaIoIaEWJmMbIZYwDkjzcYIhefROW/GCpNv4p25yokNKuc+L33MzRdk8RtY/N2fEcr0x9gO7MVzwxMU/7hD81rTXFHxRRXvqfiCirc+xTMVX1zxmoovqHhPO76o4p3/o+JLKt7HlrOj4ospPsY091R8UcV7Kr6g4jN7QAUUr6n4oorXLOMLK95Q8YUVb6n4woqzB7Sk4k1Mc8O4yoKK94zWLqz4QMUXVpw9oGUVb6M3zh7QsoqzB7S04uwBLa04e0BLK84e0NKKc5xzWcUb+iqLKj7FFNccA1pY8Y5lfDHFJVZLq7Kk4j0VL6B4Q8UXVryl4osrzhGJZRWnr7K04gMVX1jxkYovrjj7nEsrPlDxhRUfqfjCis9UfEHFOc5ZQnH2gJZTfGAZL6I4fZVlFecsuCUVHzkLbmHFw7gbn8tfUnHO9CyjOL3DJRXvqfiCir/wqcd7GkO+D6j8QsoHbUW1Q7/N483vOUpUmMVztxP/36b+RfQPCpzF7wfuQ7w7KSxP4Y3XmAzKMsAq8GG9/gO2zYtReOvPuFixRME/uqL6C6svXml+m7goSg4lOIT1X/nm0OW1ZwtQVv9t/7dF1RdWfcfvDe+OaH06+JaipdXfjecfxD5weAtB2Mt3ESxFYUcpbMUUnDh5Yzf1X0r/oOlFLPth/5mT9z/zvULl9If/L70xcliaA1vg5TX/6D+dOcbdllb+hb/qbtzuRT3OtP0lh1Icsgb0gUpRCB7QkT/+Q7wfOZTi8NKF9zMd+3sfsW0oRuGV+5LaF9I+aE3ty2gf3kpJT6iU+l85vO0wpIhvPCzF4Z3/dhTTTgJlCGz7K1H7UtoHJb+LvujPjAwZ4IARYpIoQ2Inpob6l9J/N44S7HGEphgBvL+e+i+t/57P+xF1X1z3kOswQkPll1aeTwZY0p/xuLIUjuMsuW1/HuNBS1MIdeBwZXbK23gG56hYYMEaUYrCKUv/4rq/9MftO4wOsNwvrf9rf/SpP/aYZb+A9ic+75cagQhpIoHlCVxFHS5SXJqxuKUp3HxaW2ZssX9cmgJ7x6UYyHP08hwZCSxL4J2/zmuqvrjqh7EPvOV+8r8de53D2Nil3576a7FXsDyPME8oR+v4LKUdFm/8OXu+jSaHMhy2Yo+Z6pdRn75ReQbipbJNKE9iddyGLUNpGqLkIfUvpP+uv/pzqr+w+hyvLKc6o3QltceIvaz1RwolKAQVf4h5ovpLqo9Vzmh/SmjPpzZK6Y65EuHZpb14LjmU4BDyfuZ/2af+RfS/clxnyA6HrAFjcaUocJ0hGxy4zpAFClxnqJz27JOV057rDJVUn+sM2eDAdYZKE+A6QyW15zpDtjhwnaGyJBixLqs/1xkqTYDrDJXRfzfme999T+UXVh4lPsSCZKQs9I3PGRktRCI858p5Ektr/008iqsbLKv+uU9zH1P9BTVfW/N/j2si3lQdV9+O1xUv/pmTGednquRFPD7f5TaNWnNTkYURFj1ZmGDR+rzMZGGIRU0WJlj0bC+MsOj8H1nYYNHHtrsjCwMsxpibniyMsOjJwgSLmX09UyxqsjDComa9MMOiIQszLFqyMMOCfT0bLJqYm4bxKBMsesbMzbAYyMIMC/b1rLBoY++CfT0rLNjXs8OCfT07LNjXs8OCfT07LDjebYVFQz/KCIsp5qXmuJ4ZFh3rhQEWEjGnjbLBoicLUywasjDDoiULQyw4lmSFBf0oOywGsjDDYiQLQyzY77bDYiALMyxGsjDDYiYLEyw43m2LBft6FlgMrBfGWNCPssKCczhtsBg5h9MMizDKyvVAbLDg3GZrLOjT2mDRk4UJFi98vvD20aDIAZkUZxJUFz0P/TbPSHjPkT+zlJ67nfj/NskYIyPnhu8H7kM8g3ws8XnjzyEdq3Tw1ovwHpIDegcG+Lz1512s2LXgu12Rixku4kuHFdP33C8Ob5AhIVuEwrF837AlKmxprJLZ9n9b5GGGx47fG94H1Poz+WY4O1x243EHMQ4Q3lET9p6TT3E+O8pnK17jxB3Hlp9kypORY97r/rPI6Be+Yc4kGfRn5DokZIcQfQBLND76T2eOkUw7TF7E64ftXlTqTD0AErJHKKtD/8wen+CdHflUfIgpISF7hF7GKx3744/YBhnk88p9SSrmqAQKpGKNSnjXM700e1y+cngbcbgm30hsj9A7/+0o5opsrLHZ9ncgFXtUgsbfRQ/6Z0bUTBPCTAEyssZoR69DMtbI7MZRnD2OrRlk83Ukc0IyhsjseVWOSMQQkaBHGFsjEztM+GTN0yDDCKdVPsdxJme4JuNodviEenO4Mufprd9/4jjzyTYl1iJ7fE5ZYwwReemP23cYvWFdsUPmtVfj1B97zPpiisqJV+VS4zMhtWRjic1VVOgijQ4wummHz811HWTuIGMEdvkwQmCPjqzFIc97ko0VNu/8ea/JwxCPwxgH2HI/+d+OPYEw3nnpt6f+fPZyLJEK89Jy/JPPST8FSm98Sva8l0BC1ghtxagBuVjjQr/NMh3xrdn2WGa0OuLGFsguJ9H4kGTMkdn193lOLma4cHTaIg/GPW1SwZwOWU2VfGzxCfr+EHNLLja4YE1IWjNbVOR8ErFEBPNswpOE4RMJWSMUVDnzv+yTjDEyV47rqD0FQlkdRjft8eE6atYJcR0123y4jppFKux9WqTCddRscuE6atYJcR01u2y4jppNKlxH7akQ4jpqVhlx3MAqGa6jZpcN11GzRmY3KrLvvicTM0xQS0IMTUY/Q3zgnFFoc4zC0+2cY2OHyjfx3lw7xQqXc5+bPubnC9L4TTT+7s8J5fpjbA/24tnh+Yt/3KF6ramuqPnCmvfUfFHNW5/mmZoX0Lym5otq3tOeL6x55/+o+bKa97EN7aj5gpqPMdU9NV9Y856aL6r5zD5REc1rar6w5jXL+eKaN9R8cc1bar645uwTLat5E1PdMN6yqOY9Y7mLaz5Q88U1Z59oac3b6J2zT7S05uwTLa85+0TLa84+0fKas0+0vOYcD11a84Z+y8KaTzHNNceJFte8YzlfUHOJ5NK2LKt5T82LaN5Q88U1b6l5Ac05ZrG05vRbltd8oOaLaz5S8wKasx+6vOYDNV9c85GaL675TM0X1ZzjoWU0Z59oSc0HlvNCmtNvWVpzzp1bVvORc+cW1zyMzvF5/2U15xzRUprTV1xW856aL6r5C59+vD8y5PyA2i+mfVBXdDv02zwy/Z4jScVpPHc78f9tEihEIGhwFr8fuA/x/uRQgsMbrzIplKaAVejDGwMO2EovyOGtP+NixR4FX+mK+i+uv/io+Z3noilJlCERVp3lW01LqM+WoDSBbf+3Rd0X133H7w1vsGh9SvjOpOX1343nH8R+cXgTQth7Tg6LcdhRDlsxDSdO3itOAssRCKpexPIf9p85eUc133JUkgD6A9I/I4nlSbAtLqH6R//pzDEit7z2L+J1wnYvKnKmLTFJlCORVaA/VI5D8IaO/PEf4h1JohyJly68L+rY3/2IbURBDq/cl1S/mPpBbapfSv3wxkx6ReX0/8rhPYwhTXwXYzkS7/y3o5h6MijFYNtfieqXUz9o+V30TH9mxMgECYwkk0UpFjsxPSRQjsBuHEXY4xhOQQbyHvcTEihAYM/n/ojKF1A+5DuM4VD75bXnkwW2CDBSV5rDcZxZt+3PY5xoeQ6hHhyuzGV5G8/gjBYbNFgrynE4ZQ0ooPxLf9y+w+gBy/7yBF77o0/9sccs/0XUP/G5v9S4REgVGZRgcBWVuEhRa0bpludw8/lvmePFPnN5Duwxl6Mgz+bL82hksDSDdz7/r6l7Ad0PY794y/3kfzv2Sofxs0u/PfXXYi+hBJEwryjH8fhcpiUab/w5e761JolSJLZiL5r6l9KffpIFCuKzsm2wwGJ1ZIctRHkeouUhCRQjsOuv95z6L64/RzVL6s74XVn1MbYvqwqSQxkOQccfYq6o/7L6Yy01WqEy6vO5j3LKY15FeAJqL55LEmVIhNyf+V/2SaAQgSvHdYwskcgqMEpXjgPXMbJCgusY2eDAdYxKqs9eWkn1uY5RWf25jpEVElzHqDwDrmNUVn2uY2SNBNcxKs2C8ezSBLiOUXkGXMeoFIHdmPN99z21X1x7lPoQI5LRtNBfPmfUtBiL8NQs51Qsr/438SiumbC0/uc+1X1M9xdUfW3VX3l93tx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byfTXl+ewon614jRN3HFt+kilPRo55r/vPIqNf+LY5k2TQn5HrkJAdQvQBLNH46D+dOUYy7TB54cKbwMJ2Lyp1ph4ACdkjlNWhf2aPT/DOjnwqPsSUkJA9Qi/jlY798UdsgwzyeeW+JBVzVAIFUrFGJbzxmV6aPS5fObyPOFyT7yS2R+id/3YUc0U21ths+zuQij0qQePvogf9MyNqpglhpgAZWWO0o9chGWtkduMozh7H1gyy+TqSOSEZQ2T2vCpHJGKISNAjjK2RiR0mfLLmaZBhhNMqn+M4kzNck3E0O3xCvTlcmfP01u8/cZz5ZJsSa5E9PqesMYaIvPTH7TuM3rCu2CHz2qtx6o89Zn0xReXEq3Kp8ZmQWrKxxOYqKnSRRgcY3bTD5+a6DjJ3kDECu3wYIbBHR9bikOc9ycYKm3f+vNfkYYjHYYwDbLmf/G/HnkAY77z021N/Pns5lkiFeWk5/snnpJ8CpTc+JXveSyAha4S2YtSAXKxxod9mmY741mx7LDNaHXFjC2SXk2h8SDLmyOz6Oz0nFzNcODptkQfjnjapYE6HrKZKPrb4BH1/iLklFxtcsCYkrZktKnI+iVgignk24UnC8ImErBEKqpz5X/ZJxhiZK8d11J4CoawOo5v2+HAdNeuEuI6abT5cR80iFfY+LVLhOmo2uXAdNeuEuI6aXTZcR80mFa6j9lQIcR01q4w4bmCVDNdRs8uG66hZI7MbFdl335OJGSaoJSGGJqOfIT5wzii0OUbh6XbOsbFD5Zt4b66dYoXLuc9NH/PzBWn8Jhp/9+eEcv0xtgd78ezw/MU/7lC91lRX1HxhzXtqvqjmrU/zTM0LaF5T80U172nPF9a883/UfFnN+9iGdtR8Qc3HmOqemi+seU/NF9V8Zp+oiOY1NV9Y85rlfHHNG2q+uOYtNV9cc/aJltW8ialuGG9ZVPOesdzFNR+o+eKas0+0tOZt9M7ZJ1pac/aJltecfaLlNWefaHnN2SdaXnOOhy6teUO/ZWHNp5jmmuNEi2vesZwvqLlEcmlbltW8p+ZFNG+o+eKat9S8gOYcs1hac/oty2s+UPPFNR+peQHN2Q9dXvOBmi+u+UjNF9d8puaLas7x0DKas0+0pOYDy3khzem3LK05584tq/nIuXOLax5G5/i8/7Kac45oKc3pKy6reU/NF9X8hU8/3h8Zcn5A7RfTPqgruh36bR6Zfs+RpOI0nrud+P82CRQiEDQ4i98P3Id4f3IoweGNV5kUSlPAKvThjQEHbKUX5PDWn3GxYo+Cr3RF/RfXX3zU/M5z0ZQkypAIq87yraYl1GdLUJrAtv/bou6L677j94Y3WLQ+JXxn0vL678bzD2K/OLwJIezl+xCW47CjHLZiGk6cvFecBJYjEFS9iOU/7D9z8o5qvuWoJAH0B6R/RhLLk2BbXEL1j/7TmWNEbnntX/gr7cbtXlTkTFtikihHIqtAf6gch+ANHfnjP8Q7kkQ5Ei9deF/Usb/7EduIghxeuS+pfjH1g9pUv5T64Y2Z9IrK6f+Vw3sYQ5r4LsZyJN75b0cx9WRQisG2vxLVL6d+0PK76Jn+zIiRCRIYSSaLUix2YnpIoByB3TiKsMcxnIIM5D3uJyRQgMCez/0RlS+gfMh3GMOh9strzycLbBFgpK40h+M4s27bn8c40fIcQj04XJnL8jaewRktNmiwVpTjcMoaUED5l/64fYfRA5b95Qm89kef+mOPWf6LqH/ic3+pcYmQKjIoweAqKnGRotaM0i3P4ebz3zLHi33m8hzYYy5HQZ7Nl+fRyGBpBu98/l9T9wK6H8Z+8Zb7yf927JUO42eXfnvqr8VeQgkiYV5RjuPxuUxLNN74c/Z8a00SpUhsxV409S+lP/0kCxTEZ2XbYIHF6sgOW4jyPETLQxIoRmDXX/E59V9cf45qltSd8buy6mNsX1YVJIcyHIKOP8RcUf9l9cdaarRCZdTncx/llMe8ivAE1F48lyTKkAi5P/O/7JNAIQJXjusYWSKRVWCUrhwHrmNkhQTXMbLBgesYlVSfvbSS6nMdo7L6cx0jKyS4jlF5BlzHqKz6XMfIGgmuY1SaBePZpQlwHaPyDLiOUSkCuzHn++57ar+49ij1IUYko2mhv3zOqGkxFuGpWc6pWF79b+JRXDNhaf3Pfar7mO4vqPraqr92b2MkYVV1XH07Xld8+mdOZqufqZIX8fh8l9s0as1NRRZGWPRkYYJF6/Myk4UhFjVZmGDRs70wwqLzf2Rhg0Uf2+6OLAywGGNuerIwwqInCxMsZvb1TLGoycIIi5r1wgyLhizMsGjJwgwL9vVssGhibhrGo0yw6BkzN8NiIAszLNjXs8Kijb0L9vWssGBfzw4L9vXssGBfzw4L9vXssOB4txUWDf0oIyymmJea43pmWHSsFwZYSMScNsoGi54sTLFoyMIMi5YsDLHgWJIVFvSj7LAYyMIMi5EsDLFgv9sOi4EszLAYycIMi5ksTLDgeLctFuzrWWAxsF4YY0E/ygoLzuG0wWLkHE4zLMIoK9cDscGCc5utsaBPa4NFTxYmWLzw+cL7SoMiB2RSnElQXfQ89Ns8I+E9R/7MUnruduL/2yRjjIycG74fuA/xDPKxxOeNP4d0rNLBWzDCm0kO6B0Y4PPWn3exYteC73ZFLma4iC8dVk3fc784vFGGhGwRCsfyrcSWqLClsUpm2/9tkYcZHjt+b3gzUOvP5Lvi7HDZjccdxDhAeFNN2Mv31ZTns6N8tuI1TtxxbPlJpjwZOea97j+LjH7h2+ZMkkF/Rq5DQnYI0QewROOj/3TmGMm0w+SFv99u3O5Fpc7UAyAhe4SyOvTP7PEJ3tmRT8WHmBISskfoZbzSsT/+iG2QQT6v3JekYo5KoEAq1qiENz7TS7PH5SuH9xGHa/KdxPYIvfPfjmKuyMYam+14F1KxRiVo/F30oH9mRM00IcwUICNrjHb0OiRjjcxuHMXZ49iaQTZfRzInJGOIzJ5X5YhEDBEJeoSxNTKxw4RP1jwNMoxwWuVzHGdyhmsyjmaHT6g3hytznt76/SeOM59sU2ItssfnlDXGEJGX/rh9h9Eb1hU7ZF57NU79scesL6aonHhVLjU+E1JLNpbYXEWFLtLoAKObdvjcXNdB5g4yRmCXDyME9ujIWhzyvCfZWGHzzp/3mjwM8TiMcYAt95P/7dgTCOOdl3576s9nL8cSqTAvLcc/+Zz0U6D0xqdkz3sJJGSN0FaMGpCLNS702yzTEd+abY9lRqsjbmyB7HISjQ9JxhyZXX/f5+RihgtHpy3yYNzTJhXM6ZDVVMnHFp+g7w8xt+RigwvWhKQ1s0VFzicRS0QwzyY8SRg+kZA1QkGVM//LPskYI3PluI7aUyCU1WF00x4frqNmnRDXUbPNh+uoWaTC3qdFKlxHzSYXrqNmnRDXUbPLhuuo2aTCddSeCiGuo2aVEccNrJLhOmp22XAdNWtkdqMi++57MjHDBLUkxNBk9DPEB84ZhTbHKDzdzjk2dqh8E+/NtVOscDn3ueljfr4gjd9E4+/+nFCuP8b2YC+eHZ6/+Mcdqtea6oqaL6x5T80X1bz1aZ6peQHNa2q+qOY97fnCmnf+j5ovq3kf29COmi+o+RhT3VPzhTXvqfmims/sExXRvKbmC2tes5wvrnlDzRfXvKXmi2vOPtGymjcx1Q3jLYtq3jOWu7jmAzVfXHP2iZbWvI3eOftES2vOPtHymrNPtLzm7BMtrzn7RMtrzvHQpTVv6LcsrPkU01xznGhxzTuW8wU1l0gubcuymvfUvIjmDTVfXPOWmhfQnGMWS2tOv2V5zQdqvrjmIzUvoDn7octrPlDzxTUfqfnims/UfFHNOR5aRnP2iZbUfGA5L6Q5/ZalNefcuWU1Hzl3bnHNw+gcn/dfVnPOES2lOX3FZTXvqfmimr/w6cf7I0POD6j9YtoHdUW3Q7/NI9PvOZJUnMZztxP/3yaBQgSCBmfx+4H7EO9PDiU4vPEqk0JpCliFPrwx4ICt9IIc3vozLlbsUfCVrqj/4vqLj5rfeS6akkQZEmHVWb7VtIT6bAlKE9j2f1vUfXHdd/ze8AaL1qeE70xaXv/deP5B7BeHNyGEvXwfwnIcdpTDVkzDiZP3ipPAcgSCqhex/If9Z07eUc23HJUkgP6A9M9IYnkSbItLqP7RfzpzjMgtr/0Lf93duN2LipxpS0wS5UhkFegPleMQvKEjf/yHeEeSKEfipQvvizr2dz9iG1GQwyv3JdUvpn5Qm+qXUj+8MZNeUTn9v3J4D2NIE9/FWI7EO//tKKaeDEox2I5Xo/ql1A9afhc9058ZMTJBAiPJZFGKxU5MDwmUI7AbRxH2OIZTkIG8x/2EBAoQ2PO5P6LyBZQP+Q5jONR+ee35ZIEtAozUleZwHGfWbfvzGCdankOoB4crc1nexjM4o8UGDdaKchxOWQMKKP/SH7fvMHrAsr88gdf+6FN/7DHLfxH1T3zuLzUuEVJFBiUYXEUlLlLUmlG65TncfP5b5nixz1yeA3vM5SjIs/nyPBoZLM3gnc//a+peQPfD2C/ecj/534690mH87NJvT/212EsoQSTMK8pxPD6XaYnGG3/Onm+tSaIUia3Yi6b+pfSnn2SBgvisbBsssFgd2WELUZ6HaHlIAsUI7PrrP6f+i+vPUc2SujN+V1Z9jO3LqoLkUIZD0PGHmCvqv6z+WEuNVqiM+nzuo5zymFcRnoDai+eSRBkSIfdn/pd9EihE4MpxHSNLJLIKjNKV48B1jKyQ4DpGNjhwHaOS6rOXVlJ9rmNUVn+uY2SFBNcxKs+A6xiVVZ/rGFkjwXWMSrNgPLs0Aa5jVJ4B1zEqRWA35nzffU/tF9cepT7EiGQ0LfSXzxk1LcYiPDXLORXLq/9NPIprJiyt/7lPdR/T/QVVX1v1//C/n99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aek09xPjvKZyte48Qdx5afZMqTkWPe6/6zyOgXvm3OJBn0Z+Q6JGSHEH0ASzQ++k9njpFMO0xe+Pvtxu1eVOpMPQASskcoq0P/zB6f4J0d+VR8iCkhIXuEXsYrHfvjj9gGGeTzyn1JKuaoBAqkYo1KeOMzvTR7XL5yeB9xuCbfSWyP0Dv/7Sjmimyssdl2fyMVg1SCxt9FD/pnRtRME8JMATKyxmhHr0My1sjsxlGcPY6tGWTzdSRzQjKGyOz56x+RiCEiQY8wtkYmdpjwyZqnQYYRTqt8juNMznBNxtHs8An15nBlztNbv//EceaTbUqsRfb4nLLGGCLy0h+37zB6w7pih8xrr8apP/aY9cUUlRN//UuNz4TUko0lNldRoYs0OsDoph0+N9d1kLmDjBHY5cMIgT06shaHPO9JNlbYvPPnvSYPQzwOYxxgy/3kfzv2BMJ456Xfnvrz2cuxRCrMS8vxTz4n/RQovfEp2fNeAglZI7QVowbkYo0L/TbLdMS3ZttjmdHqiBtbILucRONDkjFHZtff9zm5mOHC0WmLPBj3tEkFczpkNVXyscUn6PtDzC252OCCNSFpzWxRkfNJxBIRzLMJTxKGTyRkjVBQ5cz/sk8yxshcOa6j9hQIZXUY3bTHh+uoWSfEddRs8+E6ahapsPdpkQrXUbPJheuoWSfEddTssuE6ajapcB21p0KI66hZZcRxA6tkuI6aXTZcR80amd2oyL77nkzMMEEtCTE0Gf0M8YFzRqHNMQpPt3OOjR0q38R7c+0UK1zOfW76mJ8vSOM30fi73xfK9cfYHuzFs8PzF/+4Q/VaU11R84U176n5opq3Ps0zNS+geU3NF9W8pz1fWPPO/1HzZTXvYxvaUfMFNR9jqntqvrDmPTVfVPOZfaIimtfUfGHNa5bzxTVvqPnimrfUfHHN2SdaVvMmprphvGVRzXvGchfXfKDmi2vOPtHSmrfRO2efaGnN2SdaXnP2iZbXnH2i5TVnn2h5zTkeurTmDf2WhTWfYpprjhMtrnnHcr6g5hLJpW1ZVvOemhfRvKHmi2veUvMCmnPMYmnN6bcsr/lAzRfXfKTmBTRnP3R5zQdqvrjmIzVfXPOZmi+qOcdDy2jOPtGSmg8s54U0p9+ytOacO7es5iPnzi2ueRid4/P+y2rOOaKlNKevuKzmPTVfVPMXPv14f2TI+QG1X0z7oK7odui3eWT6PUeSitN47nbi/9skUIhA0OAsfj9wH+L9yaEEhzdeZVIoTQGr0Ic3BhywlV6Qw1t/xsWKPQq+0hX1X1x/8VHzO89FU5IoQyKsOsu3mpZQny1BaQLb/m+Lui+u+47fG95g0fqU8J1Jy+u/G88/iP3i8CaEsPecHBbjsKMctmIaTpy8V5wEliMQVL2I5T/sP3Pyjmq+5agkAfQHpH9GEsuTYFtcQvWP/tOZY0Ruee1f+Ovuxu1eVORMW2KSKEciq0B/qByH4A0d+eM/xDuSRDkSL114X9Sxv/sR24iCHF65L6l+MfWD2lS/lPrhjZn0isrp/5XDexhDmvguxnIk3vlvRzH1ZFCKwba/EtUvp37Q8rvomf7MiJEJEhhJJotSLHZiekigHIHdOIqwxzGcggzkPe4nJFCAwJ6/zhGVL6B8yHcYw6H2y2vPJwtsEWCkrjSH4zizbtufxzjR8hxCPThcmcvyNp7BGS02aLBWlONwyhpQQPmX/rh9h9EDlv3lCbz2R5/6Y49Z/ouof+Kvc6lxiZAqMijB4CoqcZGi1ozSLc/h5vPfMseLfebyHNhjLkdBns2X59HIYGkG73z+X1P3Arofxn7xlvvJ/3bslQ7jZ5d+e+qvxV5CCSJhXlGO4/G5TEs03vhz9nxrTRKlSGzFXjT1L6U//SQLFMRnZdtggcXqyA5biPI8RMtDEihGYNdf/zn1X1x/jmqW1J3xu7LqY2xfVhUkhzIcgo4/xFxR/2X1x1pqtEJl1OdzH+WUx7yK8ATUXjyXJMqQCLk/87/sk0AhAleO6xhZIpFVYJSuHAeuY2SFBNcxssGB6xiVVJ+9tJLqcx2jsvpzHSMrJLiOUXkGXMeorPpcx8gaCa5jVJoF49mlCXAdo/IMuI5RKQK7Mef77ntqv7j2KPUhRiSjaaG/fM6oaTEW4alZzqlYXv1v4lFcM2Fp/c99qvuY7i+o+r2qv4j6nbsw4+p5nHW1eYvETQK40+pVnjmZuX6mql7E4/Mdb5OpNWcVuRjk0pOLOS6tz9dMLka51ORijkvP9sUgl87/kYs9Ln1s9ztyMcZljDnrycUgl55czHGZ2a80y6UmF4NcatYXk1wacjHJpSUXk1zYr7THpYk5axgfM8elZ5zfJJeBXExyYb/SIpc29l7Yr7TIhf1Km1zYr7TJhf1Km1zYr7TJheP7Frk09McMcplivmqOV5rk0rG+GOMiUX7aMXtcenIxy6UhF5NcWnIxyoXjYha50B+zyWUgF5NcRnIxyoX9fZtcBnIxyWUkF5NcZnIxx4Xj+3a5sF9pjcvA+mKYC/0xi1w4D9Yel5HzYE1yCSPJXB/GHhfOG7fMhX6yPS49uZjj8sLnEe/EDeockI8pPoGAaHvot3k2xnuOaD4JYs/dTvx/m5QMU5Jzw/cD9yGeQVZWWb3x55DUUyCFt7SEN+cc0LMwxuqtv9LFiu0LPuAVGZlkJP55WO1/z/3i8CYk0rJLKxzLN2tbJcSW6SlQ2vZ/W2Rjks2O3xvegNX6M/lORJuMduNxBzH+EN7OFPbyHU22WO0oq62YzhN3HL0GUrJFSY55r/vPIq9f+OZF85TQX5LrkJZNWvQfrJL56D+dOUZZbfJ54e+zG7d7UbUz9R5IyzatrBT9PNusgpd35K/1IV6PtGzTeunPPPDX+qdnxjbLNqtX7ksSMk0oECEhy4TCW9fp7dlm9JXD+8FDuvmOcNu03vlvRzGH5GSZ07a/AwnZJhT0/i565T8zwvdkaGFmBHlZ5rUT00xKtintxlGoPY4TGuf0daR0QkpGKe35Ox+RjlE6QZswTkg+NvnwyaanR4nR16fA6jjOgN325zGuZ5NVqE+HK/PA3sa0cDbY0yHG2mWb1SlrklE6L/1x+w6jT6xDNim99sqc+mOPWY/MEgp3vtQYUUg5OVnldBXVukgjGoy82mR1cw0PmWfJ2MTTYMXIhG1SsgaLPJ9LThY5vfPnvSYbo2wOY/xhy/3kfzv2NMI47qXfnvrz2YuySi3M28uxWT7v/tSIvfHX2/MeBmlZprUVoxVkZJkR/b+nQkr8dbZVT4XX6ughW6ynwUz0PiQl05R2/f2ek5FJRhyBt86GMVn7hDCfRVbyJSu7rM7ivX8gI5OMsO4oLZ5dQgeOz6ZZpoP5RuFpz/CJtCzTCgqd+V/2SckwpSvHdfieGq2sFCOvtllxHb6nRIvr8D0dVlyHzzoh9nStE+I6fPYZcR2+p0SL6/A9DU5ch88+Ia7D9xRpcR2+p8CLYx1PgRLX4XsanLgOn2VKu1Gdffc9+Zjkg9oTYnoyqhviEueMlpvmFVYs4Fwjm4S+iVfg+jkWGZ37nPUxb18YIvNX92ffPh74/Jy7f/PfrlKuw/faHzn5FF/HT4O/V/jUutmN+mnyf/Jr5X+XfaP/XT71/p98av0R8imoIJ8qvUrjt7V+mvTcZuW+nZ7bpBTU/tOgnyo9Llyt109DPCOUpEa3+N7rdojbOp7baErCNty9i5+uY56muH+K54d01LptdIv9vW6HuG31e6vX66IO4X/8Pup9Wt0Ouh31eDmv13R0ur/X+7YxXeH4Tre9/l7rFtdtVLlW9Wpu6IW71qo0zuuUaruScvDr9VOn1Lqok6gJik26W60pr1XhSVNaJYVDToNOk27xe6vbQfeP+r3Rba/7W93iuE5/x7bW/bOmelJt65WyNKZPvX7q9FOjKZOSNqsWteo26ZUq3dapBlR6TpvKaZ00rbX0Ven8VtNWp7tWeo82/dakWoBaFQhC3UFzixrVpjzNKS29atJqzkG1i0fJFkdUUbVR6UxKZ1K1J1V/SvQa/Y5tpftrvQ7OH3Rb63bU4yr9jnqK8ot0QSnwaTR/nZ4j9mlwsEUgMae81qoDciFscFyb6DTJeuXyPK6UhtbBPuG+qC3NilUaV0pNp7QmTXMo02JXOrVPnea7U/vUaQnptWZ1WnvELkxae0bl0mipn7QmT1rvJy0zk9qHSevlpDpOyn1SOzRpOZq0tk7KYdJaOGn5mlSjScvJpDQmLVmT8po075PW1klrzqSletLaXCcF6lQrRC9cJdsn3D/bp1HvCPs0JOJjynWlaoJnq2WhUcVGtS+N2p9RS/CoJXxUnqNec9QyNGqJHrUmjloDRq0hYW+rWxzX6e/Y1rof9mnWM1By6/RbrXep9Ti0ojiuThRr1W3SK1W6zfapS9eBdUBb0Sa9unR+tk9onSstAdl2gUmjlITgrFcYNLewT12qyXNKS6+8a5ftE1KA63R6hOSo1/2DHjeodoOqPyR6jX7HttL9tV4H5w+6rXU76nGVfkc9RflFupBO5KpNZXZKuRlSGZ0TPVjnLpV7WEdpa+FnoR1pk+Vr9e5in2CVwLhZuW+XWuMhaT2mUoPyU6X7VqpDo2WiUTvSqB1B+4561GiaGrULvV69V50brcm9lqReOfZaLnqtfb3q2Gs56TU3verap+tM6T69bifdhv2DWoxB89ar3oPao15V77VW9lqvBrV3g9qrPtWTJtUT+JKiV6NHoQ708bwh+VitlvNe7YQwhcc8JjUaVTP7T6hLteZUSnKTct4nhWv9LjnqVLle79urMl06r9PtqPt73eK4QX/HttUtyjOYrJalNn2qk13JpRQWptYzJ73mpGkeUl7QLufSiXa5VqskNWvS0jbpeb2DfYJ9AcEp/ZZ90j71E5CSQa/UpxrVpZxkOwxNcsvfpvIDTXCE5KjV/Z3mtNVUtUl9/N7pfmwb3d/qd5w/6Rb7Zz0O90O9hcK1pg9Ko/2Al9OlktmpCnXyvuvkT9cr/nKbNG2T8m2qH20qxW1qG5rUbjXJQjYr9+1T3RoS7SmVLvQrq9QOVZof9Adh1xpND/ywZuW4Ubch17PWnjn1XMTuzFqSZ633s9qHWdM/q52Z9Xqzcp/VDs2a/nnlPr1uJ93K/knPmzQdY9qP+1Z6/KDbUX9vdYvrZvuULQbs+axXQ3+hW7l/tk+zphj2KXvROdeNqpn9J/htjaaoU/s06/XapHCt3yVHjV6z1Ry0qkyTzut0O+r+Xrc4btDfsW11m+1Tr3dGCUJ5rZPnXyd71iZ7LntFi1a3lV4Jecn2CX5+l6wD+mdtajVRGuDr5J52o3VjXrFd2SeFFapW8jJpLrN9gk84p7QgvUOqs10qR7VeZ9AjJEe17m/0OChQJ/Xxe6f7sW10f6vfcf6kW+yf9Tjcb1BlkPta0welYZ/apDW2OU8oy9AN1us6pn/Uba9blOZJvze6rXSLcoPz5HogDDsEa4WWaUjbTre9bnFcpd9H3YoHIukYkqUWT2RIv4/6Xe4zqEUa1CINqtyg1x20Tg6ajkHTMWi+BrUQQ/JMxnTepFvZP6V0DHp8o1vcf9bjcN3st6J9QBmXfMLDHfT8QXXAfcABXm+v+yfVr1bdK93Wet1edZPvTdJz1O+DblvdX+u20/29fq902+p+XA/HNfp7o99n3cKvQT4rTe+o2163KJezpn9S3WbdDnp9pH9WPXB8r1uUn1q3k943RzjkuEb1w36Ud5RflL9O74d0zrqF7ihHaCFGPQ9blAtJR6X7a81PrTrWqmuduFT6vdLzJv0Ozxznd/p91u+9bnE86l2r6UC6Bt22ml/oDwU7rWNSZnNPLPuOsDTZVx8S7aw32r7WIebQJPWaZI2blfvmuANSkLnWKWZXpXMrLf3NSsvb6bbXrViPSf2XUf0b0KxSD6JSMtkPr1KZrFItrpJdrFyOLqLsVEnVKtnJKuWqSja5Sla5Su1xlSx3lcpc5fqVq0zpU47e55QO6dwmfcrpm9MZ+W65FcWnOqVgTvfN/u+wokHuo+UUgHb2jseU5s5hfCB7RvB5m3RXsTltimNVrlqhM6Z9Q/rUpl/r9KlLv/ZpX5U+tenXfI98RpOOa9K+OX1COc3lD30t2C35BD+jT5ogLbWWMiEwp09Dum/OL9qF1VgWvLI8NiT2u1nROo9S5FGNOmmR25/ci85k55WrdCkl6ImgJNepfNQrJSq3cF3a16yUo1wuxfeZ1HcSNWdtqWY3q88zrxCvdE+lZ076HV46rtDp91m/97rF8bASbUpLTl9mCpWzLzUl1XLfG1ohui/2Mo/3oV3oE6t2hRpqUJUs4phoIdbVrNw3j7MMKX3ZSubSnMsB+ni15rpW21in/egDY1Rq1K2MJQgXjBugH9rrcb2W1V7P77Xc9Uq6d4hi1NqXR4SmTr+3eh/ZjxhUpX3yRs9r9L5N2j/p+Z0eX+kW9x91i3xA4TZ9yjV9TEflVqjT89H2IepQrzDNfT/kBmrm2BT68hiVmbWuSsnv3JgU7vV7p9tat7P+3uj3VreT7pfjBj1uTMdV+nul33E/tOFzOgJWK4/E5dhCjofOqaTVSe1Rt51eCXlBDcgxrjzGlq1aLm3IC+pQne6KklCl32D3mpU2F7mcNffwaJpkYWs3p7Qg3od6l8eg57RFDiVHve4fNKe9qj0k9fH7pL9jO+h+jEl3+r3R76N+b3WL41EfkXukq9Mt8tKkPOTo3ZDKMco4xn5F2+z15nGg3IOc06ccQ4RVGldKA/y5fF/4So3LsbMppTS3xbBtlUOktlf71Kud6dU+9Q59YIxKjbqVERVJz+QQ05r1u9TkKVl9tB6Vti+iy6Q6Tsp90jI+aTmaVLVJa+GktXBKsaVKW5dKW58q7Z/0/E6Pr3SL+4+6RT5glXJ9yx4LUjm6bJ+Qr2yfcEdQy5GNMakCNbMHli1Vo/doVUlRsE8K9/q9022t21l/b/R7q9tJ98txGI3t03GV/l7pd9wv26dOj8heVZM+5XF65BeeYK2twqR2aNJyPmntmlZ6KrCGuU9ep7a/VTverOQl26DsL9d6j/wbakH21+ekbqNXgn3KUZw8Htan0pbtE8pJr1uUJ8lRq/s7zSmO75L6+H3S37EddD/GpDv93uj3Ub+3usXxqI+tpgPp6nSb7X4eYc69iNwfhw80rdgseEioFa3LEch2hQ7KfpXqzOiy15R9Kty3S6oPKX0gUaX2rUpeWJV+xbgGrB5YoUahvwgPQq4FrwH9YIwzYiwA8WP0l1otYZgT02pJgH1GH7vVWoM5GRjZR18MerVamzGGjfYYMVmM/8N6IMKNeoF+R7tileAP1yv9BNwlxxl7vS6UbLVE5RG9NvWMupTbPBMtWyW09eiZd1onMbumSQrju9yn1pw0mgPM0mlUgUav1+hxtR7X6HG1KtKkba/bHCuZ9Mo5ptylT7BUea5G7i9Vemav14RabcpLHjOC99Im64BecOvqVAqREtSheoXSrPfAb8hB43IcA+Wj09zndiHfd0pp6VXr7AFD/U63bcqhXLfS/bXmtFK1q6Q+fkf8BdtO9yMqALqVfu/1e61b3G9SZZBSpA9KIy9NykOOguVxhjw2DY8Ls/DEZqF09y57TTnmmeewwSqNK6UBPlW+L9qCxuW5dbmFypEO+G2Vw1gd7EurNahV/wmRc9jrNh0vczGk9owO/UNJ1ag1edR6PzrMbun0PLEzY7qOcB81B6Peb9TaOmotHLUWjlq+RuUyajkZ1W6NWrJG5TWqlqPW1lFrzqilenR5vLpLuuYYEeYXNS7bp0HPz/Zp0JSBGiIi6JONLs88y/ZpTp8qvUetSkrOqqQwvktMGLN0Ks0BZulUqkCl6UFsd9bjpEQODrNoqrTtdZtj6Y1eOc+zy5/ynCbkF1a31tIwaikatXSNWrvGZHfQvtQux9Zrh94vbDD63GOyXJijKJRQMrJ9Qi3oVwgOqm6lVwKBHA+b06c+XTPbJ5STVs+f9AiJoEsdHFSzQb2RwU1Jffw+6H5sO92PkSHQrfR7r99r3eJ+kyrTajpaTR+UznY/98KuVWXR4lp9rmuHGdLSF0XLc73C6XqlRZBvGPO/Ti0jFM32HpYKSqNFQMlBWwc7dq265bnl6MHkuJ9sc/Qa7c918r7kf/hZ1w7jrfI/RtDhs12ntifbyWuHsViMyF67HFlHT0Wufe2k533tchwEcbQ8U/XawR+Qfj1mcl0nm4C5FNcr1lmYiyIYKbx2mFcHS3jthlSKrh3GMjHidu0wv67WknPt8vwDzFWEj4Q6hVp+vWLZrx3mAWC25bXLM2/hZ8HPhT+La2KO67WD/3Xt8jxxePnwoa4d5nzCYl6vlBwZ30bfBn0NzKa9dpi/jllV1w4ztjD36TpFYBD1ul6JuVw7zM3HPK1rhzlcOXp9naIFUo+EZhuf8rj5ZEfY8zE+YXzXUx+1g8crI5ObTua+SGnfcNL7l3kCoeRuOunZIIY3aDxCZixtOuktSJuLVkN6+jLbcYzH9NqLyxERGW+eYwpgwSRiKnGWTSdxUon6YxZvq610FY8QX7TS/myendRoP7z3x8i83Uq9tT7mEWNnXcyBjFjLODPGqqSNFku6qW1xoz3bOV4jKNOpjyKzsiXK1GiqtvwxlUNUf9SjNp3MfJw0jau2ZtZ2XYjMDrPqpTXu434ZBR5SnxezqBAF3dRWR+Jc4Rp4dmRS67jpMPNN/KZADN5ppR6FpEDGCzGT8jqmTI4ST7hLx8OnkzGlTTepjy5jFJKX1fEBmX0l7Cf1R7NPKqNQ0idu4j1lLg0sh8ydCvne1BRK5AD+II6V8bRN12hepfeFGK5YC6nRkq9WW2pEjMTPa2MJaRzmpmHOrZBotNctqRRfA+MJ4sFIfFlqkkT8xYuCJZu1pMrMMdFOoqNSH2XGssTcNtWDEk8YM7s2nMy6bzUdbToTMdCgQqXtuqSgdojXyuxkod7rfTGi1SkbmRUsR0hvEZ6b2AFJk4yXbDqJG2Lu5oaTOLXUgD6WokE9Q8zllFT06klUUYdGy460VOJTNdpXlPzIsyC91sdZLVOld5CoY+Py0x4Sz5DcScnC3A95AmfSs1q1LY1+w+yMWS2dlNBNl+MVEjGTOF8VFZA7YqxH5sDN0RZ2Wntz7FBKukRD2lg/xVYMDjHSKdWITSdz9qVm4RkPieyKtRQ7IbP20DMRGypRAZm3t6n1D1HWQVsDmXU3azpnvVubauagqZ8jIYlvIBIis+hklKCNV5DyLzP9ME4kT5AMqpNY7jqRnlVlpALzIuQ46c22yWpI7KFLNgzP+MhTKY1aMnga4kfLTLkuliCZPYc5tlIKhfOg9U3qImZtSCmetcS32rpMyQZfu9vWWM6flFjrMONdrtGrNZY+ch6VbdWqVaqTjLBMyRNotbWV2aqbDnPXZW546/AcjjyVM2mNGzR3Ui+vtSVsk03adDJ3Sp6NQB9N2iSpz00kgnkvmHNcOTy/iB7SppbqyqFXJCPbndoiGXuZtdXEPK02tbCD1s1GqY0xtY3Wf5kTsan1UGarY0yu07rcrxAWC5xjL5OWa2kboCOeIJBrjtrKSH0cNL1DajtaVWrTybwmKdM5atVr69ConZFYdZ5pJE8btTGVk95pdBjvh42R8YJNtWsy7pOf5Ji1ZrV6jMRd85M8k+ZB2NbauuU5SBtOIi1tTKPUU5RU9CcmbT/EJo9qJyuHOVUbrk75aNRajtriIb6y4WQuMErPqD6KtLjSv9hw4gtKCZ3UPg1agsQz3nAyN1BGjTc1t62y6x1Ggm4fUWnrMjlEQyRSWyu9UWvwrKoIb2ldxEqN6gFizuWs5axX77ZJ3mWeBS/2SeZINPFeMhqPJ4t7bd8mvYvUnkFbKcyEG7SUderBVLrN45nyHGSbLG4+Cv26Xi3zoBZLShcig1J7q+S7jKoBPPxO7VSVSuy4Ql5iXKP6wk2ynJNeeUPLcKWt06bWAukhDElxlHCxZxJhECvU6TEyF0EiQJ2WZ5lri7nKo1oD8d2rmOZalcDTj53WoEm9mVl9jhzrrLTcyW+ttvPi70gplGeQZJ7kppKQGiOeAGpUpT6M9CereKVJW1n8DS4/VTcqA7H+my7HVaWsdOmsTfXaMN43qteHut4qCbF5mGVbaa4GJSrj+PkZpUm167WObmo5z/MMer0L+kWYPb6h5ULiYp22fINDbFH85z55J63WrfxMi1jQUdv/TYe43qzlUSLV4ie0rk7qyPNis+rbaxkRFQf1gWaHkW2ZTyLebq3Wu1X7glhxrcTkCptaCmTuFKL0o5Z8eapW/PrOYeastOSTenzSa+q0Rc5PLjSakl59ukbPz6VMvMRGLafEWCf1JhChqNWioj+U263G4ak7Kat1qsOT2kXE/uBndGqhZaQHURQZkazVZxo0pzIijnG+0eGpH7F0rVootAAgMWirPTiMVmIW8YZau1b9LsxhqrVVmrWfI/0eyanMm5IcIKaJWVpj8sQn7Z1UDk/N/h4xhOxXyZMfs8Ooa6N+QK12alLtRocxuMfjAegrN2ptR61Pcv/c95cew6yWqFH7LXaojWq02qaLnRFPAr3A7CfAOsh8jk3Xa10VTdfrW6HNGVKZblW1/Gxsoz4IogzShmLe64ba7MphroPcRWpFo9apSdZsUosza4mRVGUrLk90SN3Y1LKFWfkbyV5UWlOlLk6qM+K5s3oyvXokiEdhZQQwbjTVjV5doljDSo4kvgrr0DpEJzCvt1ULISqK1ylPjcF3XcfCIRaOHiPs/KDtMmazSHuCXnCt18H4D54DntTSiQWTmf94/kNKjNjrUX1c+EGtWrBarSx4DupD5KeNu9RGwqqL34rnN2WsdtJWqlatpcVD/3lSmy2Rpi6WPTzNIHVO6nuvfhbilZif9Fg8adQWU9pzxCVn9bPQN5HRx059nNrlWBDWSYFXKfMWNvWq0rrmOW6DWqRWy/Sgtqt1iOQ1eo1aa/2gpQIzlh6OW0nb22m+W+2rdQ6j0dWK51Y7RHs7LedV8saEjFgNudegqZAjpK5K7148U9jBPA9MfHOpQ5VqjOuLfZeaPal9kJhx7ntV6fhGlepTOzU7jEd3WvPkuEFz0cTjpFWSyC3GuHvVFF4rfCzQy3NaK62hlZasKXkr93lD9/tQct6gdXnUVq7XtgSzqeF/rqYN5Qotj1iJ2SGKdxdHzMKRtmJys95r+OR4xMtnbX1F9exN3WQkJUmu2uh+rKIgUbBNh0hSrxZycIhF3PSpZRwCFkJS2KmdmbXejWrnpO3b1FrYaxs1aFm+VuvZaHu5+oceEpSq1Ieq1KZJHwtzC+SeldYWmTGO8QvM5lnvbyO2peLnikUQi9xrOz+vjCB8+tckKzdpmzarpZQezZZSu+vcQb0eKeESAZQ5WEL2oftuaM9kdjnKIVamUc1Xz5Yee6vtongfrXpoaEfh6TQOT/ghh31qUzYd1vF4vE/ca/uIlm3W1nlymDfy+X8bTiIAEmGTuGSTPLVVKnelefWvVcvSJ48lq1G5/o57t1qPxP/vtX2VvuBdx9/8u10C7s/J3X+P373XNlW85Vm9ihwLfKgkrqYLs8jv+xPb3mscRfoG0qPCcxiIrkjfFfNosTpLrXWm0folZRjzqMUiSQuX1RDPvlMPE6NoaEvFYvTqGW+qjzUka4D2ZNJ2XsrspL6/PKvX6n0mtUZ9SmXnMNaCVZ6yly/WFzFgRGfQ58AM6lH9FESXZv2lSn7yzRLSq8fTp/4Gnk+VSGStPnudarf0wDAetan3EN8A43lzarU3HVZV2NB+3qTe5GZq11ef34PXLGtQbaqOs8Nsx1p7poh9SU9A/Ij6k/xtqI9WO4xczFpWqlSS5Rli+EV5/YzWYQyjV28G9rbRa8u4GeJNm1rzNxzms0vLh1UkNpzMu560VIxaM8XDlPLbaCsmXgZG+jA/b1ixILJf+sCDtkiybtLNCNqoaam1FR91z+r17xpJxDMvEgFptA8vucd6FyhBs0P8FmP94U+imrXDfAK51qA9ijzPYta7YpxO0tpqqyD9rUq1Fx9PvGw8kzw7RL1HtVvo1eB5oPVGoKTO3hyBqpO/DpawiphPjliztDbibXRqaaUP3Gp9qR1GOFctHEZj4clIDL5RjySP2E5qkW+O8oj1GpLmEsfBvAGM8klrOSkFqVky9jVpKzRrjyD3XvBMRKUWRuiO2vZL7Fa0bbUkjeoNSy2fXX6GHDlo1fuetO4hviDRS4xbyEhzfvpP7i59aoz9iZ3HCgSDy2NMrVqu/Gww2qdBbTHGgjBT/lr9WEmflKBe7Q1mAg3q03eqK0bUMftZ4iaNtvHw1SWmiCfvJGIjPSPx/2XUe7U2SOskUdhWPULMUbjZcsJiDWqDMXNH/H/MARErXWtvpE72RNrGKtm1UXuQmL0v5b1S+12rx445jrVet3eIWkxqJeExT+rbSn9oU1tGSTHWmJR0tarHoCVE+hJtqh2r8yCqG79U6j3LKEuT2hE8WYXWEhEOjIJUes1Oj7k9CoK8ycinjGJJ7ArPlEpMstY6IWu+9Q4zYaSlk3RILwJ3lh7F7NC7khYFPoRY61Z7WNIWiO2btU/U67Xr1PPBuK60OY1DPxjHdFrPJK7WqYXvtMQj9or5j10qQ5vqO00uP3H86+ZCdOpziUXrU+rQSmHNDolhbjr0i8VjnbWMtW7T4QmlXts7sbCb2hZILA99EIn1Sw1r9KqIQY+pDGFWf6c9lbxaSuUwg0MiWVUqWfl5AunVwC8U/wKzWCV+mCNDndoXrHvX6dXb9Ls884i1BXK/QcY+ENPDM6DiaXd6fazWlNsUiZrlGFG18oennWVmTqethbSOtcNaWpPDmhdSGuRuYhMmh7WNW4cxTplhInayT+nHXITa5fkpnVpsaYEwYjBryyAxeYwRSTRFRr/GFY8Zlki8r1nbPUQSEUHDbBx42eKPSp8QZb9zWNWzc4hpTGrjQUiY1trmYJy6Ui8Sz0vVaoVmzavE33uHta0mpd6pn3DTD9hINhzcZm2HxWpivFzKKCKek4P3jzmqQ/ISpQVEZENqIJ7EEh+p0dYO/SewxwymyiH6WWlty0/pNqm9aLSWSF829yDGVK+lBKF9wPyANqUTkTCMYs7aask8lc5hdij61UJYWoVGey2NwyyQIdWBPBYnHoKMYmHV4Q2H8bkmlgqZKyitZLYkUjalBzBqKUfUfkgpx7MYmK+FWWeNwxq5iI2PLke7kDOh2qSS8Fj/e0NbU5lPMmiJET8Ma0VI5B9WrNHWc9QamK3FqNYCs1YwslA5rIaKMSnM0kKbuP5cNYzryupK6FW3WkY7hxXPZc5ro3lqlBfmnz82V018Z+nFNZpGaefEH5LedeUw03DUEoQ5StcO88Tz8yuj1uncHjdaw/BsvaR8Sv77sFI+pP+ZRzHyHEyJmEvvSEon5jng6UqM0YvnNGr7h5FBrI3aq19WOUSbMdqGNcLm5BmjjyP+9ezWmZWGWdJN8oZkDVhED0WzzeSlDA4RzWzVpLeB3iXmM7UOTwr36gk1KZ/oJWNervhEsH0yFjOpj5mfEpGYQeMqTWevXLE+CCK6s9b2Tv2+1SeBK7VyGDms9b6z1hhpNTG3L/vxncPIeav1GW22+JFCCiubYKZLo+UYtgzPusE3lPyJ79NpXcZK44/NR5OVXVqtBVIy4engSYg6pap1eS7P6PD8icTApAcu7bxY587lVRar1IepUu2ftDXFGofoC2NujvSU8CTmhsP83DGVEGn5OodVFDYcnpCa1fPMs9awGuHSs9Iwf6XXcoDoEmJl0qLPWpdlJoaMIdQur/Yyq28qfkWneZd8iYcjo0Kza1Y8g0l9ofz8HmYwd1oCK21f0F9r1EtGmy82K48OZ39n9U5SAmuH52NlRF4I9NpPwupfGPUWDxHjA1J3J20bMVL++LMYYkUnrY2YByCRdqmLDz2ZUKsFkD6FWEHxAfBc7ePPLoh3P2qrJpHuShXA839SZqT129QzMTaFeGmrRAe19rgubBpKN7RA9EF4YWW5DW2nKvU0MCt/SpYNlrhX7hK9vDkquOGwptnoMBNBat7ksIZrttxD6gNVqkDnMANLeqt9Yis9sUFtKp61fIp/q2MSjZabTfUZYXnFY5y0ncOqmfkPq4E1qlyXON81WvHwH0YKe/XuNhMtRKLX+dtwj0e0Jfe3Y9Q3r/Jbxi9Xr/N43FTyPjrMdMJMGUQTa4cxZInxY7wA9rBXfxOxIJTS5kbqNpw8iSGe4aAtEEbAW7XYs/oU6JGhxXk8gvq4Dg9Hij7v73Ou9ltGk2+WiMeiJb3DKESl/h1iPJ3DHPNK65JEmOQ7nggYteyvkpS5nJV6pWK/8TQjejQSQd90GEXsHHqfKOtSBqUN3lRfWjwo6bWJT9E5zLCR+RKYnwWb+ng05bEysNoT3lB7MiVfFPE+6dHebzFu96hX/9bp60qNe7wnm/9+y6yCVQXW6Un16t2LvcCMMymBQgOzSDFjdHRY4R3z1qXN3HSIXQ0OcWpYAswkmV1+kmRweOIao5itw2xJKX9Y70lmbOH5llX2KEnSi630rPZGP2fDjeo5YSyocXiCB/0YzDN6qDf00N/neGmj/vXay5g076BwP8/173L7zHV8qvD3uDd087rrz2DBU8Di+2FmlYzK5qf3am0F8tgynijCc2kbrlGvT3htahmFz5TX3Rq01W219MKPbT/RBxFGrPoHzy3HLlutTxi5xFgCxgla7X1I72/TYUX+WtsIzNKd1P40Dis1bTg8M9FqfqS3M6g+ed2zRnuBmw5zbPNz4uhjixUV+4JZupi/vM4xubzIHNxeW+pGvfn20V8xU6lR+4UnZYQYVodb5xi0OYN6h5W2J1hz5uFfseaP9GPE+mxqHcCKJ48fIdYYbX2t6t9fR1dtuJQ3jEZuOqxFMjk8Hb3psNbdoG1QpzUDkbONB66zceeVNu651oZ7fMbrQ8/1flrzb9YZzFee1KLIuHheXXJKWkv9kHk1t/0geQYh1wU8LyMea37q6tMaPKjll2NmPX50WEmo1hrTp77xrLZFfG6sITVoSyitNerdp/Ze7jqp9UKUF+ucSI9aajvWZYCPNDrMhZdREvHQZ/WT8VY46ZvKOEynUaLp3r33txmPzS1f7xjEgKvUe8UzyXlF4VmtKyLr8NfwrGajLa6UOUTg0I/Odufh+2yscaeNR++14R6fDQ/KWJFS4q0SC8BM39VVWfPKADKCI1EqrI8r9rJTC9+q3cU7uOBHVuoP4OkXKYESaZa5ebNrXXejRG6k6ID47Vhj+b79UgZlzB4zCeQTRrjbtY749A8rUOO9fnherde2S6wRZrFhVQ5p63ot0ZJnaWkRscJM91FrGdrL26nYUL+oVx8Oqxh2SW3EA/FUQV7jB7OdOi1p0lYPLs99RJQaTw2KRzE7xCFa9Rgxy29IPg5Wid1wWCVLPDmx0XjOB28nkLdAyHharx6IlMzcJm04icm26o10ag16hzla0hJg5letbQVme+DdNY16TvJUtUSBJc6JFeo31HfCjExpU6SHi3F1mWEjcUSJQGxqGcDsAkSRJQ/CEU+gzskjGLSNkFZKnsyc1VuuU9v28DN2G9qijQ6j9cK119KL+ZDSvx615udVusQK1lpWK60FWEUG8xoww2B41BfYSGVKrIeMQGH+dZ+88E2HdZzl995h9miX2jKsIoyn8mWFgk21YqPD+v6rf1AVz3ahjfq05mCtiNGtznNrtS5ifBDv3pJSO6n1XY1x3q8Eanqb6LRqIfCmBYyRycgrZn3VDs/8iv3If5PW0vxU16A9lcblsYVebcLtfNd6b4nRNOoVYz1paR9Gl+cNIWaRVweTOWt4Rh5PVyLOe/e1N9a4+saD18dTJA89lXeX/lhfstU6I2MwjfYnMTOzdeiVbTqsxykjJpPWiNFh3qL0h27qKvNiZMxZbCDWaMFMZonNYF0GjBtfq90QC3bzr3ZYOfnudLR3pAPjSZXDHJDrFYuC9lquhyfCET2Tuaijy2O8g8Nboepk9cWf3NQjZWxfWnN4vKP2tWSeVOWwzuCoNQH2Z1AlsN746DDGLqPQYg3EK/u0HN+s73c/Pf94RPzuP5lngzGUPFKNldM/vf/d65Gt/sms0bwusFjvST2NWfOKOeMytid2oNJ2AeO8lcNqBYO2ho2WJsxImd2nsZv7/aKHvKYN9/jz2+IxPt7urtOm3t9ejsnKPH6nddrvh1vnUevs421vpXQxD75yGDOWNlcIy+yBTls8zP/6tCTJjDaxQI3DPMJJPbL8LHyjVh4RyE7b/E97bRsO88nwBDueN8Y6nfDQJK35yYBGfcbbUWdRScbvMfKT57e3LkclMLqT39CIZ+1bh3mOlcuzuFdbKfAT/VvtWWOdTzyXgBFmeHaz2h6sdbp6xV7/Bo1nIFV5TZ8mnSmjDHiH6qyek8SzRtUTsXXMa0L7jCcHJHerduuutRbP3YXfc+H3nKc1Fq9/9T+xQe1ae//If3/sHfPVH7/P8nm3/O/z1Pj12q1bDpdKz+9Ten5rah/as/5vd+1/Op/+2Bz817n6Q98eK8HlKZcsXb9Ogd+q2x+hu12WFtX69bWr/KeS6VmnfXzMzqzbxn5u7f2c9ns96p/Xjn9u6n99rn6b5frtvs36ftbvUfd+f66/lumv99g+r658Xu36PevuEnR/jb6/tr5+rk3/dbbt80rOr7cfv9+9fuu/dcvFH1+q+Ymf+OmP+fRrW9Rf3y6Uz/Pn6PB0Pq1nd/8rafRHl93f5gfZYP5f5dN/xbL7eb7s5/mr5XP4uam3VmL+u1vW+718lksbrJcpl5/fv/utV1+/t/x5Zffz9titnevXsd9H0c+jaKdG/jEl9vcrV8tbm8+x6et4KL+W/WO17Y9V7I8oseuq8ZjN+2MsrU3drNZy67p9Tp39o/LyW0mWrIPL293/vp/+CB1+7/KyVKrW9RU+p539o8r5H+OJ/f6Wb+nr/NayE+b8fjrH96/uo/8U9n4bf9lzW+7M//3o/4Xff91zC/zjH//4xz/+8Y9//OMf//74v+DjP+zPhyNexSP+lp7/C3tl37/HXsG+P/bYnfrvx/68E3068Nj9v3isrPckvQnsC72IPX9G+PS93/OveK/n/kr7/gqX/hoX7k+u1rUGKvcXn9a7f+3v/RVPVT/0a33Pr50+V373r/ODqZr12ef7fq0fPLd58Nf2wV/vT7M8Wd/ck1+sYHzfuQ/lt1W+9/96f45a5XD/r/fnSJ4Nvv/X5gEKsoJSd8+vovJ952IV84d+bR78tX3k17sZya/3pxmr4N//6/jIr8ODv44P/jrf++v9ZQO/3pdfrCtx969Ybf/uXx8qsfj17vu+cP/p3rvX/lvYG2zjXUe99se999bv2B367XO3E//fXuPYF37/Wfx+4D743x8/4437+pHj30Zb/HiqcdxX7p/+mPDppd/z8LE7fu+V37Y+1d8+eORubB8OohLnMV504f+/64yv/eeLeNx+bDve+zbnF98arHfs1/4+vyQlHz7n7hTj9xe+FduN29DyHcRW7MRrs945lzE6FtR+OJc4I+TxyN/hg//3mDI456VP04E//p/+zLvZ3z7jlftyreNCGVvnuDf++3qKfOXT+UPM255P9b/WOued/3YUlV/n6G3vg6x3XPBfvov6/bxmGcjnoHasc9aOT/vJmsfuxvK790g5x9Ffx2NPHjl2z5ejo0eOCSX0o///4aNuWqXHy0c48nClNr6Nnt/jdfL2edt++3BZeemP2E9l6+FjX/ucnvrjjx9JRbCU5zGte9Fm3m0DcfQ7n6/XjxxxGHO15X7yvwVfOPC+9NtTn+6H0yx1IDNY13rePu+Nv++ep7fOOVtRp3WOlLZIWoF1jpfW6nPzsOtL/fMHj3y8nMgRj5dcHIcSKK3m42cE+/CD/3voSLSWj6Uh2A2U02Bx9mLL87Ad2Yl9rQt/xqX//fFjrz6zZcvnrNuy4YzPadlwzvotG854rGXDcetof7VWy4YjP6dlwznrtWw4+rGWLR+3fsv26TnrtGw4a73WCkev01rhmEBSynsgcP5IefnGXdyy/VvxCPn+J3/eK3+dQPOd+8Jtevbbaxz177GVffy4V740vVnjuNe+/fvbGsf9h//9/I7jXsTW8zxamOfRymzeOvcvMYKSYyV/vbUeE1YWl5VcZUXa1l2nFRLlPc2Vu9bVv2SdaFlJSt5pIO9JknXe+nikrM3d6aq48tZNvPNNVsG9jv0wGV+WtdvwxuH8bqxet/IrVvTEe+sr3coI9RyPuXZYFz5ca3SySqHskf/xhnVZp1jW0ZNfZGUsOR8paJ2sjCnr14WrT07WuJfRblnXWd4XKOvTXTt5Z4K8iS6/IVPeKHetK4nKm1LxzvnWXTu8RU2uLHeUVIpiopPkVY4RhWWlcVFKiEiusZq2vBPk2uGtTJIjeQdp5WSFz3CkvGNTlG6drJUvq5vLqtvXumKlrEcm75jpdR3T1l3runiy1r2s/ijvzx20VEiqJOWSqmvV41rL2XWMB921XtifV2J+N397Hv3TM18XnrkN/y/YhWApnmn/9Dzah2+9DZOW6aN63WH/i3jmafxf2rpnvraEq8OzC0eFNv5K28/Vs8UbPYh1L5z5P/1Z4hk987Xvx3jOmf8V5zzzViPsufI1F9d+5e/1o2/7wj2fxTuFVPwzpedbzdE//Tnnsc7v63liBf/s/leyhP/bH/tjzPm/x6NP43658o8+pdi/7z+987+KMv9csZDPkiLP1JL86I/ec4jNisKvvX29qe7nXwOtyep10NYcRA/lWcxjiBscxLP+l/bzoff//uTO12r3Jcfo31xHD+ksWr+L6OP+EGntxvtcRu8mpE3SIPGIZ7dalHO/ZyceH7yOq3SVsP8wpvqj/yRRjmfR4zvTFEGBn1OJCmcEfaSkfRupSL9JlJGW7tt4pHiEN/P13DPfWSkrZ06iNqfxDrdVyJ7EM/X1z1JpfO2v9OKenK1/lVVv/Tr6T880+nS4ktqrqFX4tn3HUbhm0A51+U0sZdDm03Nu/56vIfXymfrmz9RXv5nSZ550LpMhl59/hV13obX0+tYvX/pPP0S2YI341n3W5Fmszc9iv+9DHOv4NvbIzlLJXOUh/eUNTfGzZImEy7cp5RLNuzv9j6XkP/zZx8r4b/rrZbz+Q+c+j2XoOFpQ1LTP1UBS+WPst4u+4Y6rZfA+i7w+hftK95uo7D+jZmHPx09Uu1kXb1sJ6e1l+3DX8Wex7QrpumnRbh99u6atRxk2We60aidEL7QRN+uPpOVCWyypD+taAMQOYInvKrFS89e1WrfvAKtwfE/axZLdvMZ92txm9FDNelz7XLegwvW917idixfRoznWe8voprT3B7HtEhVhZS7dRTz/X2qxz9WXkByc6TmXesSup7WXauvDv396vb/FvoSU6r177nmzRAjLcL0jLc/H8bibHG56K9faUkKfFzdKRNDrMpaTI1XjWfzlW61HEis71xL3o1qOu/28u+zFM+1/ii+56p/czulX0S79qJ7Cv+6oU9d6rXDly5jSjZj+v63YnPN7jrodZbn7KIkigMZ997vpP30V9drz1zxIub77zE89zLt81bvOfKlxqPMVOlt61MW9Z6E3f77ie4v6991lNd4Tvoezflb/8CHdbmuy/pk3I1nPUi/7MnJ46MxX8Z6XqsaXqssPD56DUgJPPUdQ7j5+tfZ9SmrVot08+9zBh7/PDr+I9fNiJSUov7lUr3PUOmXxsausx/1z0/LrrnJXL+zx9D9WOx67wu2acn</a:t>
            </a:r>
          </a:p>
        </p:txBody>
      </p:sp>
      <p:sp>
        <p:nvSpPr>
          <p:cNvPr id="37" name="WORKBKFUNCTIONCACHE1" hidden="1">
            <a:extLst>
              <a:ext uri="{FF2B5EF4-FFF2-40B4-BE49-F238E27FC236}">
                <a16:creationId xmlns:a16="http://schemas.microsoft.com/office/drawing/2014/main" id="{00000000-0008-0000-0300-000005000000}"/>
              </a:ext>
            </a:extLst>
          </p:cNvPr>
          <p:cNvSpPr txBox="1">
            <a:spLocks noChangeArrowheads="1"/>
          </p:cNvSpPr>
          <p:nvPr/>
        </p:nvSpPr>
        <p:spPr bwMode="auto">
          <a:xfrm>
            <a:off x="2375067" y="2987675"/>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Gjrjx29qe25bEzHiqHj517O9L5+BmP1ZTHzscIGvz3h49ev848dKXP73eF8YnVtuv6hjcSUgaPYbWtXIfuTQuVe9I3/aA8qnWgKbjPn/10ZOu2j/qpTmF8MBA8vtXLR+pv30NGu0T3/y9eH6NeuWWGVnkU7C6fcnUcJJ+Tx0MOosWRfNw8czUufKyKPuyLB89C4jkX6nVIL+G2OiFNG75nf6bpwXF3RS9uR3seU+72WOb9R2arsRdtHq58d9ToU1VXR4ouk/V4TCMpn7nPGuj+X7X58m213IPXF/F6B7FM3FVacj2ScccQTflXLOmS1h9cjpSt6vFpv+dmj0AswmU8+jjGW9Y7B30NRIruatlQF296yajl76KGYP5w+fjUa71pI+4+5q6rrZuSm9dHLh+ON65aph817nM70nBT109TeDeRl/Gu2Rq90H7LP93BZ14Z3B735u/WD0o81J+53eP7T3cQU/vszrPvinP/93w+7nNmEt8/a/jP6dzd6FWcxTIjvxzGNirbwhfRMh7F3/9/nCUMKA==&lt;/compressed&gt;</a:t>
            </a:r>
          </a:p>
          <a:p>
            <a:pPr algn="l" rtl="0">
              <a:defRPr sz="1000"/>
            </a:pPr>
            <a:endParaRPr lang="en-US" sz="1000" b="0" i="0" u="none" strike="noStrike" baseline="0">
              <a:solidFill>
                <a:srgbClr val="000000"/>
              </a:solidFill>
              <a:latin typeface="Arial"/>
              <a:cs typeface="Arial"/>
            </a:endParaRPr>
          </a:p>
          <a:p>
            <a:pPr algn="l" rtl="0">
              <a:defRPr sz="1000"/>
            </a:pPr>
            <a:endParaRPr lang="en-US" sz="1000" b="0" i="0" u="none" strike="noStrike" baseline="0">
              <a:solidFill>
                <a:srgbClr val="000000"/>
              </a:solidFill>
              <a:latin typeface="Arial"/>
              <a:cs typeface="Arial"/>
            </a:endParaRPr>
          </a:p>
        </p:txBody>
      </p:sp>
      <p:sp>
        <p:nvSpPr>
          <p:cNvPr id="44" name="WORKBKFUNCTIONCACHE" hidden="1">
            <a:extLst>
              <a:ext uri="{FF2B5EF4-FFF2-40B4-BE49-F238E27FC236}">
                <a16:creationId xmlns:a16="http://schemas.microsoft.com/office/drawing/2014/main" id="{00000000-0008-0000-0300-000002000000}"/>
              </a:ext>
            </a:extLst>
          </p:cNvPr>
          <p:cNvSpPr txBox="1">
            <a:spLocks noChangeArrowheads="1"/>
          </p:cNvSpPr>
          <p:nvPr/>
        </p:nvSpPr>
        <p:spPr bwMode="auto">
          <a:xfrm>
            <a:off x="2407152" y="3232317"/>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lt;compressed size="651798"&gt;eJztvQtvHTe2ps2fYkwDgxngk7ruF3TPARwf2fGBYwtS0oODRsOQFamlJFYU3ZIe6Md/JNd6yS1Zl+1cikvnvBDs2rt2Xcj3IRcXF1msv7pDd+lO3L67cMfuR//phdvz347cgfs391f3rf924f/t+t8u3Zn/5cA980ftuY/+0/9x/8O9dK/dW/fc/3vhtvz3Z+5DvML37p/++B/j1b91p/7TVTz+ufvB/73323DPa9e4yv/1/tPf3X/6a+75s/7hv/1Pf9SF+4u/c7jnSdwfUvjM/c1vD9zP/oh/xiPCmW9j2g9unLnl94RcXbh/+bNexPSfxWvt+z33nf13n58XbtufcXPvr/v2P6KKr/y3C5/uPZ+yS1X23Kfs/8XPtevc7Ea/788re//qFd7zuoVP3/s9//K//dsnavxJdbyM1/5LUvBPquvk9237fXL0t37/d5HIX5KKf/oMpW9qGu79yr3xLN+4d+4Ltxl1+8tKPvO1t+NVD+LZmcUz97W/z0U8Pt8j5GhfS86Fv0atean8b8LmTyuUwhVOvdZ/iVc992f86JWr/THbsfx969P37z7FV7eOaPwRku6b+1u/fzfm8MDvu/lb538LOQ6l5r8viZ4kDJBofU5mkjBDoiYJAyR6thMmSHT+jyQskOhji92RRHESo/Z0SMICiZ4kDJCY2bMzRKImCRMkatYJIyQakjBCoiUJIyTYs7NAool5aRh3MkCiZ1TcCImBJIyQYM/OBok29ibYs7NBgj07KyTYs7NCgj07KyTYs7NCguPYNkg09J1MkJhiTmqO2Rkh0bFOFCchMXFaJwskepIwRKIhCSMkWpIwQ4IjRTZI0HeyQmIgCSMkRpIwQ4J9bCskBpIwQmIkCSMkZpIwQILj2JZIsGdXnsTAOmGKBH0nGyQ4G9MCiZGzMY2QCOOnXLfDAgnOULZFgl6sBRI9SRgg8cLn6r1X/iTuDWvtkUhZIkFzUfPQb/M8g/cc1TPK6Lnbif9vk4spLnJu+H7gPsQzSMcOnTf+HLKxyeYrf9xHv/+9e+mvR5+gNJ237iDSgEUL/toVqRihIt7ze3/OnvvFb0Vp8rHEJxx74o8kExtM2MLY5LLt/7ZIwwiNHb/3ym9bf+a3pGKEym487iD2+c/9X9h7TjqF6ewona14jRN/99Dek0tpLnLMe91/Fgn94tUnF2tc0H+R65CPFT5s+e2w+Og/nTnGK60QeeHvthu3e1GnM233yccan6wNfTJrdIJHduTT8CGmg3ys8XkZr3Tsjz9i22OOziv3JZkYYxIYkIktJm/8d3pm1qh85e//Q0xDuOa/yMcYn3f+21HME8nYIrPt70Am1pgEhb+LPvPPjJwZ5oMZACRki9COXodcbHHZjaM0exw5M0fm68jlhFzMcNnzmhyRhxkeQY0wckYiVojwyZinwIVxTJt0juOszHBNxsus0Al15nBlFtNbv//EcS6TZUasQdbonLK2mOHx0h+37zA6w3pihctrr8WpP/aYdcUQkxOvyaVGYkJaScYOmauoz0WK/zOGaYXOzVUYZCYg4wFW6TAaYI2NrJshz2mSjA0y7/x5r0nDDI3D2Offcj/53469/mEs89JvT/357NXY4RTmmeUoJ59tts/ojU/HnvcNyMcWn60YISAVW1Toq9llI9402xy7hFbH09jyWKUkCh+SizEuu/6uz0nFCBWOO9ujweimRSaYqSFrnJKOJTpB3R9iXknFAhWs1kg7ZomJnE8ednhg7kx4BjB8Ih9bfIImZ/6XfXIxxeXKcZ0z+3yyNoxhWqPDdc5s8+E6Z5bpcJ0ze0zY17THhOucWaTCdc5s8+E6Z1bJcJ0zi0y4ztnT4MN1zmwS4siATS5c58wqGa5zZovLbtRj331PIkaIoIaEWJmMbIZYwDkjzcYIhefROW/GCpNv4p25yokNKuc+L33MzRdk8RtY/N2fEcr0x9gO7MVzwxMU/7hD81rTXFHxRRXvqfiCirc+xTMVX1zxmoovqHhPO76o4p3/o+JLKt7HlrOj4ospPsY091R8UcV7Kr6g4jN7QAUUr6n4oorXLOMLK95Q8YUVb6n4woqzB7Sk4k1Mc8O4yoKK94zWLqz4QMUXVpw9oGUVb6M3zh7QsoqzB7S04uwBLa04e0BLK84e0NKKc5xzWcUb+iqLKj7FFNccA1pY8Y5lfDHFJVZLq7Kk4j0VL6B4Q8UXVryl4osrzhGJZRWnr7K04gMVX1jxkYovrjj7nEsrPlDxhRUfqfjCis9UfEHFOc5ZQnH2gJZTfGAZL6I4fZVlFecsuCUVHzkLbmHFw7gbn8tfUnHO9CyjOL3DJRXvqfiCir/wqcd7GkO+D6j8QsoHbUW1Q7/N483vOUpUmMVztxP/36b+RfQPCpzF7wfuQ7w7KSxP4Y3XmAzKMsAq8GG9/gO2zYtReOvPuFixRME/uqL6C6svXml+m7goSg4lOIT1X/nm0OW1ZwtQVv9t/7dF1RdWfcfvDe+OaH06+JaipdXfjecfxD5weAtB2Mt3ESxFYUcpbMUUnDh5Yzf1X0r/oOlFLPth/5mT9z/zvULl9If/L70xcliaA1vg5TX/6D+dOcbdllb+hb/qbtzuRT3OtP0lh1Icsgb0gUpRCB7QkT/+Q7wfOZTi8NKF9zMd+3sfsW0oRuGV+5LaF9I+aE3ty2gf3kpJT6iU+l85vO0wpIhvPCzF4Z3/dhTTTgJlCGz7K1H7UtoHJb+LvujPjAwZ4IARYpIoQ2Inpob6l9J/N44S7HGEphgBvL+e+i+t/57P+xF1X1z3kOswQkPll1aeTwZY0p/xuLIUjuMsuW1/HuNBS1MIdeBwZXbK23gG56hYYMEaUYrCKUv/4rq/9MftO4wOsNwvrf9rf/SpP/aYZb+A9ic+75cagQhpIoHlCVxFHS5SXJqxuKUp3HxaW2ZssX9cmgJ7x6UYyHP08hwZCSxL4J2/zmuqvrjqh7EPvOV+8r8de53D2Nil3576a7FXsDyPME8oR+v4LKUdFm/8OXu+jSaHMhy2Yo+Z6pdRn75ReQbipbJNKE9iddyGLUNpGqLkIfUvpP+uv/pzqr+w+hyvLKc6o3QltceIvaz1RwolKAQVf4h5ovpLqo9Vzmh/SmjPpzZK6Y65EuHZpb14LjmU4BDyfuZ/2af+RfS/clxnyA6HrAFjcaUocJ0hGxy4zpAFClxnqJz27JOV057rDJVUn+sM2eDAdYZKE+A6QyW15zpDtjhwnaGyJBixLqs/1xkqTYDrDJXRfzfme999T+UXVh4lPsSCZKQs9I3PGRktRCI858p5Ektr/008iqsbLKv+uU9zH1P9BTVfW/N/j2si3lQdV9+O1xUv/pmTGednquRFPD7f5TaNWnNTkYURFj1ZmGDR+rzMZGGIRU0WJlj0bC+MsOj8H1nYYNHHtrsjCwMsxpibniyMsOjJwgSLmX09UyxqsjDComa9MMOiIQszLFqyMMOCfT0bLJqYm4bxKBMsesbMzbAYyMIMC/b1rLBoY++CfT0rLNjXs8OCfT07LNjXs8OCfT07LDjebYVFQz/KCIsp5qXmuJ4ZFh3rhQEWEjGnjbLBoicLUywasjDDoiULQyw4lmSFBf0oOywGsjDDYiQLQyzY77bDYiALMyxGsjDDYiYLEyw43m2LBft6FlgMrBfGWNCPssKCczhtsBg5h9MMizDKyvVAbLDg3GZrLOjT2mDRk4UJFi98vvD20aDIAZkUZxJUFz0P/TbPSHjPkT+zlJ67nfj/NskYIyPnhu8H7kM8g3ws8XnjzyEdq3Tw1ovwHpIDegcG+Lz1512s2LXgu12Rixku4kuHFdP33C8Ob5AhIVuEwrF837AlKmxprJLZ9n9b5GGGx47fG94H1Poz+WY4O1x243EHMQ4Q3lET9p6TT3E+O8pnK17jxB3Hlp9kypORY97r/rPI6Be+Yc4kGfRn5DokZIcQfQBLND76T2eOkUw7TF7E64ftXlTqTD0AErJHKKtD/8wen+CdHflUfIgpISF7hF7GKx3744/YBhnk88p9SSrmqAQKpGKNSnjXM700e1y+cngbcbgm30hsj9A7/+0o5opsrLHZ9ncgFXtUgsbfRQ/6Z0bUTBPCTAEyssZoR69DMtbI7MZRnD2OrRlk83Ukc0IyhsjseVWOSMQQkaBHGFsjEztM+GTN0yDDCKdVPsdxJme4JuNodviEenO4Mufprd9/4jjzyTYl1iJ7fE5ZYwwReemP23cYvWFdsUPmtVfj1B97zPpiisqJV+VS4zMhtWRjic1VVOgijQ4wummHz811HWTuIGMEdvkwQmCPjqzFIc97ko0VNu/8ea/JwxCPwxgH2HI/+d+OPYEw3nnpt6f+fPZyLJEK89Jy/JPPST8FSm98Sva8l0BC1ghtxagBuVjjQr/NMh3xrdn2WGa0OuLGFsguJ9H4kGTMkdn193lOLma4cHTaIg/GPW1SwZwOWU2VfGzxCfr+EHNLLja4YE1IWjNbVOR8ErFEBPNswpOE4RMJWSMUVDnzv+yTjDEyV47rqD0FQlkdRjft8eE6atYJcR0123y4jppFKux9WqTCddRscuE6atYJcR01u2y4jppNKlxH7akQ4jpqVhlx3MAqGa6jZpcN11GzRmY3KrLvvicTM0xQS0IMTUY/Q3zgnFFoc4zC0+2cY2OHyjfx3lw7xQqXc5+bPubnC9L4TTT+7s8J5fpjbA/24tnh+Yt/3KF6ramuqPnCmvfUfFHNW5/mmZoX0Lym5otq3tOeL6x55/+o+bKa97EN7aj5gpqPMdU9NV9Y856aL6r5zD5REc1rar6w5jXL+eKaN9R8cc1bar645uwTLat5E1PdMN6yqOY9Y7mLaz5Q88U1Z59oac3b6J2zT7S05uwTLa85+0TLa84+0fKas0+0vOYcD11a84Z+y8KaTzHNNceJFte8YzlfUHOJ5NK2LKt5T82LaN5Q88U1b6l5Ac05ZrG05vRbltd8oOaLaz5S8wKasx+6vOYDNV9c85GaL675TM0X1ZzjoWU0Z59oSc0HlvNCmtNvWVpzzp1bVvORc+cW1zyMzvF5/2U15xzRUprTV1xW856aL6r5C59+vD8y5PyA2i+mfVBXdDv02zwy/Z4jScVpPHc78f9tEihEIGhwFr8fuA/x/uRQgsMbrzIplKaAVejDGwMO2EovyOGtP+NixR4FX+mK+i+uv/io+Z3noilJlCERVp3lW01LqM+WoDSBbf+3Rd0X133H7w1vsGh9SvjOpOX1343nH8R+cXgTQth7Tg6LcdhRDlsxDSdO3itOAssRCKpexPIf9p85eUc133JUkgD6A9I/I4nlSbAtLqH6R//pzDEit7z2L+J1wnYvKnKmLTFJlCORVaA/VI5D8IaO/PEf4h1JohyJly68L+rY3/2IbURBDq/cl1S/mPpBbapfSv3wxkx6ReX0/8rhPYwhTXwXYzkS7/y3o5h6MijFYNtfieqXUz9o+V30TH9mxMgECYwkk0UpFjsxPSRQjsBuHEXY4xhOQQbyHvcTEihAYM/n/ojKF1A+5DuM4VD75bXnkwW2CDBSV5rDcZxZt+3PY5xoeQ6hHhyuzGV5G8/gjBYbNFgrynE4ZQ0ooPxLf9y+w+gBy/7yBF77o0/9sccs/0XUP/G5v9S4REgVGZRgcBWVuEhRa0bpludw8/lvmePFPnN5Duwxl6Mgz+bL82hksDSDdz7/r6l7Ad0PY794y/3kfzv2Sofxs0u/PfXXYi+hBJEwryjH8fhcpiUab/w5e761JolSJLZiL5r6l9KffpIFCuKzsm2wwGJ1ZIctRHkeouUhCRQjsOuv95z6L64/RzVL6s74XVn1MbYvqwqSQxkOQccfYq6o/7L6Yy01WqEy6vO5j3LKY15FeAJqL55LEmVIhNyf+V/2SaAQgSvHdYwskcgqMEpXjgPXMbJCgusY2eDAdYxKqs9eWkn1uY5RWf25jpEVElzHqDwDrmNUVn2uY2SNBNcxKs2C8ezSBLiOUXkGXMeoFIHdmPN99z21X1x7lPoQI5LRtNBfPmfUtBiL8NQs51Qsr/438SiumbC0/uc+1X1M9xdUfW3VX3l93tx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byfTXl+ewon614jRN3HFt+kilPRo55r/vPIqNf+LY5k2TQn5HrkJAdQvQBLNH46D+dOUYy7TB54cKbwMJ2Lyp1ph4ACdkjlNWhf2aPT/DOjnwqPsSUkJA9Qi/jlY798UdsgwzyeeW+JBVzVAIFUrFGJbzxmV6aPS5fObyPOFyT7yS2R+id/3YUc0U21ths+zuQij0qQePvogf9MyNqpglhpgAZWWO0o9chGWtkduMozh7H1gyy+TqSOSEZQ2T2vCpHJGKISNAjjK2RiR0mfLLmaZBhhNMqn+M4kzNck3E0O3xCvTlcmfP01u8/cZz5ZJsSa5E9PqesMYaIvPTH7TuM3rCu2CHz2qtx6o89Zn0xReXEq3Kp8ZmQWrKxxOYqKnSRRgcY3bTD5+a6DjJ3kDECu3wYIbBHR9bikOc9ycYKm3f+vNfkYYjHYYwDbLmf/G/HnkAY77z021N/Pns5lkiFeWk5/snnpJ8CpTc+JXveSyAha4S2YtSAXKxxod9mmY741mx7LDNaHXFjC2SXk2h8SDLmyOz6Oz0nFzNcODptkQfjnjapYE6HrKZKPrb4BH1/iLklFxtcsCYkrZktKnI+iVgignk24UnC8ImErBEKqpz5X/ZJxhiZK8d11J4CoawOo5v2+HAdNeuEuI6abT5cR80iFfY+LVLhOmo2uXAdNeuEuI6aXTZcR80mFa6j9lQIcR01q4w4bmCVDNdRs8uG66hZI7MbFdl335OJGSaoJSGGJqOfIT5wzii0OUbh6XbOsbFD5Zt4b66dYoXLuc9NH/PzBWn8Jhp/9+eEcv0xtgd78ezw/MU/7lC91lRX1HxhzXtqvqjmrU/zTM0LaF5T80U172nPF9a883/UfFnN+9iGdtR8Qc3HmOqemi+seU/NF9V8Zp+oiOY1NV9Y85rlfHHNG2q+uOYtNV9cc/aJltW8ialuGG9ZVPOesdzFNR+o+eKas0+0tOZt9M7ZJ1pac/aJltecfaLlNWefaHnN2SdaXnOOhy6teUO/ZWHNp5jmmuNEi2vesZwvqLlEcmlbltW8p+ZFNG+o+eKat9S8gOYcs1hac/oty2s+UPPFNR+peQHN2Q9dXvOBmi+u+UjNF9d8puaLas7x0DKas0+0pOYDy3khzem3LK05584tq/nIuXOLax5G5/i8/7Kac45oKc3pKy6reU/NF9X8hU8/3h8Zcn5A7RfTPqgruh36bR6Zfs+RpOI0nrud+P82CRQiEDQ4i98P3Id4f3IoweGNV5kUSlPAKvThjQEHbKUX5PDWn3GxYo+Cr3RF/RfXX3zU/M5z0ZQkypAIq87yraYl1GdLUJrAtv/bou6L677j94Y3WLQ+JXxn0vL678bzD2K/OLwJIezl+xCW47CjHLZiGk6cvFecBJYjEFS9iOU/7D9z8o5qvuWoJAH0B6R/RhLLk2BbXEL1j/7TmWNEbnntX/gr7cbtXlTkTFtikihHIqtAf6gch+ANHfnjP8Q7kkQ5Ei9deF/Usb/7EduIghxeuS+pfjH1g9pUv5T64Y2Z9IrK6f+Vw3sYQ5r4LsZyJN75b0cx9WRQisG2vxLVL6d+0PK76Jn+zIiRCRIYSSaLUix2YnpIoByB3TiKsMcxnIIM5D3uJyRQgMCez/0RlS+gfMh3GMOh9strzycLbBFgpK40h+M4s27bn8c40fIcQj04XJnL8jaewRktNmiwVpTjcMoaUED5l/64fYfRA5b95Qm89kef+mOPWf6LqH/ic3+pcYmQKjIoweAqKnGRotaM0i3P4ebz3zLHi33m8hzYYy5HQZ7Nl+fRyGBpBu98/l9T9wK6H8Z+8Zb7yf927JUO42eXfnvqr8VeQgkiYV5RjuPxuUxLNN74c/Z8a00SpUhsxV409S+lP/0kCxTEZ2XbYIHF6sgOW4jyPETLQxIoRmDXX/E59V9cf45qltSd8buy6mNsX1YVJIcyHIKOP8RcUf9l9cdaarRCZdTncx/llMe8ivAE1F48lyTKkAi5P/O/7JNAIQJXjusYWSKRVWCUrhwHrmNkhQTXMbLBgesYlVSfvbSS6nMdo7L6cx0jKyS4jlF5BlzHqKz6XMfIGgmuY1SaBePZpQlwHaPyDLiOUSkCuzHn++57ar+49ij1IUYko2mhv3zOqGkxFuGpWc6pWF79b+JRXDNhaf3Pfar7mO4vqPraqr92b2MkYVV1XH07Xld8+mdOZqufqZIX8fh8l9s0as1NRRZGWPRkYYJF6/Myk4UhFjVZmGDRs70wwqLzf2Rhg0Uf2+6OLAywGGNuerIwwqInCxMsZvb1TLGoycIIi5r1wgyLhizMsGjJwgwL9vVssGhibhrGo0yw6BkzN8NiIAszLNjXs8Kijb0L9vWssGBfzw4L9vXssGBfzw4L9vXssOB4txUWDf0oIyymmJea43pmWHSsFwZYSMScNsoGi54sTLFoyMIMi5YsDLHgWJIVFvSj7LAYyMIMi5EsDLFgv9sOi4EszLAYycIMi5ksTLDgeLctFuzrWWAxsF4YY0E/ygoLzuG0wWLkHE4zLMIoK9cDscGCc5utsaBPa4NFTxYmWLzw+cL7SoMiB2RSnElQXfQ89Ns8I+E9R/7MUnruduL/2yRjjIycG74fuA/xDPKxxOeNP4d0rNLBWzDCm0kO6B0Y4PPWn3exYteC73ZFLma4iC8dVk3fc784vFGGhGwRCsfyrcSWqLClsUpm2/9tkYcZHjt+b3gzUOvP5Lvi7HDZjccdxDhAeFNN2Mv31ZTns6N8tuI1TtxxbPlJpjwZOea97j+LjH7h2+ZMkkF/Rq5DQnYI0QewROOj/3TmGMm0w+SFv99u3O5Fpc7UAyAhe4SyOvTP7PEJ3tmRT8WHmBISskfoZbzSsT/+iG2QQT6v3JekYo5KoEAq1qiENz7TS7PH5SuH9xGHa/KdxPYIvfPfjmKuyMYam+14F1KxRiVo/F30oH9mRM00IcwUICNrjHb0OiRjjcxuHMXZ49iaQTZfRzInJGOIzJ5X5YhEDBEJeoSxNTKxw4RP1jwNMoxwWuVzHGdyhmsyjmaHT6g3hytznt76/SeOM59sU2ItssfnlDXGEJGX/rh9h9Eb1hU7ZF57NU79scesL6aonHhVLjU+E1JLNpbYXEWFLtLoAKObdvjcXNdB5g4yRmCXDyME9ujIWhzyvCfZWGHzzp/3mjwM8TiMcYAt95P/7dgTCOOdl3576s9nL8cSqTAvLcc/+Zz0U6D0xqdkz3sJJGSN0FaMGpCLNS702yzTEd+abY9lRqsjbmyB7HISjQ9JxhyZXX/f5+RihgtHpy3yYNzTJhXM6ZDVVMnHFp+g7w8xt+RigwvWhKQ1s0VFzicRS0QwzyY8SRg+kZA1QkGVM//LPskYI3PluI7aUyCU1WF00x4frqNmnRDXUbPNh+uoWaTC3qdFKlxHzSYXrqNmnRDXUbPLhuuo2aTCddSeCiGuo2aVEccNrJLhOmp22XAdNWtkdqMi++57MjHDBLUkxNBk9DPEB84ZhTbHKDzdzjk2dqh8E+/NtVOscDn3ueljfr4gjd9E4+/+nFCuP8b2YC+eHZ6/+Mcdqtea6oqaL6x5T80X1bz1aZ6peQHNa2q+qOY97fnCmnf+j5ovq3kf29COmi+o+RhT3VPzhTXvqfmims/sExXRvKbmC2tes5wvrnlDzRfXvKXmi2vOPtGymjcx1Q3jLYtq3jOWu7jmAzVfXHP2iZbWvI3eOftES2vOPtHymrNPtLzm7BMtrzn7RMtrzvHQpTVv6LcsrPkU01xznGhxzTuW8wU1l0gubcuymvfUvIjmDTVfXPOWmhfQnGMWS2tOv2V5zQdqvrjmIzUvoDn7octrPlDzxTUfqfnims/UfFHNOR5aRnP2iZbUfGA5L6Q5/ZalNefcuWU1Hzl3bnHNw+gcn/dfVnPOES2lOX3FZTXvqfmimr/w6cf7I0POD6j9YtoHdUW3Q7/NI9PvOZJUnMZztxP/3yaBQgSCBmfx+4H7EO9PDiU4vPEqk0JpCliFPrwx4ICt9IIc3vozLlbsUfCVrqj/4vqLj5rfeS6akkQZEmHVWb7VtIT6bAlKE9j2f1vUfXHdd/ze8AaL1qeE70xaXv/deP5B7BeHNyGEvXwfwnIcdpTDVkzDiZP3ipPAcgSCqhex/If9Z07eUc23HJUkgP6A9M9IYnkSbItLqP7RfzpzjMgtr/0Lf93duN2LipxpS0wS5UhkFegPleMQvKEjf/yHeEeSKEfipQvvizr2dz9iG1GQwyv3JdUvpn5Qm+qXUj+8MZNeUTn9v3J4D2NIE9/FWI7EO//tKKaeDEox2I5Xo/ql1A9afhc9058ZMTJBAiPJZFGKxU5MDwmUI7AbRxH2OIZTkIG8x/2EBAoQ2PO5P6LyBZQP+Q5jONR+ee35ZIEtAozUleZwHGfWbfvzGCdankOoB4crc1nexjM4o8UGDdaKchxOWQMKKP/SH7fvMHrAsr88gdf+6FN/7DHLfxH1T3zuLzUuEVJFBiUYXEUlLlLUmlG65TncfP5b5nixz1yeA3vM5SjIs/nyPBoZLM3gnc//a+peQPfD2C/ecj/534690mH87NJvT/212EsoQSTMK8pxPD6XaYnGG3/Onm+tSaIUia3Yi6b+pfSnn2SBgvisbBsssFgd2WELUZ6HaHlIAsUI7PrrP6f+i+vPUc2SujN+V1Z9jO3LqoLkUIZD0PGHmCvqv6z+WEuNVqiM+nzuo5zymFcRnoDai+eSRBkSIfdn/pd9EihE4MpxHSNLJLIKjNKV48B1jKyQ4DpGNjhwHaOS6rOXVlJ9rmNUVn+uY2SFBNcxKs+A6xiVVZ/rGFkjwXWMSrNgPLs0Aa5jVJ4B1zEqRWA35nzffU/tF9cepT7EiGQ0LfSXzxk1LcYiPDXLORXLq/9NPIprJiyt/7lPdR/T/QVVX1v1//C/n99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aek09xPjvKZyte48Qdx5afZMqTkWPe6/6zyOgXvm3OJBn0Z+Q6JGSHEH0ASzQ++k9njpFMO0xe+Pvtxu1eVOpMPQASskcoq0P/zB6f4J0d+VR8iCkhIXuEXsYrHfvjj9gGGeTzyn1JKuaoBAqkYo1KeOMzvTR7XL5yeB9xuCbfSWyP0Dv/7Sjmimyssdl2fyMVg1SCxt9FD/pnRtRME8JMATKyxmhHr0My1sjsxlGcPY6tGWTzdSRzQjKGyOz56x+RiCEiQY8wtkYmdpjwyZqnQYYRTqt8juNMznBNxtHs8An15nBlztNbv//EceaTbUqsRfb4nLLGGCLy0h+37zB6w7pih8xrr8apP/aY9cUUlRN//UuNz4TUko0lNldRoYs0OsDoph0+N9d1kLmDjBHY5cMIgT06shaHPO9JNlbYvPPnvSYPQzwOYxxgy/3kfzv2BMJ456Xfnvrz2cuxRCrMS8vxTz4n/RQovfEp2fNeAglZI7QVowbkYo0L/TbLdMS3ZttjmdHqiBtbILucRONDkjFHZtff9zm5mOHC0WmLPBj3tEkFczpkNVXyscUn6PtDzC252OCCNSFpzWxRkfNJxBIRzLMJTxKGTyRkjVBQ5cz/sk8yxshcOa6j9hQIZXUY3bTHh+uoWSfEddRs8+E6ahapsPdpkQrXUbPJheuoWSfEddTssuE6ajapcB21p0KI66hZZcRxA6tkuI6aXTZcR80amd2oyL77nkzMMEEtCTE0Gf0M8YFzRqHNMQpPt3OOjR0q38R7c+0UK1zOfW76mJ8vSOM30fi73xfK9cfYHuzFs8PzF/+4Q/VaU11R84U176n5opq3Ps0zNS+geU3NF9W8pz1fWPPO/1HzZTXvYxvaUfMFNR9jqntqvrDmPTVfVPOZfaIimtfUfGHNa5bzxTVvqPnimrfUfHHN2SdaVvMmprphvGVRzXvGchfXfKDmi2vOPtHSmrfRO2efaGnN2SdaXnP2iZbXnH2i5TVnn2h5zTkeurTmDf2WhTWfYpprjhMtrnnHcr6g5hLJpW1ZVvOemhfRvKHmi2veUvMCmnPMYmnN6bcsr/lAzRfXfKTmBTRnP3R5zQdqvrjmIzVfXPOZmi+qOcdDy2jOPtGSmg8s54U0p9+ytOacO7es5iPnzi2ueRid4/P+y2rOOaKlNKevuKzmPTVfVPMXPv14f2TI+QG1X0z7oK7odui3eWT6PUeSitN47nbi/9skUIhA0OAsfj9wH+L9yaEEhzdeZVIoTQGr0Ic3BhywlV6Qw1t/xsWKPQq+0hX1X1x/8VHzO89FU5IoQyKsOsu3mpZQny1BaQLb/m+Lui+u+47fG95g0fqU8J1Jy+u/G88/iP3i8CaEsPecHBbjsKMctmIaTpy8V5wEliMQVL2I5T/sP3Pyjmq+5agkAfQHpH9GEsuTYFtcQvWP/tOZY0Ruee1f+Ovuxu1eVORMW2KSKEciq0B/qByH4A0d+eM/xDuSRDkSL114X9Sxv/sR24iCHF65L6l+MfWD2lS/lPrhjZn0isrp/5XDexhDmvguxnIk3vlvRzH1ZFCKwba/EtUvp37Q8rvomf7MiJEJEhhJJotSLHZiekigHIHdOIqwxzGcggzkPe4nJFCAwJ6/zhGVL6B8yHcYw6H2y2vPJwtsEWCkrjSH4zizbtufxzjR8hxCPThcmcvyNp7BGS02aLBWlONwyhpQQPmX/rh9h9EDlv3lCbz2R5/6Y49Z/ouof+Kvc6lxiZAqMijB4CoqcZGi1ozSLc/h5vPfMseLfebyHNhjLkdBns2X59HIYGkG73z+X1P3Arofxn7xlvvJ/3bslQ7jZ5d+e+qvxV5CCSJhXlGO4/G5TEs03vhz9nxrTRKlSGzFXjT1L6U//SQLFMRnZdtggcXqyA5biPI8RMtDEihGYNdf/zn1X1x/jmqW1J3xu7LqY2xfVhUkhzIcgo4/xFxR/2X1x1pqtEJl1OdzH+WUx7yK8ATUXjyXJMqQCLk/87/sk0AhAleO6xhZIpFVYJSuHAeuY2SFBNcxssGB6xiVVJ+9tJLqcx2jsvpzHSMrJLiOUXkGXMeorPpcx8gaCa5jVJoF49mlCXAdo/IMuI5RKQK7Mef77ntqv7j2KPUhRiSjaaG/fM6oaTEW4alZzqlYXv1v4lFcM2Fp/c99qvuY7i+o+r2qv4j6nbsw4+p5nHW1eYvETQK40+pVnjmZuX6mql7E4/Mdb5OpNWcVuRjk0pOLOS6tz9dMLka51ORijkvP9sUgl87/kYs9Ln1s9ztyMcZljDnrycUgl55czHGZ2a80y6UmF4NcatYXk1wacjHJpSUXk1zYr7THpYk5axgfM8elZ5zfJJeBXExyYb/SIpc29l7Yr7TIhf1Km1zYr7TJhf1Km1zYr7TJheP7Frk09McMcplivmqOV5rk0rG+GOMiUX7aMXtcenIxy6UhF5NcWnIxyoXjYha50B+zyWUgF5NcRnIxyoX9fZtcBnIxyWUkF5NcZnIxx4Xj+3a5sF9pjcvA+mKYC/0xi1w4D9Yel5HzYE1yCSPJXB/GHhfOG7fMhX6yPS49uZjj8sLnEe/EDeockI8pPoGAaHvot3k2xnuOaD4JYs/dTvx/m5QMU5Jzw/cD9yGeQVZWWb3x55DUUyCFt7SEN+cc0LMwxuqtv9LFiu0LPuAVGZlkJP55WO1/z/3i8CYk0rJLKxzLN2tbJcSW6SlQ2vZ/W2Rjks2O3xvegNX6M/lORJuMduNxBzH+EN7OFPbyHU22WO0oq62YzhN3HL0GUrJFSY55r/vPIq9f+OZF85TQX5LrkJZNWvQfrJL56D+dOUZZbfJ54e+zG7d7UbUz9R5IyzatrBT9PNusgpd35K/1IV6PtGzTeunPPPDX+qdnxjbLNqtX7ksSMk0oECEhy4TCW9fp7dlm9JXD+8FDuvmOcNu03vlvRzGH5GSZ07a/AwnZJhT0/i565T8zwvdkaGFmBHlZ5rUT00xKtintxlGoPY4TGuf0daR0QkpGKe35Ox+RjlE6QZswTkg+NvnwyaanR4nR16fA6jjOgN325zGuZ5NVqE+HK/PA3sa0cDbY0yHG2mWb1SlrklE6L/1x+w6jT6xDNim99sqc+mOPWY/MEgp3vtQYUUg5OVnldBXVukgjGoy82mR1cw0PmWfJ2MTTYMXIhG1SsgaLPJ9LThY5vfPnvSYbo2wOY/xhy/3kfzv2NMI47qXfnvrz2YuySi3M28uxWT7v/tSIvfHX2/MeBmlZprUVoxVkZJkR/b+nQkr8dbZVT4XX6ughW6ynwUz0PiQl05R2/f2ek5FJRhyBt86GMVn7hDCfRVbyJSu7rM7ivX8gI5OMsO4oLZ5dQgeOz6ZZpoP5RuFpz/CJtCzTCgqd+V/2SckwpSvHdfieGq2sFCOvtllxHb6nRIvr8D0dVlyHzzoh9nStE+I6fPYZcR2+p0SL6/A9DU5ch88+Ia7D9xRpcR2+p8CLYx1PgRLX4XsanLgOn2VKu1Gdffc9+Zjkg9oTYnoyqhviEueMlpvmFVYs4Fwjm4S+iVfg+jkWGZ37nPUxb18YIvNX92ffPh74/Jy7f/PfrlKuw/faHzn5FF/HT4O/V/jUutmN+mnyf/Jr5X+XfaP/XT71/p98av0R8imoIJ8qvUrjt7V+mvTcZuW+nZ7bpBTU/tOgnyo9Llyt109DPCOUpEa3+N7rdojbOp7baErCNty9i5+uY56muH+K54d01LptdIv9vW6HuG31e6vX66IO4X/8Pup9Wt0Ouh31eDmv13R0ur/X+7YxXeH4Tre9/l7rFtdtVLlW9Wpu6IW71qo0zuuUaruScvDr9VOn1Lqok6gJik26W60pr1XhSVNaJYVDToNOk27xe6vbQfeP+r3Rba/7W93iuE5/x7bW/bOmelJt65WyNKZPvX7q9FOjKZOSNqsWteo26ZUq3dapBlR6TpvKaZ00rbX0Ven8VtNWp7tWeo82/dakWoBaFQhC3UFzixrVpjzNKS29atJqzkG1i0fJFkdUUbVR6UxKZ1K1J1V/SvQa/Y5tpftrvQ7OH3Rb63bU4yr9jnqK8ot0QSnwaTR/nZ4j9mlwsEUgMae81qoDciFscFyb6DTJeuXyPK6UhtbBPuG+qC3NilUaV0pNp7QmTXMo02JXOrVPnea7U/vUaQnptWZ1WnvELkxae0bl0mipn7QmT1rvJy0zk9qHSevlpDpOyn1SOzRpOZq0tk7KYdJaOGn5mlSjScvJpDQmLVmT8po075PW1klrzqSletLaXCcF6lQrRC9cJdsn3D/bp1HvCPs0JOJjynWlaoJnq2WhUcVGtS+N2p9RS/CoJXxUnqNec9QyNGqJHrUmjloDRq0hYW+rWxzX6e/Y1rof9mnWM1By6/RbrXep9Ti0ojiuThRr1W3SK1W6zfapS9eBdUBb0Sa9unR+tk9onSstAdl2gUmjlITgrFcYNLewT12qyXNKS6+8a5ftE1KA63R6hOSo1/2DHjeodoOqPyR6jX7HttL9tV4H5w+6rXU76nGVfkc9RflFupBO5KpNZXZKuRlSGZ0TPVjnLpV7WEdpa+FnoR1pk+Vr9e5in2CVwLhZuW+XWuMhaT2mUoPyU6X7VqpDo2WiUTvSqB1B+4561GiaGrULvV69V50brcm9lqReOfZaLnqtfb3q2Gs56TU3verap+tM6T69bifdhv2DWoxB89ar3oPao15V77VW9lqvBrV3g9qrPtWTJtUT+JKiV6NHoQ708bwh+VitlvNe7YQwhcc8JjUaVTP7T6hLteZUSnKTct4nhWv9LjnqVLle79urMl06r9PtqPt73eK4QX/HttUtyjOYrJalNn2qk13JpRQWptYzJ73mpGkeUl7QLufSiXa5VqskNWvS0jbpeb2DfYJ9AcEp/ZZ90j71E5CSQa/UpxrVpZxkOwxNcsvfpvIDTXCE5KjV/Z3mtNVUtUl9/N7pfmwb3d/qd5w/6Rb7Zz0O90O9hcK1pg9Ko/2Al9OlktmpCnXyvuvkT9cr/nKbNG2T8m2qH20qxW1qG5rUbjXJQjYr9+1T3RoS7SmVLvQrq9QOVZof9Adh1xpND/ywZuW4Ubch17PWnjn1XMTuzFqSZ633s9qHWdM/q52Z9Xqzcp/VDs2a/nnlPr1uJ93K/knPmzQdY9qP+1Z6/KDbUX9vdYvrZvuULQbs+axXQ3+hW7l/tk+zphj2KXvROdeNqpn9J/htjaaoU/s06/XapHCt3yVHjV6z1Ry0qkyTzut0O+r+Xrc4btDfsW11m+1Tr3dGCUJ5rZPnXyd71iZ7LntFi1a3lV4Jecn2CX5+l6wD+mdtajVRGuDr5J52o3VjXrFd2SeFFapW8jJpLrN9gk84p7QgvUOqs10qR7VeZ9AjJEe17m/0OChQJ/Xxe6f7sW10f6vfcf6kW+yf9Tjcb1BlkPta0welYZ/apDW2OU8oy9AN1us6pn/Uba9blOZJvze6rXSLcoPz5HogDDsEa4WWaUjbTre9bnFcpd9H3YoHIukYkqUWT2RIv4/6Xe4zqEUa1CINqtyg1x20Tg6ajkHTMWi+BrUQQ/JMxnTepFvZP6V0DHp8o1vcf9bjcN3st6J9QBmXfMLDHfT8QXXAfcABXm+v+yfVr1bdK93Wet1edZPvTdJz1O+DblvdX+u20/29fq902+p+XA/HNfp7o99n3cKvQT4rTe+o2163KJezpn9S3WbdDnp9pH9WPXB8r1uUn1q3k943RzjkuEb1w36Ud5RflL9O74d0zrqF7ihHaCFGPQ9blAtJR6X7a81PrTrWqmuduFT6vdLzJv0Ozxznd/p91u+9bnE86l2r6UC6Bt22ml/oDwU7rWNSZnNPLPuOsDTZVx8S7aw32r7WIebQJPWaZI2blfvmuANSkLnWKWZXpXMrLf3NSsvb6bbXrViPSf2XUf0b0KxSD6JSMtkPr1KZrFItrpJdrFyOLqLsVEnVKtnJKuWqSja5Sla5Su1xlSx3lcpc5fqVq0zpU47e55QO6dwmfcrpm9MZ+W65FcWnOqVgTvfN/u+wokHuo+UUgHb2jseU5s5hfCB7RvB5m3RXsTltimNVrlqhM6Z9Q/rUpl/r9KlLv/ZpX5U+tenXfI98RpOOa9K+OX1COc3lD30t2C35BD+jT5ogLbWWMiEwp09Dum/OL9qF1VgWvLI8NiT2u1nROo9S5FGNOmmR25/ci85k55WrdCkl6ImgJNepfNQrJSq3cF3a16yUo1wuxfeZ1HcSNWdtqWY3q88zrxCvdE+lZ076HV46rtDp91m/97rF8bASbUpLTl9mCpWzLzUl1XLfG1ohui/2Mo/3oV3oE6t2hRpqUJUs4phoIdbVrNw3j7MMKX3ZSubSnMsB+ni15rpW21in/egDY1Rq1K2MJQgXjBugH9rrcb2W1V7P77Xc9Uq6d4hi1NqXR4SmTr+3eh/ZjxhUpX3yRs9r9L5N2j/p+Z0eX+kW9x91i3xA4TZ9yjV9TEflVqjT89H2IepQrzDNfT/kBmrm2BT68hiVmbWuSsnv3JgU7vV7p9tat7P+3uj3VreT7pfjBj1uTMdV+nul33E/tOFzOgJWK4/E5dhCjofOqaTVSe1Rt51eCXlBDcgxrjzGlq1aLm3IC+pQne6KklCl32D3mpU2F7mcNffwaJpkYWs3p7Qg3od6l8eg57RFDiVHve4fNKe9qj0k9fH7pL9jO+h+jEl3+r3R76N+b3WL41EfkXukq9Mt8tKkPOTo3ZDKMco4xn5F2+z15nGg3IOc06ccQ4RVGldKA/y5fF/4So3LsbMppTS3xbBtlUOktlf71Kud6dU+9Q59YIxKjbqVERVJz+QQ05r1u9TkKVl9tB6Vti+iy6Q6Tsp90jI+aTmaVLVJa+GktXBKsaVKW5dKW58q7Z/0/E6Pr3SL+4+6RT5glXJ9yx4LUjm6bJ+Qr2yfcEdQy5GNMakCNbMHli1Vo/doVUlRsE8K9/q9022t21l/b/R7q9tJ98txGI3t03GV/l7pd9wv26dOj8heVZM+5XF65BeeYK2twqR2aNJyPmntmlZ6KrCGuU9ep7a/VTverOQl26DsL9d6j/wbakH21+ekbqNXgn3KUZw8Htan0pbtE8pJr1uUJ8lRq/s7zSmO75L6+H3S37EddD/GpDv93uj3Ub+3usXxqI+tpgPp6nSb7X4eYc69iNwfhw80rdgseEioFa3LEch2hQ7KfpXqzOiy15R9Kty3S6oPKX0gUaX2rUpeWJV+xbgGrB5YoUahvwgPQq4FrwH9YIwzYiwA8WP0l1otYZgT02pJgH1GH7vVWoM5GRjZR18MerVamzGGjfYYMVmM/8N6IMKNeoF+R7tileAP1yv9BNwlxxl7vS6UbLVE5RG9NvWMupTbPBMtWyW09eiZd1onMbumSQrju9yn1pw0mgPM0mlUgUav1+hxtR7X6HG1KtKkba/bHCuZ9Mo5ptylT7BUea5G7i9Vemav14RabcpLHjOC99Im64BecOvqVAqREtSheoXSrPfAb8hB43IcA+Wj09zndiHfd0pp6VXr7AFD/U63bcqhXLfS/bXmtFK1q6Q+fkf8BdtO9yMqALqVfu/1e61b3G9SZZBSpA9KIy9NykOOguVxhjw2DY8Ls/DEZqF09y57TTnmmeewwSqNK6UBPlW+L9qCxuW5dbmFypEO+G2Vw1gd7EurNahV/wmRc9jrNh0vczGk9owO/UNJ1ag1edR6PzrMbun0PLEzY7qOcB81B6Peb9TaOmotHLUWjlq+RuUyajkZ1W6NWrJG5TWqlqPW1lFrzqilenR5vLpLuuYYEeYXNS7bp0HPz/Zp0JSBGiIi6JONLs88y/ZpTp8qvUetSkrOqqQwvktMGLN0Ks0BZulUqkCl6UFsd9bjpEQODrNoqrTtdZtj6Y1eOc+zy5/ynCbkF1a31tIwaikatXSNWrvGZHfQvtQux9Zrh94vbDD63GOyXJijKJRQMrJ9Qi3oVwgOqm6lVwKBHA+b06c+XTPbJ5STVs+f9AiJoEsdHFSzQb2RwU1Jffw+6H5sO92PkSHQrfR7r99r3eJ+kyrTajpaTR+UznY/98KuVWXR4lp9rmuHGdLSF0XLc73C6XqlRZBvGPO/Ti0jFM32HpYKSqNFQMlBWwc7dq265bnl6MHkuJ9sc/Qa7c918r7kf/hZ1w7jrfI/RtDhs12ntifbyWuHsViMyF67HFlHT0Wufe2k533tchwEcbQ8U/XawR+Qfj1mcl0nm4C5FNcr1lmYiyIYKbx2mFcHS3jthlSKrh3GMjHidu0wv67WknPt8vwDzFWEj4Q6hVp+vWLZrx3mAWC25bXLM2/hZ8HPhT+La2KO67WD/3Xt8jxxePnwoa4d5nzCYl6vlBwZ30bfBn0NzKa9dpi/jllV1w4ztjD36TpFYBD1ul6JuVw7zM3HPK1rhzlcOXp9naIFUo+EZhuf8rj5ZEfY8zE+YXzXUx+1g8crI5ObTua+SGnfcNL7l3kCoeRuOunZIIY3aDxCZixtOuktSJuLVkN6+jLbcYzH9NqLyxERGW+eYwpgwSRiKnGWTSdxUon6YxZvq610FY8QX7TS/myendRoP7z3x8i83Uq9tT7mEWNnXcyBjFjLODPGqqSNFku6qW1xoz3bOV4jKNOpjyKzsiXK1GiqtvwxlUNUf9SjNp3MfJw0jau2ZtZ2XYjMDrPqpTXu434ZBR5SnxezqBAF3dRWR+Jc4Rp4dmRS67jpMPNN/KZADN5ppR6FpEDGCzGT8jqmTI4ST7hLx8OnkzGlTTepjy5jFJKX1fEBmX0l7Cf1R7NPKqNQ0idu4j1lLg0sh8ydCvne1BRK5AD+II6V8bRN12hepfeFGK5YC6nRkq9WW2pEjMTPa2MJaRzmpmHOrZBotNctqRRfA+MJ4sFIfFlqkkT8xYuCJZu1pMrMMdFOoqNSH2XGssTcNtWDEk8YM7s2nMy6bzUdbToTMdCgQqXtuqSgdojXyuxkod7rfTGi1SkbmRUsR0hvEZ6b2AFJk4yXbDqJG2Lu5oaTOLXUgD6WokE9Q8zllFT06klUUYdGy460VOJTNdpXlPzIsyC91sdZLVOld5CoY+Py0x4Sz5DcScnC3A95AmfSs1q1LY1+w+yMWS2dlNBNl+MVEjGTOF8VFZA7YqxH5sDN0RZ2Wntz7FBKukRD2lg/xVYMDjHSKdWITSdz9qVm4RkPieyKtRQ7IbP20DMRGypRAZm3t6n1D1HWQVsDmXU3azpnvVubauagqZ8jIYlvIBIis+hklKCNV5DyLzP9ME4kT5AMqpNY7jqRnlVlpALzIuQ46c22yWpI7KFLNgzP+MhTKY1aMnga4kfLTLkuliCZPYc5tlIKhfOg9U3qImZtSCmetcS32rpMyQZfu9vWWM6flFjrMONdrtGrNZY+ch6VbdWqVaqTjLBMyRNotbWV2aqbDnPXZW546/AcjjyVM2mNGzR3Ui+vtSVsk03adDJ3Sp6NQB9N2iSpz00kgnkvmHNcOTy/iB7SppbqyqFXJCPbndoiGXuZtdXEPK02tbCD1s1GqY0xtY3Wf5kTsan1UGarY0yu07rcrxAWC5xjL5OWa2kboCOeIJBrjtrKSH0cNL1DajtaVWrTybwmKdM5atVr69ConZFYdZ5pJE8btTGVk95pdBjvh42R8YJNtWsy7pOf5Ji1ZrV6jMRd85M8k+ZB2NbauuU5SBtOIi1tTKPUU5RU9CcmbT/EJo9qJyuHOVUbrk75aNRajtriIb6y4WQuMErPqD6KtLjSv9hw4gtKCZ3UPg1agsQz3nAyN1BGjTc1t62y6x1Ggm4fUWnrMjlEQyRSWyu9UWvwrKoIb2ldxEqN6gFizuWs5axX77ZJ3mWeBS/2SeZINPFeMhqPJ4t7bd8mvYvUnkFbKcyEG7SUderBVLrN45nyHGSbLG4+Cv26Xi3zoBZLShcig1J7q+S7jKoBPPxO7VSVSuy4Ql5iXKP6wk2ynJNeeUPLcKWt06bWAukhDElxlHCxZxJhECvU6TEyF0EiQJ2WZ5lri7nKo1oD8d2rmOZalcDTj53WoEm9mVl9jhzrrLTcyW+ttvPi70gplGeQZJ7kppKQGiOeAGpUpT6M9CereKVJW1n8DS4/VTcqA7H+my7HVaWsdOmsTfXaMN43qteHut4qCbF5mGVbaa4GJSrj+PkZpUm167WObmo5z/MMer0L+kWYPb6h5ULiYp22fINDbFH85z55J63WrfxMi1jQUdv/TYe43qzlUSLV4ie0rk7qyPNis+rbaxkRFQf1gWaHkW2ZTyLebq3Wu1X7glhxrcTkCptaCmTuFKL0o5Z8eapW/PrOYeastOSTenzSa+q0Rc5PLjSakl59ukbPz6VMvMRGLafEWCf1JhChqNWioj+U263G4ak7Kat1qsOT2kXE/uBndGqhZaQHURQZkazVZxo0pzIijnG+0eGpH7F0rVootAAgMWirPTiMVmIW8YZau1b9LsxhqrVVmrWfI/0eyanMm5IcIKaJWVpj8sQn7Z1UDk/N/h4xhOxXyZMfs8Ooa6N+QK12alLtRocxuMfjAegrN2ptR61Pcv/c95cew6yWqFH7LXaojWq02qaLnRFPAr3A7CfAOsh8jk3Xa10VTdfrW6HNGVKZblW1/Gxsoz4IogzShmLe64ba7MphroPcRWpFo9apSdZsUosza4mRVGUrLk90SN3Y1LKFWfkbyV5UWlOlLk6qM+K5s3oyvXokiEdhZQQwbjTVjV5doljDSo4kvgrr0DpEJzCvt1ULISqK1ylPjcF3XcfCIRaOHiPs/KDtMmazSHuCXnCt18H4D54DntTSiQWTmf94/kNKjNjrUX1c+EGtWrBarSx4DupD5KeNu9RGwqqL34rnN2WsdtJWqlatpcVD/3lSmy2Rpi6WPTzNIHVO6nuvfhbilZif9Fg8adQWU9pzxCVn9bPQN5HRx059nNrlWBDWSYFXKfMWNvWq0rrmOW6DWqRWy/Sgtqt1iOQ1eo1aa/2gpQIzlh6OW0nb22m+W+2rdQ6j0dWK51Y7RHs7LedV8saEjFgNudegqZAjpK5K7148U9jBPA9MfHOpQ5VqjOuLfZeaPal9kJhx7ntV6fhGlepTOzU7jEd3WvPkuEFz0cTjpFWSyC3GuHvVFF4rfCzQy3NaK62hlZasKXkr93lD9/tQct6gdXnUVq7XtgSzqeF/rqYN5Qotj1iJ2SGKdxdHzMKRtmJys95r+OR4xMtnbX1F9exN3WQkJUmu2uh+rKIgUbBNh0hSrxZycIhF3PSpZRwCFkJS2KmdmbXejWrnpO3b1FrYaxs1aFm+VuvZaHu5+oceEpSq1Ieq1KZJHwtzC+SeldYWmTGO8QvM5lnvbyO2peLnikUQi9xrOz+vjCB8+tckKzdpmzarpZQezZZSu+vcQb0eKeESAZQ5WEL2oftuaM9kdjnKIVamUc1Xz5Yee6vtongfrXpoaEfh6TQOT/ghh31qUzYd1vF4vE/ca/uIlm3W1nlymDfy+X8bTiIAEmGTuGSTPLVVKnelefWvVcvSJ48lq1G5/o57t1qPxP/vtX2VvuBdx9/8u10C7s/J3X+P373XNlW85Vm9ihwLfKgkrqYLs8jv+xPb3mscRfoG0qPCcxiIrkjfFfNosTpLrXWm0folZRjzqMUiSQuX1RDPvlMPE6NoaEvFYvTqGW+qjzUka4D2ZNJ2XsrspL6/PKvX6n0mtUZ9SmXnMNaCVZ6yly/WFzFgRGfQ58AM6lH9FESXZv2lSn7yzRLSq8fTp/4Gnk+VSGStPnudarf0wDAetan3EN8A43lzarU3HVZV2NB+3qTe5GZq11ef34PXLGtQbaqOs8Nsx1p7poh9SU9A/Ij6k/xtqI9WO4xczFpWqlSS5Rli+EV5/YzWYQyjV28G9rbRa8u4GeJNm1rzNxzms0vLh1UkNpzMu560VIxaM8XDlPLbaCsmXgZG+jA/b1ixILJf+sCDtkiybtLNCNqoaam1FR91z+r17xpJxDMvEgFptA8vucd6FyhBs0P8FmP94U+imrXDfAK51qA9ijzPYta7YpxO0tpqqyD9rUq1Fx9PvGw8kzw7RL1HtVvo1eB5oPVGoKTO3hyBqpO/DpawiphPjliztDbibXRqaaUP3Gp9qR1GOFctHEZj4clIDL5RjySP2E5qkW+O8oj1GpLmEsfBvAGM8klrOSkFqVky9jVpKzRrjyD3XvBMRKUWRuiO2vZL7Fa0bbUkjeoNSy2fXX6GHDlo1fuetO4hviDRS4xbyEhzfvpP7i59aoz9iZ3HCgSDy2NMrVqu/Gww2qdBbTHGgjBT/lr9WEmflKBe7Q1mAg3q03eqK0bUMftZ4iaNtvHw1SWmiCfvJGIjPSPx/2XUe7U2SOskUdhWPULMUbjZcsJiDWqDMXNH/H/MARErXWtvpE72RNrGKtm1UXuQmL0v5b1S+12rx445jrVet3eIWkxqJeExT+rbSn9oU1tGSTHWmJR0tarHoCVE+hJtqh2r8yCqG79U6j3LKEuT2hE8WYXWEhEOjIJUes1Oj7k9CoK8ycinjGJJ7ArPlEpMstY6IWu+9Q4zYaSlk3RILwJ3lh7F7NC7khYFPoRY61Z7WNIWiO2btU/U67Xr1PPBuK60OY1DPxjHdFrPJK7WqYXvtMQj9or5j10qQ5vqO00uP3H86+ZCdOpziUXrU+rQSmHNDolhbjr0i8VjnbWMtW7T4QmlXts7sbCb2hZILA99EIn1Sw1r9KqIQY+pDGFWf6c9lbxaSuUwg0MiWVUqWfl5AunVwC8U/wKzWCV+mCNDndoXrHvX6dXb9Ls884i1BXK/QcY+ENPDM6DiaXd6fazWlNsUiZrlGFG18oennWVmTqethbSOtcNaWpPDmhdSGuRuYhMmh7WNW4cxTplhInayT+nHXITa5fkpnVpsaYEwYjBryyAxeYwRSTRFRr/GFY8Zlki8r1nbPUQSEUHDbBx42eKPSp8QZb9zWNWzc4hpTGrjQUiY1trmYJy6Ui8Sz0vVaoVmzavE33uHta0mpd6pn3DTD9hINhzcZm2HxWpivFzKKCKek4P3jzmqQ/ISpQVEZENqIJ7EEh+p0dYO/SewxwymyiH6WWlty0/pNqm9aLSWSF829yDGVK+lBKF9wPyANqUTkTCMYs7aask8lc5hdij61UJYWoVGey2NwyyQIdWBPBYnHoKMYmHV4Q2H8bkmlgqZKyitZLYkUjalBzBqKUfUfkgpx7MYmK+FWWeNwxq5iI2PLke7kDOh2qSS8Fj/e0NbU5lPMmiJET8Ma0VI5B9WrNHWc9QamK3FqNYCs1YwslA5rIaKMSnM0kKbuP5cNYzryupK6FW3WkY7hxXPZc5ro3lqlBfmnz82V018Z+nFNZpGaefEH5LedeUw03DUEoQ5StcO88Tz8yuj1uncHjdaw/BsvaR8Sv77sFI+pP+ZRzHyHEyJmEvvSEon5jng6UqM0YvnNGr7h5FBrI3aq19WOUSbMdqGNcLm5BmjjyP+9ezWmZWGWdJN8oZkDVhED0WzzeSlDA4RzWzVpLeB3iXmM7UOTwr36gk1KZ/oJWNervhEsH0yFjOpj5mfEpGYQeMqTWevXLE+CCK6s9b2Tv2+1SeBK7VyGDms9b6z1hhpNTG3L/vxncPIeav1GW22+JFCCiubYKZLo+UYtgzPusE3lPyJ79NpXcZK44/NR5OVXVqtBVIy4engSYg6pap1eS7P6PD8icTApAcu7bxY587lVRar1IepUu2ftDXFGofoC2NujvSU8CTmhsP83DGVEGn5OodVFDYcnpCa1fPMs9awGuHSs9Iwf6XXcoDoEmJl0qLPWpdlJoaMIdQur/Yyq28qfkWneZd8iYcjo0Kza1Y8g0l9ofz8HmYwd1oCK21f0F9r1EtGmy82K48OZ39n9U5SAmuH52NlRF4I9NpPwupfGPUWDxHjA1J3J20bMVL++LMYYkUnrY2YByCRdqmLDz2ZUKsFkD6FWEHxAfBc7ePPLoh3P2qrJpHuShXA839SZqT129QzMTaFeGmrRAe19rgubBpKN7RA9EF4YWW5DW2nKvU0MCt/SpYNlrhX7hK9vDkquOGwptnoMBNBat7ksIZrttxD6gNVqkDnMANLeqt9Yis9sUFtKp61fIp/q2MSjZabTfUZYXnFY5y0ncOqmfkPq4E1qlyXON81WvHwH0YKe/XuNhMtRKLX+dtwj0e0Jfe3Y9Q3r/Jbxi9Xr/N43FTyPjrMdMJMGUQTa4cxZInxY7wA9rBXfxOxIJTS5kbqNpw8iSGe4aAtEEbAW7XYs/oU6JGhxXk8gvq4Dg9Hij7v73Ou9ltGk2+WiMeiJb3DKESl/h1iPJ3DHPNK65JEmOQ7nggYteyvkpS5nJV6pWK/8TQjejQSQd90GEXsHHqfKOtSBqUN3lRfWjwo6bWJT9E5zLCR+RKYnwWb+ng05bEysNoT3lB7MiVfFPE+6dHebzFu96hX/9bp60qNe7wnm/9+y6yCVQXW6Un16t2LvcCMMymBQgOzSDFjdHRY4R3z1qXN3HSIXQ0OcWpYAswkmV1+kmRweOIao5itw2xJKX9Y70lmbOH5llX2KEnSi630rPZGP2fDjeo5YSyocXiCB/0YzDN6qDf00N/neGmj/vXay5g076BwP8/173L7zHV8qvD3uDd087rrz2DBU8Di+2FmlYzK5qf3am0F8tgynijCc2kbrlGvT3htahmFz5TX3Rq01W219MKPbT/RBxFGrPoHzy3HLlutTxi5xFgCxgla7X1I72/TYUX+WtsIzNKd1P40Dis1bTg8M9FqfqS3M6g+ed2zRnuBmw5zbPNz4uhjixUV+4JZupi/vM4xubzIHNxeW+pGvfn20V8xU6lR+4UnZYQYVodb5xi0OYN6h5W2J1hz5uFfseaP9GPE+mxqHcCKJ48fIdYYbX2t6t9fR1dtuJQ3jEZuOqxFMjk8Hb3psNbdoG1QpzUDkbONB66zceeVNu651oZ7fMbrQ8/1flrzb9YZzFee1KLIuHheXXJKWkv9kHk1t/0geQYh1wU8LyMea37q6tMaPKjll2NmPX50WEmo1hrTp77xrLZFfG6sITVoSyitNerdp/Ze7jqp9UKUF+ucSI9aajvWZYCPNDrMhZdREvHQZ/WT8VY46ZvKOEynUaLp3r33txmPzS1f7xjEgKvUe8UzyXlF4VmtKyLr8NfwrGajLa6UOUTg0I/Odufh+2yscaeNR++14R6fDQ/KWJFS4q0SC8BM39VVWfPKADKCI1EqrI8r9rJTC9+q3cU7uOBHVuoP4OkXKYESaZa5ebNrXXejRG6k6ID47Vhj+b79UgZlzB4zCeQTRrjbtY749A8rUOO9fnherde2S6wRZrFhVQ5p63ot0ZJnaWkRscJM91FrGdrL26nYUL+oVx8Oqxh2SW3EA/FUQV7jB7OdOi1p0lYPLs99RJQaTw2KRzE7xCFa9Rgxy29IPg5Wid1wWCVLPDmx0XjOB28nkLdAyHharx6IlMzcJm04icm26o10ag16hzla0hJg5letbQVme+DdNY16TvJUtUSBJc6JFeo31HfCjExpU6SHi3F1mWEjcUSJQGxqGcDsAkSRJQ/CEU+gzskjGLSNkFZKnsyc1VuuU9v28DN2G9qijQ6j9cK119KL+ZDSvx615udVusQK1lpWK60FWEUG8xoww2B41BfYSGVKrIeMQGH+dZ+88E2HdZzl995h9miX2jKsIoyn8mWFgk21YqPD+v6rf1AVz3ahjfq05mCtiNGtznNrtS5ifBDv3pJSO6n1XY1x3q8Eanqb6LRqIfCmBYyRycgrZn3VDs/8iv3If5PW0vxU16A9lcblsYVebcLtfNd6b4nRNOoVYz1paR9Gl+cNIWaRVweTOWt4Rh5PVyLOe/e1N9a4+saD18dTJA89lXeX/lhfstU6I2MwjfYnMTOzdeiVbTqsxykjJpPWiNFh3qL0h27qKvNiZMxZbCDWaMFMZonNYF0GjBtfq90QC3bzr3ZYOfnudLR3pAPjSZXDHJDrFYuC9lquhyfCET2Tuaijy2O8g8Nboepk9cWf3NQjZWxfWnN4vKP2tWSeVOWwzuCoNQH2Z1AlsN746DDGLqPQYg3EK/u0HN+s73c/Pf94RPzuP5lngzGUPFKNldM/vf/d65Gt/sms0bwusFjvST2NWfOKOeMytid2oNJ2AeO8lcNqBYO2ho2WJsxImd2nsZv7/aKHvKYN9/jz2+IxPt7urtOm3t9ejsnKPH6nddrvh1vnUevs421vpXQxD75yGDOWNlcIy+yBTls8zP/6tCTJjDaxQI3DPMJJPbL8LHyjVh4RyE7b/E97bRsO88nwBDueN8Y6nfDQJK35yYBGfcbbUWdRScbvMfKT57e3LkclMLqT39CIZ+1bh3mOlcuzuFdbKfAT/VvtWWOdTzyXgBFmeHaz2h6sdbp6xV7/Bo1nIFV5TZ8mnSmjDHiH6qyek8SzRtUTsXXMa0L7jCcHJHerduuutRbP3YXfc+H3nKc1Fq9/9T+xQe1ae//If3/sHfPVH7/P8nm3/O/z1Pj12q1bDpdKz+9Ten5rah/as/5vd+1/Op/+2Bz817n6Q98eK8HlKZcsXb9Ogd+q2x+hu12WFtX69bWr/KeS6VmnfXzMzqzbxn5u7f2c9ns96p/Xjn9u6n99rn6b5frtvs36ftbvUfd+f66/lumv99g+r658Xu36PevuEnR/jb6/tr5+rk3/dbbt80rOr7cfv9+9fuu/dcvFH1+q+Ymf+OmP+fRrW9Rf3y6Uz/Pn6PB0Pq1nd/8rafRHl93f5gfZYP5f5dN/xbL7eb7s5/mr5XP4uam3VmL+u1vW+718lksbrJcpl5/fv/utV1+/t/x5Zffz9titnevXsd9H0c+jaKdG/jEl9vcrV8tbm8+x6et4KL+W/WO17Y9V7I8oseuq8ZjN+2MsrU3drNZy67p9Tp39o/LyW0mWrIPL293/vp/+CB1+7/KyVKrW9RU+p539o8r5H+OJ/f6Wb+nr/NayE+b8fjrH96/uo/8U9n4bf9lzW+7M//3o/4Xff91zC/zjH//4xz/+8Y9//OMf//74v+DjP+zPhyNexSP+lp7/C3tl37/HXsG+P/bYnfrvx/68E3068Nj9v3isrPckvQnsC72IPX9G+PS93/OveK/n/kr7/gqX/hoX7k+u1rUGKvcXn9a7f+3v/RVPVT/0a33Pr50+V373r/ODqZr12ef7fq0fPLd58Nf2wV/vT7M8Wd/ck1+sYHzfuQ/lt1W+9/96f45a5XD/r/fnSJ4Nvv/X5gEKsoJSd8+vovJ952IV84d+bR78tX3k17sZya/3pxmr4N//6/jIr8ODv44P/jrf++v9ZQO/3pdfrCtx969Ybf/uXx8qsfj17vu+cP/p3rvX/lvYG2zjXUe99se999bv2B367XO3E//fXuPYF37/Wfx+4D743x8/4437+pHj30Zb/HiqcdxX7p/+mPDppd/z8LE7fu+V37Y+1d8+eORubB8OohLnMV504f+/64yv/eeLeNx+bDve+zbnF98arHfs1/4+vyQlHz7n7hTj9xe+FduN29DyHcRW7MRrs945lzE6FtR+OJc4I+TxyN/hg//3mDI456VP04E//p/+zLvZ3z7jlftyreNCGVvnuDf++3qKfOXT+UPM255P9b/WOued/3YUlV/n6G3vg6x3XPBfvov6/bxmGcjnoHasc9aOT/vJmsfuxvK790g5x9Ffx2NPHjl2z5ejo0eOCSX0o///4aNuWqXHy0c48nClNr6Nnt/jdfL2edt++3BZeemP2E9l6+FjX/ucnvrjjx9JRbCU5zGte9Fm3m0DcfQ7n6/XjxxxGHO15X7yvwVfOPC+9NtTn+6H0yx1IDNY13rePu+Nv++ep7fOOVtRp3WOlLZIWoF1jpfW6nPzsOtL/fMHj3y8nMgRj5dcHIcSKK3m42cE+/CD/3voSLSWj6Uh2A2U02Bx9mLL87Ad2Yl9rQt/xqX//fFjrz6zZcvnrNuy4YzPadlwzvotG854rGXDcetof7VWy4YjP6dlwznrtWw4+rGWLR+3fsv26TnrtGw4a73WCkev01rhmEBSynsgcP5IefnGXdyy/VvxCPn+J3/eK3+dQPOd+8Jtevbbaxz177GVffy4V740vVnjuNe+/fvbGsf9h//9/I7jXsTW8zxamOfRymzeOvcvMYKSYyV/vbUeE1YWl5VcZUXa1l2nFRLlPc2Vu9bVv2SdaFlJSt5pIO9JknXe+nikrM3d6aq48tZNvPNNVsG9jv0wGV+WtdvwxuH8bqxet/IrVvTEe+sr3coI9RyPuXZYFz5ca3SySqHskf/xhnVZp1jW0ZNfZGUsOR8paJ2sjCnr14WrT07WuJfRblnXWd4XKOvTXTt5Z4K8iS6/IVPeKHetK4nKm1LxzvnWXTu8RU2uLHeUVIpiopPkVY4RhWWlcVFKiEiusZq2vBPk2uGtTJIjeQdp5WSFz3CkvGNTlG6drJUvq5vLqtvXumKlrEcm75jpdR3T1l3runiy1r2s/ijvzx20VEiqJOWSqmvV41rL2XWMB921XtifV2J+N397Hv3TM18XnrkN/y/YhWApnmn/9Dzah2+9DZOW6aN63WH/i3jmafxf2rpnvraEq8OzC0eFNv5K28/Vs8UbPYh1L5z5P/1Z4hk987Xvx3jOmf8V5zzzViPsufI1F9d+5e/1o2/7wj2fxTuFVPwzpedbzdE//Tnnsc7v63liBf/s/leyhP/bH/tjzPm/x6NP43658o8+pdi/7z+987+KMv9csZDPkiLP1JL86I/ec4jNisKvvX29qe7nXwOtyep10NYcRA/lWcxjiBscxLP+l/bzoff//uTO12r3Jcfo31xHD+ksWr+L6OP+EGntxvtcRu8mpE3SIPGIZ7dalHO/ZyceH7yOq3SVsP8wpvqj/yRRjmfR4zvTFEGBn1OJCmcEfaSkfRupSL9JlJGW7tt4pHiEN/P13DPfWSkrZ06iNqfxDrdVyJ7EM/X1z1JpfO2v9OKenK1/lVVv/Tr6T880+nS4ktqrqFX4tn3HUbhm0A51+U0sZdDm03Nu/56vIfXymfrmz9RXv5nSZ550LpMhl59/hV13obX0+tYvX/pPP0S2YI341n3W5Fmszc9iv+9DHOv4NvbIzlLJXOUh/eUNTfGzZImEy7cp5RLNuzv9j6XkP/zZx8r4b/rrZbz+Q+c+j2XoOFpQ1LTP1UBS+WPst4u+4Y6rZfA+i7w+hftK95uo7D+jZmHPx09Uu1kXb1sJ6e1l+3DX8Wex7QrpumnRbh99u6atRxk2We60aidEL7QRN+uPpOVCWyypD+taAMQOYInvKrFS89e1WrfvAKtwfE/axZLdvMZ92txm9FDNelz7XLegwvW917idixfRoznWe8voprT3B7HtEhVhZS7dRTz/X2qxz9WXkByc6TmXesSup7WXauvDv396vb/FvoSU6r177nmzRAjLcL0jLc/H8bibHG56K9faUkKfFzdKRNDrMpaTI1XjWfzlW61HEis71xL3o1qOu/28u+zFM+1/ii+56p/czulX0S79qJ7Cv+6oU9d6rXDly5jSjZj+v63YnPN7jrodZbn7KIkigMZ997vpP30V9drz1zxIub77zE89zLt81bvOfKlxqPMVOlt61MW9Z6E3f77ie4v6991lNd4Tvoezflb/8CHdbmuy/pk3I1nPUi/7MnJ46MxX8Z6XqsaXqssPD56DUgJPPUdQ7j5+tfZ9SmrVot08+9zBh7/PDr+I9fNiJSUov7lUr3PUOmXxsausx/1z0/LrrnJXL+zx9D9WOx67wu2acn</a:t>
            </a:r>
          </a:p>
        </p:txBody>
      </p:sp>
      <p:sp>
        <p:nvSpPr>
          <p:cNvPr id="45" name="WORKBKFUNCTIONCACHE1" hidden="1">
            <a:extLst>
              <a:ext uri="{FF2B5EF4-FFF2-40B4-BE49-F238E27FC236}">
                <a16:creationId xmlns:a16="http://schemas.microsoft.com/office/drawing/2014/main" id="{00000000-0008-0000-0300-000003000000}"/>
              </a:ext>
            </a:extLst>
          </p:cNvPr>
          <p:cNvSpPr txBox="1">
            <a:spLocks noChangeArrowheads="1"/>
          </p:cNvSpPr>
          <p:nvPr/>
        </p:nvSpPr>
        <p:spPr bwMode="auto">
          <a:xfrm>
            <a:off x="2407152" y="3232317"/>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Gjrjx29qe25bEzHiqHj517O9L5+BmP1ZTHzscIGvz3h49ev848dKXP73eF8YnVtuv6hjcSUgaPYbWtXIfuTQuVe9I3/aA8qnWgKbjPn/10ZOu2j/qpTmF8MBA8vtXLR+pv30NGu0T3/y9eH6NeuWWGVnkU7C6fcnUcJJ+Tx0MOosWRfNw8czUufKyKPuyLB89C4jkX6nVIL+G2OiFNG75nf6bpwXF3RS9uR3seU+72WOb9R2arsRdtHq58d9ToU1VXR4ouk/V4TCMpn7nPGuj+X7X58m213IPXF/F6B7FM3FVacj2ScccQTflXLOmS1h9cjpSt6vFpv+dmj0AswmU8+jjGW9Y7B30NRIruatlQF296yajl76KGYP5w+fjUa71pI+4+5q6rrZuSm9dHLh+ON65aph817nM70nBT109TeDeRl/Gu2Rq90H7LP93BZ14Z3B735u/WD0o81J+53eP7T3cQU/vszrPvinP/93w+7nNmEt8/a/jP6dzd6FWcxTIjvxzGNirbwhfRMh7F3/9/nCUMKA==&lt;/compressed&gt;</a:t>
            </a:r>
          </a:p>
          <a:p>
            <a:pPr algn="l" rtl="0">
              <a:defRPr sz="1000"/>
            </a:pPr>
            <a:endParaRPr lang="en-US" sz="1000" b="0" i="0" u="none" strike="noStrike" baseline="0">
              <a:solidFill>
                <a:srgbClr val="000000"/>
              </a:solidFill>
              <a:latin typeface="Arial"/>
              <a:cs typeface="Arial"/>
            </a:endParaRPr>
          </a:p>
          <a:p>
            <a:pPr algn="l" rtl="0">
              <a:defRPr sz="1000"/>
            </a:pPr>
            <a:endParaRPr lang="en-US" sz="1000" b="0" i="0" u="none" strike="noStrike" baseline="0">
              <a:solidFill>
                <a:srgbClr val="000000"/>
              </a:solidFill>
              <a:latin typeface="Arial"/>
              <a:cs typeface="Arial"/>
            </a:endParaRPr>
          </a:p>
        </p:txBody>
      </p:sp>
      <p:sp>
        <p:nvSpPr>
          <p:cNvPr id="46" name="WORKBKFUNCTIONCACHE" hidden="1">
            <a:extLst>
              <a:ext uri="{FF2B5EF4-FFF2-40B4-BE49-F238E27FC236}">
                <a16:creationId xmlns:a16="http://schemas.microsoft.com/office/drawing/2014/main" id="{00000000-0008-0000-0300-000004000000}"/>
              </a:ext>
            </a:extLst>
          </p:cNvPr>
          <p:cNvSpPr txBox="1">
            <a:spLocks noChangeArrowheads="1"/>
          </p:cNvSpPr>
          <p:nvPr/>
        </p:nvSpPr>
        <p:spPr bwMode="auto">
          <a:xfrm>
            <a:off x="2407152" y="3232317"/>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lt;compressed size="651798"&gt;eJztvQtvHTe2ps2fYkwDgxngk7ruF3TPARwf2fGBYwtS0oODRsOQFamlJFYU3ZIe6Md/JNd6yS1Zl+1cikvnvBDs2rt2Xcj3IRcXF1msv7pDd+lO3L67cMfuR//phdvz347cgfs391f3rf924f/t+t8u3Zn/5cA980ftuY/+0/9x/8O9dK/dW/fc/3vhtvz3Z+5DvML37p/++B/j1b91p/7TVTz+ufvB/73323DPa9e4yv/1/tPf3X/6a+75s/7hv/1Pf9SF+4u/c7jnSdwfUvjM/c1vD9zP/oh/xiPCmW9j2g9unLnl94RcXbh/+bNexPSfxWvt+z33nf13n58XbtufcXPvr/v2P6KKr/y3C5/uPZ+yS1X23Kfs/8XPtevc7Ea/788re//qFd7zuoVP3/s9//K//dsnavxJdbyM1/5LUvBPquvk9237fXL0t37/d5HIX5KKf/oMpW9qGu79yr3xLN+4d+4Ltxl1+8tKPvO1t+NVD+LZmcUz97W/z0U8Pt8j5GhfS86Fv0atean8b8LmTyuUwhVOvdZ/iVc992f86JWr/THbsfx969P37z7FV7eOaPwRku6b+1u/fzfm8MDvu/lb538LOQ6l5r8viZ4kDJBofU5mkjBDoiYJAyR6thMmSHT+jyQskOhji92RRHESo/Z0SMICiZ4kDJCY2bMzRKImCRMkatYJIyQakjBCoiUJIyTYs7NAool5aRh3MkCiZ1TcCImBJIyQYM/OBok29ibYs7NBgj07KyTYs7NCgj07KyTYs7NCguPYNkg09J1MkJhiTmqO2Rkh0bFOFCchMXFaJwskepIwRKIhCSMkWpIwQ4IjRTZI0HeyQmIgCSMkRpIwQ4J9bCskBpIwQmIkCSMkZpIwQILj2JZIsGdXnsTAOmGKBH0nGyQ4G9MCiZGzMY2QCOOnXLfDAgnOULZFgl6sBRI9SRgg8cLn6r1X/iTuDWvtkUhZIkFzUfPQb/M8g/cc1TPK6Lnbif9vk4spLnJu+H7gPsQzSMcOnTf+HLKxyeYrf9xHv/+9e+mvR5+gNJ237iDSgEUL/toVqRihIt7ze3/OnvvFb0Vp8rHEJxx74o8kExtM2MLY5LLt/7ZIwwiNHb/3ym9bf+a3pGKEym487iD2+c/9X9h7TjqF6ewona14jRN/99Dek0tpLnLMe91/Fgn94tUnF2tc0H+R65CPFT5s+e2w+Og/nTnGK60QeeHvthu3e1GnM233yccan6wNfTJrdIJHduTT8CGmg3ys8XkZr3Tsjz9i22OOziv3JZkYYxIYkIktJm/8d3pm1qh85e//Q0xDuOa/yMcYn3f+21HME8nYIrPt70Am1pgEhb+LPvPPjJwZ5oMZACRki9COXodcbHHZjaM0exw5M0fm68jlhFzMcNnzmhyRhxkeQY0wckYiVojwyZinwIVxTJt0juOszHBNxsus0Al15nBlFtNbv//EcS6TZUasQdbonLK2mOHx0h+37zA6w3pihctrr8WpP/aYdcUQkxOvyaVGYkJaScYOmauoz0WK/zOGaYXOzVUYZCYg4wFW6TAaYI2NrJshz2mSjA0y7/x5r0nDDI3D2Offcj/53469/mEs89JvT/357NXY4RTmmeUoJ59tts/ojU/HnvcNyMcWn60YISAVW1Toq9llI9402xy7hFbH09jyWKUkCh+SizEuu/6uz0nFCBWOO9ujweimRSaYqSFrnJKOJTpB3R9iXknFAhWs1kg7ZomJnE8ednhg7kx4BjB8Ih9bfIImZ/6XfXIxxeXKcZ0z+3yyNoxhWqPDdc5s8+E6Z5bpcJ0ze0zY17THhOucWaTCdc5s8+E6Z1bJcJ0zi0y4ztnT4MN1zmwS4siATS5c58wqGa5zZovLbtRj331PIkaIoIaEWJmMbIZYwDkjzcYIhefROW/GCpNv4p25yokNKuc+L33MzRdk8RtY/N2fEcr0x9gO7MVzwxMU/7hD81rTXFHxRRXvqfiCirc+xTMVX1zxmoovqHhPO76o4p3/o+JLKt7HlrOj4ospPsY091R8UcV7Kr6g4jN7QAUUr6n4oorXLOMLK95Q8YUVb6n4woqzB7Sk4k1Mc8O4yoKK94zWLqz4QMUXVpw9oGUVb6M3zh7QsoqzB7S04uwBLa04e0BLK84e0NKKc5xzWcUb+iqLKj7FFNccA1pY8Y5lfDHFJVZLq7Kk4j0VL6B4Q8UXVryl4osrzhGJZRWnr7K04gMVX1jxkYovrjj7nEsrPlDxhRUfqfjCis9UfEHFOc5ZQnH2gJZTfGAZL6I4fZVlFecsuCUVHzkLbmHFw7gbn8tfUnHO9CyjOL3DJRXvqfiCir/wqcd7GkO+D6j8QsoHbUW1Q7/N483vOUpUmMVztxP/36b+RfQPCpzF7wfuQ7w7KSxP4Y3XmAzKMsAq8GG9/gO2zYtReOvPuFixRME/uqL6C6svXml+m7goSg4lOIT1X/nm0OW1ZwtQVv9t/7dF1RdWfcfvDe+OaH06+JaipdXfjecfxD5weAtB2Mt3ESxFYUcpbMUUnDh5Yzf1X0r/oOlFLPth/5mT9z/zvULl9If/L70xcliaA1vg5TX/6D+dOcbdllb+hb/qbtzuRT3OtP0lh1Icsgb0gUpRCB7QkT/+Q7wfOZTi8NKF9zMd+3sfsW0oRuGV+5LaF9I+aE3ty2gf3kpJT6iU+l85vO0wpIhvPCzF4Z3/dhTTTgJlCGz7K1H7UtoHJb+LvujPjAwZ4IARYpIoQ2Inpob6l9J/N44S7HGEphgBvL+e+i+t/57P+xF1X1z3kOswQkPll1aeTwZY0p/xuLIUjuMsuW1/HuNBS1MIdeBwZXbK23gG56hYYMEaUYrCKUv/4rq/9MftO4wOsNwvrf9rf/SpP/aYZb+A9ic+75cagQhpIoHlCVxFHS5SXJqxuKUp3HxaW2ZssX9cmgJ7x6UYyHP08hwZCSxL4J2/zmuqvrjqh7EPvOV+8r8de53D2Nil3576a7FXsDyPME8oR+v4LKUdFm/8OXu+jSaHMhy2Yo+Z6pdRn75ReQbipbJNKE9iddyGLUNpGqLkIfUvpP+uv/pzqr+w+hyvLKc6o3QltceIvaz1RwolKAQVf4h5ovpLqo9Vzmh/SmjPpzZK6Y65EuHZpb14LjmU4BDyfuZ/2af+RfS/clxnyA6HrAFjcaUocJ0hGxy4zpAFClxnqJz27JOV057rDJVUn+sM2eDAdYZKE+A6QyW15zpDtjhwnaGyJBixLqs/1xkqTYDrDJXRfzfme999T+UXVh4lPsSCZKQs9I3PGRktRCI858p5Ektr/008iqsbLKv+uU9zH1P9BTVfW/N/j2si3lQdV9+O1xUv/pmTGednquRFPD7f5TaNWnNTkYURFj1ZmGDR+rzMZGGIRU0WJlj0bC+MsOj8H1nYYNHHtrsjCwMsxpibniyMsOjJwgSLmX09UyxqsjDComa9MMOiIQszLFqyMMOCfT0bLJqYm4bxKBMsesbMzbAYyMIMC/b1rLBoY++CfT0rLNjXs8OCfT07LNjXs8OCfT07LDjebYVFQz/KCIsp5qXmuJ4ZFh3rhQEWEjGnjbLBoicLUywasjDDoiULQyw4lmSFBf0oOywGsjDDYiQLQyzY77bDYiALMyxGsjDDYiYLEyw43m2LBft6FlgMrBfGWNCPssKCczhtsBg5h9MMizDKyvVAbLDg3GZrLOjT2mDRk4UJFi98vvD20aDIAZkUZxJUFz0P/TbPSHjPkT+zlJ67nfj/NskYIyPnhu8H7kM8g3ws8XnjzyEdq3Tw1ovwHpIDegcG+Lz1512s2LXgu12Rixku4kuHFdP33C8Ob5AhIVuEwrF837AlKmxprJLZ9n9b5GGGx47fG94H1Poz+WY4O1x243EHMQ4Q3lET9p6TT3E+O8pnK17jxB3Hlp9kypORY97r/rPI6Be+Yc4kGfRn5DokZIcQfQBLND76T2eOkUw7TF7E64ftXlTqTD0AErJHKKtD/8wen+CdHflUfIgpISF7hF7GKx3744/YBhnk88p9SSrmqAQKpGKNSnjXM700e1y+cngbcbgm30hsj9A7/+0o5opsrLHZ9ncgFXtUgsbfRQ/6Z0bUTBPCTAEyssZoR69DMtbI7MZRnD2OrRlk83Ukc0IyhsjseVWOSMQQkaBHGFsjEztM+GTN0yDDCKdVPsdxJme4JuNodviEenO4Mufprd9/4jjzyTYl1iJ7fE5ZYwwReemP23cYvWFdsUPmtVfj1B97zPpiisqJV+VS4zMhtWRjic1VVOgijQ4wummHz811HWTuIGMEdvkwQmCPjqzFIc97ko0VNu/8ea/JwxCPwxgH2HI/+d+OPYEw3nnpt6f+fPZyLJEK89Jy/JPPST8FSm98Sva8l0BC1ghtxagBuVjjQr/NMh3xrdn2WGa0OuLGFsguJ9H4kGTMkdn193lOLma4cHTaIg/GPW1SwZwOWU2VfGzxCfr+EHNLLja4YE1IWjNbVOR8ErFEBPNswpOE4RMJWSMUVDnzv+yTjDEyV47rqD0FQlkdRjft8eE6atYJcR0123y4jppFKux9WqTCddRscuE6atYJcR01u2y4jppNKlxH7akQ4jpqVhlx3MAqGa6jZpcN11GzRmY3KrLvvicTM0xQS0IMTUY/Q3zgnFFoc4zC0+2cY2OHyjfx3lw7xQqXc5+bPubnC9L4TTT+7s8J5fpjbA/24tnh+Yt/3KF6ramuqPnCmvfUfFHNW5/mmZoX0Lym5otq3tOeL6x55/+o+bKa97EN7aj5gpqPMdU9NV9Y856aL6r5zD5REc1rar6w5jXL+eKaN9R8cc1bar645uwTLat5E1PdMN6yqOY9Y7mLaz5Q88U1Z59oac3b6J2zT7S05uwTLa85+0TLa84+0fKas0+0vOYcD11a84Z+y8KaTzHNNceJFte8YzlfUHOJ5NK2LKt5T82LaN5Q88U1b6l5Ac05ZrG05vRbltd8oOaLaz5S8wKasx+6vOYDNV9c85GaL675TM0X1ZzjoWU0Z59oSc0HlvNCmtNvWVpzzp1bVvORc+cW1zyMzvF5/2U15xzRUprTV1xW856aL6r5C59+vD8y5PyA2i+mfVBXdDv02zwy/Z4jScVpPHc78f9tEihEIGhwFr8fuA/x/uRQgsMbrzIplKaAVejDGwMO2EovyOGtP+NixR4FX+mK+i+uv/io+Z3noilJlCERVp3lW01LqM+WoDSBbf+3Rd0X133H7w1vsGh9SvjOpOX1343nH8R+cXgTQth7Tg6LcdhRDlsxDSdO3itOAssRCKpexPIf9p85eUc133JUkgD6A9I/I4nlSbAtLqH6R//pzDEit7z2L+J1wnYvKnKmLTFJlCORVaA/VI5D8IaO/PEf4h1JohyJly68L+rY3/2IbURBDq/cl1S/mPpBbapfSv3wxkx6ReX0/8rhPYwhTXwXYzkS7/y3o5h6MijFYNtfieqXUz9o+V30TH9mxMgECYwkk0UpFjsxPSRQjsBuHEXY4xhOQQbyHvcTEihAYM/n/ojKF1A+5DuM4VD75bXnkwW2CDBSV5rDcZxZt+3PY5xoeQ6hHhyuzGV5G8/gjBYbNFgrynE4ZQ0ooPxLf9y+w+gBy/7yBF77o0/9sccs/0XUP/G5v9S4REgVGZRgcBWVuEhRa0bpludw8/lvmePFPnN5Duwxl6Mgz+bL82hksDSDdz7/r6l7Ad0PY794y/3kfzv2Sofxs0u/PfXXYi+hBJEwryjH8fhcpiUab/w5e761JolSJLZiL5r6l9KffpIFCuKzsm2wwGJ1ZIctRHkeouUhCRQjsOuv95z6L64/RzVL6s74XVn1MbYvqwqSQxkOQccfYq6o/7L6Yy01WqEy6vO5j3LKY15FeAJqL55LEmVIhNyf+V/2SaAQgSvHdYwskcgqMEpXjgPXMbJCgusY2eDAdYxKqs9eWkn1uY5RWf25jpEVElzHqDwDrmNUVn2uY2SNBNcxKs2C8ezSBLiOUXkGXMeoFIHdmPN99z21X1x7lPoQI5LRtNBfPmfUtBiL8NQs51Qsr/438SiumbC0/uc+1X1M9xdUfW3VX3l93tx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byfTXl+ewon614jRN3HFt+kilPRo55r/vPIqNf+LY5k2TQn5HrkJAdQvQBLNH46D+dOUYy7TB54cKbwMJ2Lyp1ph4ACdkjlNWhf2aPT/DOjnwqPsSUkJA9Qi/jlY798UdsgwzyeeW+JBVzVAIFUrFGJbzxmV6aPS5fObyPOFyT7yS2R+id/3YUc0U21ths+zuQij0qQePvogf9MyNqpglhpgAZWWO0o9chGWtkduMozh7H1gyy+TqSOSEZQ2T2vCpHJGKISNAjjK2RiR0mfLLmaZBhhNMqn+M4kzNck3E0O3xCvTlcmfP01u8/cZz5ZJsSa5E9PqesMYaIvPTH7TuM3rCu2CHz2qtx6o89Zn0xReXEq3Kp8ZmQWrKxxOYqKnSRRgcY3bTD5+a6DjJ3kDECu3wYIbBHR9bikOc9ycYKm3f+vNfkYYjHYYwDbLmf/G/HnkAY77z021N/Pns5lkiFeWk5/snnpJ8CpTc+JXveSyAha4S2YtSAXKxxod9mmY741mx7LDNaHXFjC2SXk2h8SDLmyOz6Oz0nFzNcODptkQfjnjapYE6HrKZKPrb4BH1/iLklFxtcsCYkrZktKnI+iVgignk24UnC8ImErBEKqpz5X/ZJxhiZK8d11J4CoawOo5v2+HAdNeuEuI6abT5cR80iFfY+LVLhOmo2uXAdNeuEuI6aXTZcR80mFa6j9lQIcR01q4w4bmCVDNdRs8uG66hZI7MbFdl335OJGSaoJSGGJqOfIT5wzii0OUbh6XbOsbFD5Zt4b66dYoXLuc9NH/PzBWn8Jhp/9+eEcv0xtgd78ezw/MU/7lC91lRX1HxhzXtqvqjmrU/zTM0LaF5T80U172nPF9a883/UfFnN+9iGdtR8Qc3HmOqemi+seU/NF9V8Zp+oiOY1NV9Y85rlfHHNG2q+uOYtNV9cc/aJltW8ialuGG9ZVPOesdzFNR+o+eKas0+0tOZt9M7ZJ1pac/aJltecfaLlNWefaHnN2SdaXnOOhy6teUO/ZWHNp5jmmuNEi2vesZwvqLlEcmlbltW8p+ZFNG+o+eKat9S8gOYcs1hac/oty2s+UPPFNR+peQHN2Q9dXvOBmi+u+UjNF9d8puaLas7x0DKas0+0pOYDy3khzem3LK05584tq/nIuXOLax5G5/i8/7Kac45oKc3pKy6reU/NF9X8hU8/3h8Zcn5A7RfTPqgruh36bR6Zfs+RpOI0nrud+P82CRQiEDQ4i98P3Id4f3IoweGNV5kUSlPAKvThjQEHbKUX5PDWn3GxYo+Cr3RF/RfXX3zU/M5z0ZQkypAIq87yraYl1GdLUJrAtv/bou6L677j94Y3WLQ+JXxn0vL678bzD2K/OLwJIezl+xCW47CjHLZiGk6cvFecBJYjEFS9iOU/7D9z8o5qvuWoJAH0B6R/RhLLk2BbXEL1j/7TmWNEbnntX/gr7cbtXlTkTFtikihHIqtAf6gch+ANHfnjP8Q7kkQ5Ei9deF/Usb/7EduIghxeuS+pfjH1g9pUv5T64Y2Z9IrK6f+Vw3sYQ5r4LsZyJN75b0cx9WRQisG2vxLVL6d+0PK76Jn+zIiRCRIYSSaLUix2YnpIoByB3TiKsMcxnIIM5D3uJyRQgMCez/0RlS+gfMh3GMOh9strzycLbBFgpK40h+M4s27bn8c40fIcQj04XJnL8jaewRktNmiwVpTjcMoaUED5l/64fYfRA5b95Qm89kef+mOPWf6LqH/ic3+pcYmQKjIoweAqKnGRotaM0i3P4ebz3zLHi33m8hzYYy5HQZ7Nl+fRyGBpBu98/l9T9wK6H8Z+8Zb7yf927JUO42eXfnvqr8VeQgkiYV5RjuPxuUxLNN74c/Z8a00SpUhsxV409S+lP/0kCxTEZ2XbYIHF6sgOW4jyPETLQxIoRmDXX/E59V9cf45qltSd8buy6mNsX1YVJIcyHIKOP8RcUf9l9cdaarRCZdTncx/llMe8ivAE1F48lyTKkAi5P/O/7JNAIQJXjusYWSKRVWCUrhwHrmNkhQTXMbLBgesYlVSfvbSS6nMdo7L6cx0jKyS4jlF5BlzHqKz6XMfIGgmuY1SaBePZpQlwHaPyDLiOUSkCuzHn++57ar+49ij1IUYko2mhv3zOqGkxFuGpWc6pWF79b+JRXDNhaf3Pfar7mO4vqPraqr92b2MkYVV1XH07Xld8+mdOZqufqZIX8fh8l9s0as1NRRZGWPRkYYJF6/Myk4UhFjVZmGDRs70wwqLzf2Rhg0Uf2+6OLAywGGNuerIwwqInCxMsZvb1TLGoycIIi5r1wgyLhizMsGjJwgwL9vVssGhibhrGo0yw6BkzN8NiIAszLNjXs8Kijb0L9vWssGBfzw4L9vXssGBfzw4L9vXssOB4txUWDf0oIyymmJea43pmWHSsFwZYSMScNsoGi54sTLFoyMIMi5YsDLHgWJIVFvSj7LAYyMIMi5EsDLFgv9sOi4EszLAYycIMi5ksTLDgeLctFuzrWWAxsF4YY0E/ygoLzuG0wWLkHE4zLMIoK9cDscGCc5utsaBPa4NFTxYmWLzw+cL7SoMiB2RSnElQXfQ89Ns8I+E9R/7MUnruduL/2yRjjIycG74fuA/xDPKxxOeNP4d0rNLBWzDCm0kO6B0Y4PPWn3exYteC73ZFLma4iC8dVk3fc784vFGGhGwRCsfyrcSWqLClsUpm2/9tkYcZHjt+b3gzUOvP5Lvi7HDZjccdxDhAeFNN2Mv31ZTns6N8tuI1TtxxbPlJpjwZOea97j+LjH7h2+ZMkkF/Rq5DQnYI0QewROOj/3TmGMm0w+SFv99u3O5Fpc7UAyAhe4SyOvTP7PEJ3tmRT8WHmBISskfoZbzSsT/+iG2QQT6v3JekYo5KoEAq1qiENz7TS7PH5SuH9xGHa/KdxPYIvfPfjmKuyMYam+14F1KxRiVo/F30oH9mRM00IcwUICNrjHb0OiRjjcxuHMXZ49iaQTZfRzInJGOIzJ5X5YhEDBEJeoSxNTKxw4RP1jwNMoxwWuVzHGdyhmsyjmaHT6g3hytznt76/SeOM59sU2ItssfnlDXGEJGX/rh9h9Eb1hU7ZF57NU79scesL6aonHhVLjU+E1JLNpbYXEWFLtLoAKObdvjcXNdB5g4yRmCXDyME9ujIWhzyvCfZWGHzzp/3mjwM8TiMcYAt95P/7dgTCOOdl3576s9nL8cSqTAvLcc/+Zz0U6D0xqdkz3sJJGSN0FaMGpCLNS702yzTEd+abY9lRqsjbmyB7HISjQ9JxhyZXX/f5+RihgtHpy3yYNzTJhXM6ZDVVMnHFp+g7w8xt+RigwvWhKQ1s0VFzicRS0QwzyY8SRg+kZA1QkGVM//LPskYI3PluI7aUyCU1WF00x4frqNmnRDXUbPNh+uoWaTC3qdFKlxHzSYXrqNmnRDXUbPLhuuo2aTCddSeCiGuo2aVEccNrJLhOmp22XAdNWtkdqMi++57MjHDBLUkxNBk9DPEB84ZhTbHKDzdzjk2dqh8E+/NtVOscDn3ueljfr4gjd9E4+/+nFCuP8b2YC+eHZ6/+Mcdqtea6oqaL6x5T80X1bz1aZ6peQHNa2q+qOY97fnCmnf+j5ovq3kf29COmi+o+RhT3VPzhTXvqfmims/sExXRvKbmC2tes5wvrnlDzRfXvKXmi2vOPtGymjcx1Q3jLYtq3jOWu7jmAzVfXHP2iZbWvI3eOftES2vOPtHymrNPtLzm7BMtrzn7RMtrzvHQpTVv6LcsrPkU01xznGhxzTuW8wU1l0gubcuymvfUvIjmDTVfXPOWmhfQnGMWS2tOv2V5zQdqvrjmIzUvoDn7octrPlDzxTUfqfnims/UfFHNOR5aRnP2iZbUfGA5L6Q5/ZalNefcuWU1Hzl3bnHNw+gcn/dfVnPOES2lOX3FZTXvqfmimr/w6cf7I0POD6j9YtoHdUW3Q7/NI9PvOZJUnMZztxP/3yaBQgSCBmfx+4H7EO9PDiU4vPEqk0JpCliFPrwx4ICt9IIc3vozLlbsUfCVrqj/4vqLj5rfeS6akkQZEmHVWb7VtIT6bAlKE9j2f1vUfXHdd/ze8AaL1qeE70xaXv/deP5B7BeHNyGEvXwfwnIcdpTDVkzDiZP3ipPAcgSCqhex/If9Z07eUc23HJUkgP6A9M9IYnkSbItLqP7RfzpzjMgtr/0Lf93duN2LipxpS0wS5UhkFegPleMQvKEjf/yHeEeSKEfipQvvizr2dz9iG1GQwyv3JdUvpn5Qm+qXUj+8MZNeUTn9v3J4D2NIE9/FWI7EO//tKKaeDEox2I5Xo/ql1A9afhc9058ZMTJBAiPJZFGKxU5MDwmUI7AbRxH2OIZTkIG8x/2EBAoQ2PO5P6LyBZQP+Q5jONR+ee35ZIEtAozUleZwHGfWbfvzGCdankOoB4crc1nexjM4o8UGDdaKchxOWQMKKP/SH7fvMHrAsr88gdf+6FN/7DHLfxH1T3zuLzUuEVJFBiUYXEUlLlLUmlG65TncfP5b5nixz1yeA3vM5SjIs/nyPBoZLM3gnc//a+peQPfD2C/ecj/534690mH87NJvT/212EsoQSTMK8pxPD6XaYnGG3/Onm+tSaIUia3Yi6b+pfSnn2SBgvisbBsssFgd2WELUZ6HaHlIAsUI7PrrP6f+i+vPUc2SujN+V1Z9jO3LqoLkUIZD0PGHmCvqv6z+WEuNVqiM+nzuo5zymFcRnoDai+eSRBkSIfdn/pd9EihE4MpxHSNLJLIKjNKV48B1jKyQ4DpGNjhwHaOS6rOXVlJ9rmNUVn+uY2SFBNcxKs+A6xiVVZ/rGFkjwXWMSrNgPLs0Aa5jVJ4B1zEqRWA35nzffU/tF9cepT7EiGQ0LfSXzxk1LcYiPDXLORXLq/9NPIprJiyt/7lPdR/T/QVVX1v1//C/n99SHVffjtcVn/6Zk9nqZ6rkRTw+3+U2jVpzU5GFERY9WZhg0fq8zGRhiEVNFiZY9GwvjLDo/B9Z2GDRx7a7IwsDLMaYm54sjLDoycIEi5l9PVMsarIwwqJmvTDDoiELMyxasjDDgn09GyyamJuG8SgTLHrGzM2wGMjCDAv29aywaGPvgn09KyzY17PDgn09OyzY17PDgn09Oyw43m2FRUM/ygiLKeal5rieGRYd64UBFhIxp42ywaInC1MsGrIww6IlC0MsOJZkhQX9KDssBrIww2IkC0Ms2O+2w2IgCzMsRrIww2ImCxMsON5tiwX7ehZYDKwXxljQj7LCgnM4bbAYOYfTDIswysr1QGyw4Nxmayzo09pg0ZOFCRYvfL7wvtKgyAGZFGcSVBc9D/02z0h4z5E/s5Seu534/zbJGCMj54bvB+5DPIN8LPF5488hHat08BaM8GaSA3oHBvi89eddrNi14LtdkYsZLuJLh1XT99wvDm+UISFbhMKxfCuxJSpsaayS2fZ/W+RhhseO3xveDNT6M/muODtcduNxBzEOEN5UE/aek09xPjvKZyte48Qdx5afZMqTkWPe6/6zyOgXvm3OJBn0Z+Q6JGSHEH0ASzQ++k9njpFMO0xe+Pvtxu1eVOpMPQASskcoq0P/zB6f4J0d+VR8iCkhIXuEXsYrHfvjj9gGGeTzyn1JKuaoBAqkYo1KeOMzvTR7XL5yeB9xuCbfSWyP0Dv/7Sjmimyssdl2fyMVg1SCxt9FD/pnRtRME8JMATKyxmhHr0My1sjsxlGcPY6tGWTzdSRzQjKGyOz56x+RiCEiQY8wtkYmdpjwyZqnQYYRTqt8juNMznBNxtHs8An15nBlztNbv//EceaTbUqsRfb4nLLGGCLy0h+37zB6w7pih8xrr8apP/aY9cUUlRN//UuNz4TUko0lNldRoYs0OsDoph0+N9d1kLmDjBHY5cMIgT06shaHPO9JNlbYvPPnvSYPQzwOYxxgy/3kfzv2BMJ456Xfnvrz2cuxRCrMS8vxTz4n/RQovfEp2fNeAglZI7QVowbkYo0L/TbLdMS3ZttjmdHqiBtbILucRONDkjFHZtff9zm5mOHC0WmLPBj3tEkFczpkNVXyscUn6PtDzC252OCCNSFpzWxRkfNJxBIRzLMJTxKGTyRkjVBQ5cz/sk8yxshcOa6j9hQIZXUY3bTHh+uoWSfEddRs8+E6ahapsPdpkQrXUbPJheuoWSfEddTssuE6ajapcB21p0KI66hZZcRxA6tkuI6aXTZcR80amd2oyL77nkzMMEEtCTE0Gf0M8YFzRqHNMQpPt3OOjR0q38R7c+0UK1zOfW76mJ8vSOM30fi73xfK9cfYHuzFs8PzF/+4Q/VaU11R84U176n5opq3Ps0zNS+geU3NF9W8pz1fWPPO/1HzZTXvYxvaUfMFNR9jqntqvrDmPTVfVPOZfaIimtfUfGHNa5bzxTVvqPnimrfUfHHN2SdaVvMmprphvGVRzXvGchfXfKDmi2vOPtHSmrfRO2efaGnN2SdaXnP2iZbXnH2i5TVnn2h5zTkeurTmDf2WhTWfYpprjhMtrnnHcr6g5hLJpW1ZVvOemhfRvKHmi2veUvMCmnPMYmnN6bcsr/lAzRfXfKTmBTRnP3R5zQdqvrjmIzVfXPOZmi+qOcdDy2jOPtGSmg8s54U0p9+ytOacO7es5iPnzi2ueRid4/P+y2rOOaKlNKevuKzmPTVfVPMXPv14f2TI+QG1X0z7oK7odui3eWT6PUeSitN47nbi/9skUIhA0OAsfj9wH+L9yaEEhzdeZVIoTQGr0Ic3BhywlV6Qw1t/xsWKPQq+0hX1X1x/8VHzO89FU5IoQyKsOsu3mpZQny1BaQLb/m+Lui+u+47fG95g0fqU8J1Jy+u/G88/iP3i8CaEsPecHBbjsKMctmIaTpy8V5wEliMQVL2I5T/sP3Pyjmq+5agkAfQHpH9GEsuTYFtcQvWP/tOZY0Ruee1f+Ovuxu1eVORMW2KSKEciq0B/qByH4A0d+eM/xDuSRDkSL114X9Sxv/sR24iCHF65L6l+MfWD2lS/lPrhjZn0isrp/5XDexhDmvguxnIk3vlvRzH1ZFCKwba/EtUvp37Q8rvomf7MiJEJEhhJJotSLHZiekigHIHdOIqwxzGcggzkPe4nJFCAwJ6/zhGVL6B8yHcYw6H2y2vPJwtsEWCkrjSH4zizbtufxzjR8hxCPThcmcvyNp7BGS02aLBWlONwyhpQQPmX/rh9h9EDlv3lCbz2R5/6Y49Z/ouof+Kvc6lxiZAqMijB4CoqcZGi1ozSLc/h5vPfMseLfebyHNhjLkdBns2X59HIYGkG73z+X1P3Arofxn7xlvvJ/3bslQ7jZ5d+e+qvxV5CCSJhXlGO4/G5TEs03vhz9nxrTRKlSGzFXjT1L6U//SQLFMRnZdtggcXqyA5biPI8RMtDEihGYNdf/zn1X1x/jmqW1J3xu7LqY2xfVhUkhzIcgo4/xFxR/2X1x1pqtEJl1OdzH+WUx7yK8ATUXjyXJMqQCLk/87/sk0AhAleO6xhZIpFVYJSuHAeuY2SFBNcxssGB6xiVVJ+9tJLqcx2jsvpzHSMrJLiOUXkGXMeorPpcx8gaCa5jVJoF49mlCXAdo/IMuI5RKQK7Mef77ntqv7j2KPUhRiSjaaG/fM6oaTEW4alZzqlYXv1v4lFcM2Fp/c99qvuY7i+o+r2qv4j6nbsw4+p5nHW1eYvETQK40+pVnjmZuX6mql7E4/Mdb5OpNWcVuRjk0pOLOS6tz9dMLka51ORijkvP9sUgl87/kYs9Ln1s9ztyMcZljDnrycUgl55czHGZ2a80y6UmF4NcatYXk1wacjHJpSUXk1zYr7THpYk5axgfM8elZ5zfJJeBXExyYb/SIpc29l7Yr7TIhf1Km1zYr7TJhf1Km1zYr7TJheP7Frk09McMcplivmqOV5rk0rG+GOMiUX7aMXtcenIxy6UhF5NcWnIxyoXjYha50B+zyWUgF5NcRnIxyoX9fZtcBnIxyWUkF5NcZnIxx4Xj+3a5sF9pjcvA+mKYC/0xi1w4D9Yel5HzYE1yCSPJXB/GHhfOG7fMhX6yPS49uZjj8sLnEe/EDeockI8pPoGAaHvot3k2xnuOaD4JYs/dTvx/m5QMU5Jzw/cD9yGeQVZWWb3x55DUUyCFt7SEN+cc0LMwxuqtv9LFiu0LPuAVGZlkJP55WO1/z/3i8CYk0rJLKxzLN2tbJcSW6SlQ2vZ/W2Rjks2O3xvegNX6M/lORJuMduNxBzH+EN7OFPbyHU22WO0oq62YzhN3HL0GUrJFSY55r/vPIq9f+OZF85TQX5LrkJZNWvQfrJL56D+dOUZZbfJ54e+zG7d7UbUz9R5IyzatrBT9PNusgpd35K/1IV6PtGzTeunPPPDX+qdnxjbLNqtX7ksSMk0oECEhy4TCW9fp7dlm9JXD+8FDuvmOcNu03vlvRzGH5GSZ07a/AwnZJhT0/i565T8zwvdkaGFmBHlZ5rUT00xKtintxlGoPY4TGuf0daR0QkpGKe35Ox+RjlE6QZswTkg+NvnwyaanR4nR16fA6jjOgN325zGuZ5NVqE+HK/PA3sa0cDbY0yHG2mWb1SlrklE6L/1x+w6jT6xDNim99sqc+mOPWY/MEgp3vtQYUUg5OVnldBXVukgjGoy82mR1cw0PmWfJ2MTTYMXIhG1SsgaLPJ9LThY5vfPnvSYbo2wOY/xhy/3kfzv2NMI47qXfnvrz2YuySi3M28uxWT7v/tSIvfHX2/MeBmlZprUVoxVkZJkR/b+nQkr8dbZVT4XX6ughW6ynwUz0PiQl05R2/f2ek5FJRhyBt86GMVn7hDCfRVbyJSu7rM7ivX8gI5OMsO4oLZ5dQgeOz6ZZpoP5RuFpz/CJtCzTCgqd+V/2SckwpSvHdfieGq2sFCOvtllxHb6nRIvr8D0dVlyHzzoh9nStE+I6fPYZcR2+p0SL6/A9DU5ch88+Ia7D9xRpcR2+p8CLYx1PgRLX4XsanLgOn2VKu1Gdffc9+Zjkg9oTYnoyqhviEueMlpvmFVYs4Fwjm4S+iVfg+jkWGZ37nPUxb18YIvNX92ffPh74/Jy7f/PfrlKuw/faHzn5FF/HT4O/V/jUutmN+mnyf/Jr5X+XfaP/XT71/p98av0R8imoIJ8qvUrjt7V+mvTcZuW+nZ7bpBTU/tOgnyo9Llyt109DPCOUpEa3+N7rdojbOp7baErCNty9i5+uY56muH+K54d01LptdIv9vW6HuG31e6vX66IO4X/8Pup9Wt0Ouh31eDmv13R0ur/X+7YxXeH4Tre9/l7rFtdtVLlW9Wpu6IW71qo0zuuUaruScvDr9VOn1Lqok6gJik26W60pr1XhSVNaJYVDToNOk27xe6vbQfeP+r3Rba/7W93iuE5/x7bW/bOmelJt65WyNKZPvX7q9FOjKZOSNqsWteo26ZUq3dapBlR6TpvKaZ00rbX0Ven8VtNWp7tWeo82/dakWoBaFQhC3UFzixrVpjzNKS29atJqzkG1i0fJFkdUUbVR6UxKZ1K1J1V/SvQa/Y5tpftrvQ7OH3Rb63bU4yr9jnqK8ot0QSnwaTR/nZ4j9mlwsEUgMae81qoDciFscFyb6DTJeuXyPK6UhtbBPuG+qC3NilUaV0pNp7QmTXMo02JXOrVPnea7U/vUaQnptWZ1WnvELkxae0bl0mipn7QmT1rvJy0zk9qHSevlpDpOyn1SOzRpOZq0tk7KYdJaOGn5mlSjScvJpDQmLVmT8po075PW1klrzqSletLaXCcF6lQrRC9cJdsn3D/bp1HvCPs0JOJjynWlaoJnq2WhUcVGtS+N2p9RS/CoJXxUnqNec9QyNGqJHrUmjloDRq0hYW+rWxzX6e/Y1rof9mnWM1By6/RbrXep9Ti0ojiuThRr1W3SK1W6zfapS9eBdUBb0Sa9unR+tk9onSstAdl2gUmjlITgrFcYNLewT12qyXNKS6+8a5ftE1KA63R6hOSo1/2DHjeodoOqPyR6jX7HttL9tV4H5w+6rXU76nGVfkc9RflFupBO5KpNZXZKuRlSGZ0TPVjnLpV7WEdpa+FnoR1pk+Vr9e5in2CVwLhZuW+XWuMhaT2mUoPyU6X7VqpDo2WiUTvSqB1B+4561GiaGrULvV69V50brcm9lqReOfZaLnqtfb3q2Gs56TU3verap+tM6T69bifdhv2DWoxB89ar3oPao15V77VW9lqvBrV3g9qrPtWTJtUT+JKiV6NHoQ708bwh+VitlvNe7YQwhcc8JjUaVTP7T6hLteZUSnKTct4nhWv9LjnqVLle79urMl06r9PtqPt73eK4QX/HttUtyjOYrJalNn2qk13JpRQWptYzJ73mpGkeUl7QLufSiXa5VqskNWvS0jbpeb2DfYJ9AcEp/ZZ90j71E5CSQa/UpxrVpZxkOwxNcsvfpvIDTXCE5KjV/Z3mtNVUtUl9/N7pfmwb3d/qd5w/6Rb7Zz0O90O9hcK1pg9Ko/2Al9OlktmpCnXyvuvkT9cr/nKbNG2T8m2qH20qxW1qG5rUbjXJQjYr9+1T3RoS7SmVLvQrq9QOVZof9Adh1xpND/ywZuW4Ubch17PWnjn1XMTuzFqSZ633s9qHWdM/q52Z9Xqzcp/VDs2a/nnlPr1uJ93K/knPmzQdY9qP+1Z6/KDbUX9vdYvrZvuULQbs+axXQ3+hW7l/tk+zphj2KXvROdeNqpn9J/htjaaoU/s06/XapHCt3yVHjV6z1Ry0qkyTzut0O+r+Xrc4btDfsW11m+1Tr3dGCUJ5rZPnXyd71iZ7LntFi1a3lV4Jecn2CX5+l6wD+mdtajVRGuDr5J52o3VjXrFd2SeFFapW8jJpLrN9gk84p7QgvUOqs10qR7VeZ9AjJEe17m/0OChQJ/Xxe6f7sW10f6vfcf6kW+yf9Tjcb1BlkPta0welYZ/apDW2OU8oy9AN1us6pn/Uba9blOZJvze6rXSLcoPz5HogDDsEa4WWaUjbTre9bnFcpd9H3YoHIukYkqUWT2RIv4/6Xe4zqEUa1CINqtyg1x20Tg6ajkHTMWi+BrUQQ/JMxnTepFvZP6V0DHp8o1vcf9bjcN3st6J9QBmXfMLDHfT8QXXAfcABXm+v+yfVr1bdK93Wet1edZPvTdJz1O+DblvdX+u20/29fq902+p+XA/HNfp7o99n3cKvQT4rTe+o2163KJezpn9S3WbdDnp9pH9WPXB8r1uUn1q3k943RzjkuEb1w36Ud5RflL9O74d0zrqF7ihHaCFGPQ9blAtJR6X7a81PrTrWqmuduFT6vdLzJv0Ozxznd/p91u+9bnE86l2r6UC6Bt22ml/oDwU7rWNSZnNPLPuOsDTZVx8S7aw32r7WIebQJPWaZI2blfvmuANSkLnWKWZXpXMrLf3NSsvb6bbXrViPSf2XUf0b0KxSD6JSMtkPr1KZrFItrpJdrFyOLqLsVEnVKtnJKuWqSja5Sla5Su1xlSx3lcpc5fqVq0zpU47e55QO6dwmfcrpm9MZ+W65FcWnOqVgTvfN/u+wokHuo+UUgHb2jseU5s5hfCB7RvB5m3RXsTltimNVrlqhM6Z9Q/rUpl/r9KlLv/ZpX5U+tenXfI98RpOOa9K+OX1COc3lD30t2C35BD+jT5ogLbWWMiEwp09Dum/OL9qF1VgWvLI8NiT2u1nROo9S5FGNOmmR25/ci85k55WrdCkl6ImgJNepfNQrJSq3cF3a16yUo1wuxfeZ1HcSNWdtqWY3q88zrxCvdE+lZ076HV46rtDp91m/97rF8bASbUpLTl9mCpWzLzUl1XLfG1ohui/2Mo/3oV3oE6t2hRpqUJUs4phoIdbVrNw3j7MMKX3ZSubSnMsB+ni15rpW21in/egDY1Rq1K2MJQgXjBugH9rrcb2W1V7P77Xc9Uq6d4hi1NqXR4SmTr+3eh/ZjxhUpX3yRs9r9L5N2j/p+Z0eX+kW9x91i3xA4TZ9yjV9TEflVqjT89H2IepQrzDNfT/kBmrm2BT68hiVmbWuSsnv3JgU7vV7p9tat7P+3uj3VreT7pfjBj1uTMdV+nul33E/tOFzOgJWK4/E5dhCjofOqaTVSe1Rt51eCXlBDcgxrjzGlq1aLm3IC+pQne6KklCl32D3mpU2F7mcNffwaJpkYWs3p7Qg3od6l8eg57RFDiVHve4fNKe9qj0k9fH7pL9jO+h+jEl3+r3R76N+b3WL41EfkXukq9Mt8tKkPOTo3ZDKMco4xn5F2+z15nGg3IOc06ccQ4RVGldKA/y5fF/4So3LsbMppTS3xbBtlUOktlf71Kud6dU+9Q59YIxKjbqVERVJz+QQ05r1u9TkKVl9tB6Vti+iy6Q6Tsp90jI+aTmaVLVJa+GktXBKsaVKW5dKW58q7Z/0/E6Pr3SL+4+6RT5glXJ9yx4LUjm6bJ+Qr2yfcEdQy5GNMakCNbMHli1Vo/doVUlRsE8K9/q9022t21l/b/R7q9tJ98txGI3t03GV/l7pd9wv26dOj8heVZM+5XF65BeeYK2twqR2aNJyPmntmlZ6KrCGuU9ep7a/VTverOQl26DsL9d6j/wbakH21+ekbqNXgn3KUZw8Htan0pbtE8pJr1uUJ8lRq/s7zSmO75L6+H3S37EddD/GpDv93uj3Ub+3usXxqI+tpgPp6nSb7X4eYc69iNwfhw80rdgseEioFa3LEch2hQ7KfpXqzOiy15R9Kty3S6oPKX0gUaX2rUpeWJV+xbgGrB5YoUahvwgPQq4FrwH9YIwzYiwA8WP0l1otYZgT02pJgH1GH7vVWoM5GRjZR18MerVamzGGjfYYMVmM/8N6IMKNeoF+R7tileAP1yv9BNwlxxl7vS6UbLVE5RG9NvWMupTbPBMtWyW09eiZd1onMbumSQrju9yn1pw0mgPM0mlUgUav1+hxtR7X6HG1KtKkba/bHCuZ9Mo5ptylT7BUea5G7i9Vemav14RabcpLHjOC99Im64BecOvqVAqREtSheoXSrPfAb8hB43IcA+Wj09zndiHfd0pp6VXr7AFD/U63bcqhXLfS/bXmtFK1q6Q+fkf8BdtO9yMqALqVfu/1e61b3G9SZZBSpA9KIy9NykOOguVxhjw2DY8Ls/DEZqF09y57TTnmmeewwSqNK6UBPlW+L9qCxuW5dbmFypEO+G2Vw1gd7EurNahV/wmRc9jrNh0vczGk9owO/UNJ1ag1edR6PzrMbun0PLEzY7qOcB81B6Peb9TaOmotHLUWjlq+RuUyajkZ1W6NWrJG5TWqlqPW1lFrzqilenR5vLpLuuYYEeYXNS7bp0HPz/Zp0JSBGiIi6JONLs88y/ZpTp8qvUetSkrOqqQwvktMGLN0Ks0BZulUqkCl6UFsd9bjpEQODrNoqrTtdZtj6Y1eOc+zy5/ynCbkF1a31tIwaikatXSNWrvGZHfQvtQux9Zrh94vbDD63GOyXJijKJRQMrJ9Qi3oVwgOqm6lVwKBHA+b06c+XTPbJ5STVs+f9AiJoEsdHFSzQb2RwU1Jffw+6H5sO92PkSHQrfR7r99r3eJ+kyrTajpaTR+UznY/98KuVWXR4lp9rmuHGdLSF0XLc73C6XqlRZBvGPO/Ti0jFM32HpYKSqNFQMlBWwc7dq265bnl6MHkuJ9sc/Qa7c918r7kf/hZ1w7jrfI/RtDhs12ntifbyWuHsViMyF67HFlHT0Wufe2k533tchwEcbQ8U/XawR+Qfj1mcl0nm4C5FNcr1lmYiyIYKbx2mFcHS3jthlSKrh3GMjHidu0wv67WknPt8vwDzFWEj4Q6hVp+vWLZrx3mAWC25bXLM2/hZ8HPhT+La2KO67WD/3Xt8jxxePnwoa4d5nzCYl6vlBwZ30bfBn0NzKa9dpi/jllV1w4ztjD36TpFYBD1ul6JuVw7zM3HPK1rhzlcOXp9naIFUo+EZhuf8rj5ZEfY8zE+YXzXUx+1g8crI5ObTua+SGnfcNL7l3kCoeRuOunZIIY3aDxCZixtOuktSJuLVkN6+jLbcYzH9NqLyxERGW+eYwpgwSRiKnGWTSdxUon6YxZvq610FY8QX7TS/myendRoP7z3x8i83Uq9tT7mEWNnXcyBjFjLODPGqqSNFku6qW1xoz3bOV4jKNOpjyKzsiXK1GiqtvwxlUNUf9SjNp3MfJw0jau2ZtZ2XYjMDrPqpTXu434ZBR5SnxezqBAF3dRWR+Jc4Rp4dmRS67jpMPNN/KZADN5ppR6FpEDGCzGT8jqmTI4ST7hLx8OnkzGlTTepjy5jFJKX1fEBmX0l7Cf1R7NPKqNQ0idu4j1lLg0sh8ydCvne1BRK5AD+II6V8bRN12hepfeFGK5YC6nRkq9WW2pEjMTPa2MJaRzmpmHOrZBotNctqRRfA+MJ4sFIfFlqkkT8xYuCJZu1pMrMMdFOoqNSH2XGssTcNtWDEk8YM7s2nMy6bzUdbToTMdCgQqXtuqSgdojXyuxkod7rfTGi1SkbmRUsR0hvEZ6b2AFJk4yXbDqJG2Lu5oaTOLXUgD6WokE9Q8zllFT06klUUYdGy460VOJTNdpXlPzIsyC91sdZLVOld5CoY+Py0x4Sz5DcScnC3A95AmfSs1q1LY1+w+yMWS2dlNBNl+MVEjGTOF8VFZA7YqxH5sDN0RZ2Wntz7FBKukRD2lg/xVYMDjHSKdWITSdz9qVm4RkPieyKtRQ7IbP20DMRGypRAZm3t6n1D1HWQVsDmXU3azpnvVubauagqZ8jIYlvIBIis+hklKCNV5DyLzP9ME4kT5AMqpNY7jqRnlVlpALzIuQ46c22yWpI7KFLNgzP+MhTKY1aMnga4kfLTLkuliCZPYc5tlIKhfOg9U3qImZtSCmetcS32rpMyQZfu9vWWM6flFjrMONdrtGrNZY+ch6VbdWqVaqTjLBMyRNotbWV2aqbDnPXZW546/AcjjyVM2mNGzR3Ui+vtSVsk03adDJ3Sp6NQB9N2iSpz00kgnkvmHNcOTy/iB7SppbqyqFXJCPbndoiGXuZtdXEPK02tbCD1s1GqY0xtY3Wf5kTsan1UGarY0yu07rcrxAWC5xjL5OWa2kboCOeIJBrjtrKSH0cNL1DajtaVWrTybwmKdM5atVr69ConZFYdZ5pJE8btTGVk95pdBjvh42R8YJNtWsy7pOf5Ji1ZrV6jMRd85M8k+ZB2NbauuU5SBtOIi1tTKPUU5RU9CcmbT/EJo9qJyuHOVUbrk75aNRajtriIb6y4WQuMErPqD6KtLjSv9hw4gtKCZ3UPg1agsQz3nAyN1BGjTc1t62y6x1Ggm4fUWnrMjlEQyRSWyu9UWvwrKoIb2ldxEqN6gFizuWs5axX77ZJ3mWeBS/2SeZINPFeMhqPJ4t7bd8mvYvUnkFbKcyEG7SUderBVLrN45nyHGSbLG4+Cv26Xi3zoBZLShcig1J7q+S7jKoBPPxO7VSVSuy4Ql5iXKP6wk2ynJNeeUPLcKWt06bWAukhDElxlHCxZxJhECvU6TEyF0EiQJ2WZ5lri7nKo1oD8d2rmOZalcDTj53WoEm9mVl9jhzrrLTcyW+ttvPi70gplGeQZJ7kppKQGiOeAGpUpT6M9CereKVJW1n8DS4/VTcqA7H+my7HVaWsdOmsTfXaMN43qteHut4qCbF5mGVbaa4GJSrj+PkZpUm167WObmo5z/MMer0L+kWYPb6h5ULiYp22fINDbFH85z55J63WrfxMi1jQUdv/TYe43qzlUSLV4ie0rk7qyPNis+rbaxkRFQf1gWaHkW2ZTyLebq3Wu1X7glhxrcTkCptaCmTuFKL0o5Z8eapW/PrOYeastOSTenzSa+q0Rc5PLjSakl59ukbPz6VMvMRGLafEWCf1JhChqNWioj+U263G4ak7Kat1qsOT2kXE/uBndGqhZaQHURQZkazVZxo0pzIijnG+0eGpH7F0rVootAAgMWirPTiMVmIW8YZau1b9LsxhqrVVmrWfI/0eyanMm5IcIKaJWVpj8sQn7Z1UDk/N/h4xhOxXyZMfs8Ooa6N+QK12alLtRocxuMfjAegrN2ptR61Pcv/c95cew6yWqFH7LXaojWq02qaLnRFPAr3A7CfAOsh8jk3Xa10VTdfrW6HNGVKZblW1/Gxsoz4IogzShmLe64ba7MphroPcRWpFo9apSdZsUosza4mRVGUrLk90SN3Y1LKFWfkbyV5UWlOlLk6qM+K5s3oyvXokiEdhZQQwbjTVjV5doljDSo4kvgrr0DpEJzCvt1ULISqK1ylPjcF3XcfCIRaOHiPs/KDtMmazSHuCXnCt18H4D54DntTSiQWTmf94/kNKjNjrUX1c+EGtWrBarSx4DupD5KeNu9RGwqqL34rnN2WsdtJWqlatpcVD/3lSmy2Rpi6WPTzNIHVO6nuvfhbilZif9Fg8adQWU9pzxCVn9bPQN5HRx059nNrlWBDWSYFXKfMWNvWq0rrmOW6DWqRWy/Sgtqt1iOQ1eo1aa/2gpQIzlh6OW0nb22m+W+2rdQ6j0dWK51Y7RHs7LedV8saEjFgNudegqZAjpK5K7148U9jBPA9MfHOpQ5VqjOuLfZeaPal9kJhx7ntV6fhGlepTOzU7jEd3WvPkuEFz0cTjpFWSyC3GuHvVFF4rfCzQy3NaK62hlZasKXkr93lD9/tQct6gdXnUVq7XtgSzqeF/rqYN5Qotj1iJ2SGKdxdHzMKRtmJys95r+OR4xMtnbX1F9exN3WQkJUmu2uh+rKIgUbBNh0hSrxZycIhF3PSpZRwCFkJS2KmdmbXejWrnpO3b1FrYaxs1aFm+VuvZaHu5+oceEpSq1Ieq1KZJHwtzC+SeldYWmTGO8QvM5lnvbyO2peLnikUQi9xrOz+vjCB8+tckKzdpmzarpZQezZZSu+vcQb0eKeESAZQ5WEL2oftuaM9kdjnKIVamUc1Xz5Yee6vtongfrXpoaEfh6TQOT/ghh31qUzYd1vF4vE/ca/uIlm3W1nlymDfy+X8bTiIAEmGTuGSTPLVVKnelefWvVcvSJ48lq1G5/o57t1qPxP/vtX2VvuBdx9/8u10C7s/J3X+P373XNlW85Vm9ihwLfKgkrqYLs8jv+xPb3mscRfoG0qPCcxiIrkjfFfNosTpLrXWm0folZRjzqMUiSQuX1RDPvlMPE6NoaEvFYvTqGW+qjzUka4D2ZNJ2XsrspL6/PKvX6n0mtUZ9SmXnMNaCVZ6yly/WFzFgRGfQ58AM6lH9FESXZv2lSn7yzRLSq8fTp/4Gnk+VSGStPnudarf0wDAetan3EN8A43lzarU3HVZV2NB+3qTe5GZq11ef34PXLGtQbaqOs8Nsx1p7poh9SU9A/Ij6k/xtqI9WO4xczFpWqlSS5Rli+EV5/YzWYQyjV28G9rbRa8u4GeJNm1rzNxzms0vLh1UkNpzMu560VIxaM8XDlPLbaCsmXgZG+jA/b1ixILJf+sCDtkiybtLNCNqoaam1FR91z+r17xpJxDMvEgFptA8vucd6FyhBs0P8FmP94U+imrXDfAK51qA9ijzPYta7YpxO0tpqqyD9rUq1Fx9PvGw8kzw7RL1HtVvo1eB5oPVGoKTO3hyBqpO/DpawiphPjliztDbibXRqaaUP3Gp9qR1GOFctHEZj4clIDL5RjySP2E5qkW+O8oj1GpLmEsfBvAGM8klrOSkFqVky9jVpKzRrjyD3XvBMRKUWRuiO2vZL7Fa0bbUkjeoNSy2fXX6GHDlo1fuetO4hviDRS4xbyEhzfvpP7i59aoz9iZ3HCgSDy2NMrVqu/Gww2qdBbTHGgjBT/lr9WEmflKBe7Q1mAg3q03eqK0bUMftZ4iaNtvHw1SWmiCfvJGIjPSPx/2XUe7U2SOskUdhWPULMUbjZcsJiDWqDMXNH/H/MARErXWtvpE72RNrGKtm1UXuQmL0v5b1S+12rx445jrVet3eIWkxqJeExT+rbSn9oU1tGSTHWmJR0tarHoCVE+hJtqh2r8yCqG79U6j3LKEuT2hE8WYXWEhEOjIJUes1Oj7k9CoK8ycinjGJJ7ArPlEpMstY6IWu+9Q4zYaSlk3RILwJ3lh7F7NC7khYFPoRY61Z7WNIWiO2btU/U67Xr1PPBuK60OY1DPxjHdFrPJK7WqYXvtMQj9or5j10qQ5vqO00uP3H86+ZCdOpziUXrU+rQSmHNDolhbjr0i8VjnbWMtW7T4QmlXts7sbCb2hZILA99EIn1Sw1r9KqIQY+pDGFWf6c9lbxaSuUwg0MiWVUqWfl5AunVwC8U/wKzWCV+mCNDndoXrHvX6dXb9Ls884i1BXK/QcY+ENPDM6DiaXd6fazWlNsUiZrlGFG18oennWVmTqethbSOtcNaWpPDmhdSGuRuYhMmh7WNW4cxTplhInayT+nHXITa5fkpnVpsaYEwYjBryyAxeYwRSTRFRr/GFY8Zlki8r1nbPUQSEUHDbBx42eKPSp8QZb9zWNWzc4hpTGrjQUiY1trmYJy6Ui8Sz0vVaoVmzavE33uHta0mpd6pn3DTD9hINhzcZm2HxWpivFzKKCKek4P3jzmqQ/ISpQVEZENqIJ7EEh+p0dYO/SewxwymyiH6WWlty0/pNqm9aLSWSF829yDGVK+lBKF9wPyANqUTkTCMYs7aask8lc5hdij61UJYWoVGey2NwyyQIdWBPBYnHoKMYmHV4Q2H8bkmlgqZKyitZLYkUjalBzBqKUfUfkgpx7MYmK+FWWeNwxq5iI2PLke7kDOh2qSS8Fj/e0NbU5lPMmiJET8Ma0VI5B9WrNHWc9QamK3FqNYCs1YwslA5rIaKMSnM0kKbuP5cNYzryupK6FW3WkY7hxXPZc5ro3lqlBfmnz82V018Z+nFNZpGaefEH5LedeUw03DUEoQ5StcO88Tz8yuj1uncHjdaw/BsvaR8Sv77sFI+pP+ZRzHyHEyJmEvvSEon5jng6UqM0YvnNGr7h5FBrI3aq19WOUSbMdqGNcLm5BmjjyP+9ezWmZWGWdJN8oZkDVhED0WzzeSlDA4RzWzVpLeB3iXmM7UOTwr36gk1KZ/oJWNervhEsH0yFjOpj5mfEpGYQeMqTWevXLE+CCK6s9b2Tv2+1SeBK7VyGDms9b6z1hhpNTG3L/vxncPIeav1GW22+JFCCiubYKZLo+UYtgzPusE3lPyJ79NpXcZK44/NR5OVXVqtBVIy4engSYg6pap1eS7P6PD8icTApAcu7bxY587lVRar1IepUu2ftDXFGofoC2NujvSU8CTmhsP83DGVEGn5OodVFDYcnpCa1fPMs9awGuHSs9Iwf6XXcoDoEmJl0qLPWpdlJoaMIdQur/Yyq28qfkWneZd8iYcjo0Kza1Y8g0l9ofz8HmYwd1oCK21f0F9r1EtGmy82K48OZ39n9U5SAmuH52NlRF4I9NpPwupfGPUWDxHjA1J3J20bMVL++LMYYkUnrY2YByCRdqmLDz2ZUKsFkD6FWEHxAfBc7ePPLoh3P2qrJpHuShXA839SZqT129QzMTaFeGmrRAe19rgubBpKN7RA9EF4YWW5DW2nKvU0MCt/SpYNlrhX7hK9vDkquOGwptnoMBNBat7ksIZrttxD6gNVqkDnMANLeqt9Yis9sUFtKp61fIp/q2MSjZabTfUZYXnFY5y0ncOqmfkPq4E1qlyXON81WvHwH0YKe/XuNhMtRKLX+dtwj0e0Jfe3Y9Q3r/Jbxi9Xr/N43FTyPjrMdMJMGUQTa4cxZInxY7wA9rBXfxOxIJTS5kbqNpw8iSGe4aAtEEbAW7XYs/oU6JGhxXk8gvq4Dg9Hij7v73Ou9ltGk2+WiMeiJb3DKESl/h1iPJ3DHPNK65JEmOQ7nggYteyvkpS5nJV6pWK/8TQjejQSQd90GEXsHHqfKOtSBqUN3lRfWjwo6bWJT9E5zLCR+RKYnwWb+ng05bEysNoT3lB7MiVfFPE+6dHebzFu96hX/9bp60qNe7wnm/9+y6yCVQXW6Un16t2LvcCMMymBQgOzSDFjdHRY4R3z1qXN3HSIXQ0OcWpYAswkmV1+kmRweOIao5itw2xJKX9Y70lmbOH5llX2KEnSi630rPZGP2fDjeo5YSyocXiCB/0YzDN6qDf00N/neGmj/vXay5g076BwP8/173L7zHV8qvD3uDd087rrz2DBU8Di+2FmlYzK5qf3am0F8tgynijCc2kbrlGvT3htahmFz5TX3Rq01W219MKPbT/RBxFGrPoHzy3HLlutTxi5xFgCxgla7X1I72/TYUX+WtsIzNKd1P40Dis1bTg8M9FqfqS3M6g+ed2zRnuBmw5zbPNz4uhjixUV+4JZupi/vM4xubzIHNxeW+pGvfn20V8xU6lR+4UnZYQYVodb5xi0OYN6h5W2J1hz5uFfseaP9GPE+mxqHcCKJ48fIdYYbX2t6t9fR1dtuJQ3jEZuOqxFMjk8Hb3psNbdoG1QpzUDkbONB66zceeVNu651oZ7fMbrQ8/1flrzb9YZzFee1KLIuHheXXJKWkv9kHk1t/0geQYh1wU8LyMea37q6tMaPKjll2NmPX50WEmo1hrTp77xrLZFfG6sITVoSyitNerdp/Ze7jqp9UKUF+ucSI9aajvWZYCPNDrMhZdREvHQZ/WT8VY46ZvKOEynUaLp3r33txmPzS1f7xjEgKvUe8UzyXlF4VmtKyLr8NfwrGajLa6UOUTg0I/Odufh+2yscaeNR++14R6fDQ/KWJFS4q0SC8BM39VVWfPKADKCI1EqrI8r9rJTC9+q3cU7uOBHVuoP4OkXKYESaZa5ebNrXXejRG6k6ID47Vhj+b79UgZlzB4zCeQTRrjbtY749A8rUOO9fnherde2S6wRZrFhVQ5p63ot0ZJnaWkRscJM91FrGdrL26nYUL+oVx8Oqxh2SW3EA/FUQV7jB7OdOi1p0lYPLs99RJQaTw2KRzE7xCFa9Rgxy29IPg5Wid1wWCVLPDmx0XjOB28nkLdAyHharx6IlMzcJm04icm26o10ag16hzla0hJg5letbQVme+DdNY16TvJUtUSBJc6JFeo31HfCjExpU6SHi3F1mWEjcUSJQGxqGcDsAkSRJQ/CEU+gzskjGLSNkFZKnsyc1VuuU9v28DN2G9qijQ6j9cK119KL+ZDSvx615udVusQK1lpWK60FWEUG8xoww2B41BfYSGVKrIeMQGH+dZ+88E2HdZzl995h9miX2jKsIoyn8mWFgk21YqPD+v6rf1AVz3ahjfq05mCtiNGtznNrtS5ifBDv3pJSO6n1XY1x3q8Eanqb6LRqIfCmBYyRycgrZn3VDs/8iv3If5PW0vxU16A9lcblsYVebcLtfNd6b4nRNOoVYz1paR9Gl+cNIWaRVweTOWt4Rh5PVyLOe/e1N9a4+saD18dTJA89lXeX/lhfstU6I2MwjfYnMTOzdeiVbTqsxykjJpPWiNFh3qL0h27qKvNiZMxZbCDWaMFMZonNYF0GjBtfq90QC3bzr3ZYOfnudLR3pAPjSZXDHJDrFYuC9lquhyfCET2Tuaijy2O8g8Nboepk9cWf3NQjZWxfWnN4vKP2tWSeVOWwzuCoNQH2Z1AlsN746DDGLqPQYg3EK/u0HN+s73c/Pf94RPzuP5lngzGUPFKNldM/vf/d65Gt/sms0bwusFjvST2NWfOKOeMytid2oNJ2AeO8lcNqBYO2ho2WJsxImd2nsZv7/aKHvKYN9/jz2+IxPt7urtOm3t9ejsnKPH6nddrvh1vnUevs421vpXQxD75yGDOWNlcIy+yBTls8zP/6tCTJjDaxQI3DPMJJPbL8LHyjVh4RyE7b/E97bRsO88nwBDueN8Y6nfDQJK35yYBGfcbbUWdRScbvMfKT57e3LkclMLqT39CIZ+1bh3mOlcuzuFdbKfAT/VvtWWOdTzyXgBFmeHaz2h6sdbp6xV7/Bo1nIFV5TZ8mnSmjDHiH6qyek8SzRtUTsXXMa0L7jCcHJHerduuutRbP3YXfc+H3nKc1Fq9/9T+xQe1ae//If3/sHfPVH7/P8nm3/O/z1Pj12q1bDpdKz+9Ten5rah/as/5vd+1/Op/+2Bz817n6Q98eK8HlKZcsXb9Ogd+q2x+hu12WFtX69bWr/KeS6VmnfXzMzqzbxn5u7f2c9ns96p/Xjn9u6n99rn6b5frtvs36ftbvUfd+f66/lumv99g+r658Xu36PevuEnR/jb6/tr5+rk3/dbbt80rOr7cfv9+9fuu/dcvFH1+q+Ymf+OmP+fRrW9Rf3y6Uz/Pn6PB0Pq1nd/8rafRHl93f5gfZYP5f5dN/xbL7eb7s5/mr5XP4uam3VmL+u1vW+718lksbrJcpl5/fv/utV1+/t/x5Zffz9titnevXsd9H0c+jaKdG/jEl9vcrV8tbm8+x6et4KL+W/WO17Y9V7I8oseuq8ZjN+2MsrU3drNZy67p9Tp39o/LyW0mWrIPL293/vp/+CB1+7/KyVKrW9RU+p539o8r5H+OJ/f6Wb+nr/NayE+b8fjrH96/uo/8U9n4bf9lzW+7M//3o/4Xff91zC/zjH//4xz/+8Y9//OMf//74v+DjP+zPhyNexSP+lp7/C3tl37/HXsG+P/bYnfrvx/68E3068Nj9v3isrPckvQnsC72IPX9G+PS93/OveK/n/kr7/gqX/hoX7k+u1rUGKvcXn9a7f+3v/RVPVT/0a33Pr50+V373r/ODqZr12ef7fq0fPLd58Nf2wV/vT7M8Wd/ck1+sYHzfuQ/lt1W+9/96f45a5XD/r/fnSJ4Nvv/X5gEKsoJSd8+vovJ952IV84d+bR78tX3k17sZya/3pxmr4N//6/jIr8ODv44P/jrf++v9ZQO/3pdfrCtx969Ybf/uXx8qsfj17vu+cP/p3rvX/lvYG2zjXUe99se999bv2B367XO3E//fXuPYF37/Wfx+4D743x8/4437+pHj30Zb/HiqcdxX7p/+mPDppd/z8LE7fu+V37Y+1d8+eORubB8OohLnMV504f+/64yv/eeLeNx+bDve+zbnF98arHfs1/4+vyQlHz7n7hTj9xe+FduN29DyHcRW7MRrs945lzE6FtR+OJc4I+TxyN/hg//3mDI456VP04E//p/+zLvZ3z7jlftyreNCGVvnuDf++3qKfOXT+UPM255P9b/WOued/3YUlV/n6G3vg6x3XPBfvov6/bxmGcjnoHasc9aOT/vJmsfuxvK790g5x9Ffx2NPHjl2z5ejo0eOCSX0o///4aNuWqXHy0c48nClNr6Nnt/jdfL2edt++3BZeemP2E9l6+FjX/ucnvrjjx9JRbCU5zGte9Fm3m0DcfQ7n6/XjxxxGHO15X7yvwVfOPC+9NtTn+6H0yx1IDNY13rePu+Nv++ep7fOOVtRp3WOlLZIWoF1jpfW6nPzsOtL/fMHj3y8nMgRj5dcHIcSKK3m42cE+/CD/3voSLSWj6Uh2A2U02Bx9mLL87Ad2Yl9rQt/xqX//fFjrz6zZcvnrNuy4YzPadlwzvotG854rGXDcetof7VWy4YjP6dlwznrtWw4+rGWLR+3fsv26TnrtGw4a73WCkev01rhmEBSynsgcP5IefnGXdyy/VvxCPn+J3/eK3+dQPOd+8Jtevbbaxz177GVffy4V740vVnjuNe+/fvbGsf9h//9/I7jXsTW8zxamOfRymzeOvcvMYKSYyV/vbUeE1YWl5VcZUXa1l2nFRLlPc2Vu9bVv2SdaFlJSt5pIO9JknXe+nikrM3d6aq48tZNvPNNVsG9jv0wGV+WtdvwxuH8bqxet/IrVvTEe+sr3coI9RyPuXZYFz5ca3SySqHskf/xhnVZp1jW0ZNfZGUsOR8paJ2sjCnr14WrT07WuJfRblnXWd4XKOvTXTt5Z4K8iS6/IVPeKHetK4nKm1LxzvnWXTu8RU2uLHeUVIpiopPkVY4RhWWlcVFKiEiusZq2vBPk2uGtTJIjeQdp5WSFz3CkvGNTlG6drJUvq5vLqtvXumKlrEcm75jpdR3T1l3runiy1r2s/ijvzx20VEiqJOWSqmvV41rL2XWMB921XtifV2J+N397Hv3TM18XnrkN/y/YhWApnmn/9Dzah2+9DZOW6aN63WH/i3jmafxf2rpnvraEq8OzC0eFNv5K28/Vs8UbPYh1L5z5P/1Z4hk987Xvx3jOmf8V5zzzViPsufI1F9d+5e/1o2/7wj2fxTuFVPwzpedbzdE//Tnnsc7v63liBf/s/leyhP/bH/tjzPm/x6NP43658o8+pdi/7z+987+KMv9csZDPkiLP1JL86I/ec4jNisKvvX29qe7nXwOtyep10NYcRA/lWcxjiBscxLP+l/bzoff//uTO12r3Jcfo31xHD+ksWr+L6OP+EGntxvtcRu8mpE3SIPGIZ7dalHO/ZyceH7yOq3SVsP8wpvqj/yRRjmfR4zvTFEGBn1OJCmcEfaSkfRupSL9JlJGW7tt4pHiEN/P13DPfWSkrZ06iNqfxDrdVyJ7EM/X1z1JpfO2v9OKenK1/lVVv/Tr6T880+nS4ktqrqFX4tn3HUbhm0A51+U0sZdDm03Nu/56vIfXymfrmz9RXv5nSZ550LpMhl59/hV13obX0+tYvX/pPP0S2YI341n3W5Fmszc9iv+9DHOv4NvbIzlLJXOUh/eUNTfGzZImEy7cp5RLNuzv9j6XkP/zZx8r4b/rrZbz+Q+c+j2XoOFpQ1LTP1UBS+WPst4u+4Y6rZfA+i7w+hftK95uo7D+jZmHPx09Uu1kXb1sJ6e1l+3DX8Wex7QrpumnRbh99u6atRxk2We60aidEL7QRN+uPpOVCWyypD+taAMQOYInvKrFS89e1WrfvAKtwfE/axZLdvMZ92txm9FDNelz7XLegwvW917idixfRoznWe8voprT3B7HtEhVhZS7dRTz/X2qxz9WXkByc6TmXesSup7WXauvDv396vb/FvoSU6r177nmzRAjLcL0jLc/H8bibHG56K9faUkKfFzdKRNDrMpaTI1XjWfzlW61HEis71xL3o1qOu/28u+zFM+1/ii+56p/czulX0S79qJ7Cv+6oU9d6rXDly5jSjZj+v63YnPN7jrodZbn7KIkigMZ997vpP30V9drz1zxIub77zE89zLt81bvOfKlxqPMVOlt61MW9Z6E3f77ie4v6991lNd4Tvoezflb/8CHdbmuy/pk3I1nPUi/7MnJ46MxX8Z6XqsaXqssPD56DUgJPPUdQ7j5+tfZ9SmrVot08+9zBh7/PDr+I9fNiJSUov7lUr3PUOmXxsausx/1z0/LrrnJXL+zx9D9WOx67wu2acn</a:t>
            </a:r>
          </a:p>
        </p:txBody>
      </p:sp>
      <p:sp>
        <p:nvSpPr>
          <p:cNvPr id="48" name="WORKBKFUNCTIONCACHE1" hidden="1">
            <a:extLst>
              <a:ext uri="{FF2B5EF4-FFF2-40B4-BE49-F238E27FC236}">
                <a16:creationId xmlns:a16="http://schemas.microsoft.com/office/drawing/2014/main" id="{00000000-0008-0000-0300-000005000000}"/>
              </a:ext>
            </a:extLst>
          </p:cNvPr>
          <p:cNvSpPr txBox="1">
            <a:spLocks noChangeArrowheads="1"/>
          </p:cNvSpPr>
          <p:nvPr/>
        </p:nvSpPr>
        <p:spPr bwMode="auto">
          <a:xfrm>
            <a:off x="2407152" y="3232317"/>
            <a:ext cx="638175" cy="485775"/>
          </a:xfrm>
          <a:prstGeom prst="rect">
            <a:avLst/>
          </a:prstGeom>
          <a:solidFill>
            <a:srgbClr val="FFFFFF"/>
          </a:solidFill>
          <a:ln w="9525">
            <a:solidFill>
              <a:srgbClr val="000000"/>
            </a:solidFill>
            <a:miter lim="800000"/>
            <a:headEnd/>
            <a:tailEnd/>
          </a:ln>
        </p:spPr>
        <p:txBody>
          <a:bodyPr wrap="square" lIns="27432" tIns="22860" rIns="0" bIns="0"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l" rtl="0">
              <a:defRPr sz="1000"/>
            </a:pPr>
            <a:r>
              <a:rPr lang="en-US" sz="1000" b="0" i="0" u="none" strike="noStrike" baseline="0">
                <a:solidFill>
                  <a:srgbClr val="000000"/>
                </a:solidFill>
                <a:latin typeface="Arial"/>
                <a:cs typeface="Arial"/>
              </a:rPr>
              <a:t>Gjrjx29qe25bEzHiqHj517O9L5+BmP1ZTHzscIGvz3h49ev848dKXP73eF8YnVtuv6hjcSUgaPYbWtXIfuTQuVe9I3/aA8qnWgKbjPn/10ZOu2j/qpTmF8MBA8vtXLR+pv30NGu0T3/y9eH6NeuWWGVnkU7C6fcnUcJJ+Tx0MOosWRfNw8czUufKyKPuyLB89C4jkX6nVIL+G2OiFNG75nf6bpwXF3RS9uR3seU+72WOb9R2arsRdtHq58d9ToU1VXR4ouk/V4TCMpn7nPGuj+X7X58m213IPXF/F6B7FM3FVacj2ScccQTflXLOmS1h9cjpSt6vFpv+dmj0AswmU8+jjGW9Y7B30NRIruatlQF296yajl76KGYP5w+fjUa71pI+4+5q6rrZuSm9dHLh+ON65aph817nM70nBT109TeDeRl/Gu2Rq90H7LP93BZ14Z3B735u/WD0o81J+53eP7T3cQU/vszrPvinP/93w+7nNmEt8/a/jP6dzd6FWcxTIjvxzGNirbwhfRMh7F3/9/nCUMKA==&lt;/compressed&gt;</a:t>
            </a:r>
          </a:p>
          <a:p>
            <a:pPr algn="l" rtl="0">
              <a:defRPr sz="1000"/>
            </a:pPr>
            <a:endParaRPr lang="en-US" sz="1000" b="0" i="0" u="none" strike="noStrike" baseline="0">
              <a:solidFill>
                <a:srgbClr val="000000"/>
              </a:solidFill>
              <a:latin typeface="Arial"/>
              <a:cs typeface="Arial"/>
            </a:endParaRPr>
          </a:p>
          <a:p>
            <a:pPr algn="l" rtl="0">
              <a:defRPr sz="1000"/>
            </a:pPr>
            <a:endParaRPr lang="en-US" sz="1000" b="0" i="0" u="none" strike="noStrike" baseline="0">
              <a:solidFill>
                <a:srgbClr val="000000"/>
              </a:solidFill>
              <a:latin typeface="Arial"/>
              <a:cs typeface="Arial"/>
            </a:endParaRPr>
          </a:p>
        </p:txBody>
      </p:sp>
      <p:pic>
        <p:nvPicPr>
          <p:cNvPr id="313388" name="WORKBKFUNCTIONCACHE" hidden="1">
            <a:extLst>
              <a:ext uri="{FF2B5EF4-FFF2-40B4-BE49-F238E27FC236}">
                <a16:creationId xmlns:a16="http://schemas.microsoft.com/office/drawing/2014/main" id="{37C14F0D-F81B-41DB-B9F0-0F7062ECA08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219200" y="152400"/>
            <a:ext cx="714375" cy="495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20" name="object 16">
            <a:extLst>
              <a:ext uri="{FF2B5EF4-FFF2-40B4-BE49-F238E27FC236}">
                <a16:creationId xmlns:a16="http://schemas.microsoft.com/office/drawing/2014/main" id="{7CC2EFC4-EF4E-82F8-9945-1021BA5E76FD}"/>
              </a:ext>
            </a:extLst>
          </p:cNvPr>
          <p:cNvGraphicFramePr>
            <a:graphicFrameLocks noGrp="1"/>
          </p:cNvGraphicFramePr>
          <p:nvPr>
            <p:extLst>
              <p:ext uri="{D42A27DB-BD31-4B8C-83A1-F6EECF244321}">
                <p14:modId xmlns:p14="http://schemas.microsoft.com/office/powerpoint/2010/main" val="1938480205"/>
              </p:ext>
            </p:extLst>
          </p:nvPr>
        </p:nvGraphicFramePr>
        <p:xfrm>
          <a:off x="1001432" y="3093618"/>
          <a:ext cx="4090323" cy="1252220"/>
        </p:xfrm>
        <a:graphic>
          <a:graphicData uri="http://schemas.openxmlformats.org/drawingml/2006/table">
            <a:tbl>
              <a:tblPr firstRow="1" bandRow="1">
                <a:tableStyleId>{2D5ABB26-0587-4C30-8999-92F81FD0307C}</a:tableStyleId>
              </a:tblPr>
              <a:tblGrid>
                <a:gridCol w="1271697">
                  <a:extLst>
                    <a:ext uri="{9D8B030D-6E8A-4147-A177-3AD203B41FA5}">
                      <a16:colId xmlns:a16="http://schemas.microsoft.com/office/drawing/2014/main" val="20000"/>
                    </a:ext>
                  </a:extLst>
                </a:gridCol>
                <a:gridCol w="939542">
                  <a:extLst>
                    <a:ext uri="{9D8B030D-6E8A-4147-A177-3AD203B41FA5}">
                      <a16:colId xmlns:a16="http://schemas.microsoft.com/office/drawing/2014/main" val="20001"/>
                    </a:ext>
                  </a:extLst>
                </a:gridCol>
                <a:gridCol w="939542">
                  <a:extLst>
                    <a:ext uri="{9D8B030D-6E8A-4147-A177-3AD203B41FA5}">
                      <a16:colId xmlns:a16="http://schemas.microsoft.com/office/drawing/2014/main" val="20002"/>
                    </a:ext>
                  </a:extLst>
                </a:gridCol>
                <a:gridCol w="939542">
                  <a:extLst>
                    <a:ext uri="{9D8B030D-6E8A-4147-A177-3AD203B41FA5}">
                      <a16:colId xmlns:a16="http://schemas.microsoft.com/office/drawing/2014/main" val="20004"/>
                    </a:ext>
                  </a:extLst>
                </a:gridCol>
              </a:tblGrid>
              <a:tr h="309245">
                <a:tc>
                  <a:txBody>
                    <a:bodyPr/>
                    <a:lstStyle/>
                    <a:p>
                      <a:pPr marL="112395">
                        <a:lnSpc>
                          <a:spcPct val="100000"/>
                        </a:lnSpc>
                        <a:spcBef>
                          <a:spcPts val="775"/>
                        </a:spcBef>
                      </a:pPr>
                      <a:r>
                        <a:rPr sz="1100" b="0" spc="-5" dirty="0">
                          <a:solidFill>
                            <a:srgbClr val="474647"/>
                          </a:solidFill>
                          <a:latin typeface="+mn-lt"/>
                          <a:cs typeface="Noto Sans Light"/>
                        </a:rPr>
                        <a:t>Revenue</a:t>
                      </a:r>
                      <a:endParaRPr sz="1100" b="0" dirty="0">
                        <a:latin typeface="+mn-lt"/>
                        <a:cs typeface="Noto Sans Light"/>
                      </a:endParaRPr>
                    </a:p>
                  </a:txBody>
                  <a:tcPr marL="0" marR="0" marT="98425" marB="0" anchor="b">
                    <a:lnT w="19050">
                      <a:solidFill>
                        <a:srgbClr val="F2F2F2"/>
                      </a:solidFill>
                      <a:prstDash val="solid"/>
                    </a:lnT>
                    <a:lnB w="6350">
                      <a:solidFill>
                        <a:srgbClr val="EA7600"/>
                      </a:solidFill>
                      <a:prstDash val="solid"/>
                    </a:lnB>
                  </a:tcPr>
                </a:tc>
                <a:tc>
                  <a:txBody>
                    <a:bodyPr/>
                    <a:lstStyle/>
                    <a:p>
                      <a:pPr algn="l">
                        <a:lnSpc>
                          <a:spcPct val="100000"/>
                        </a:lnSpc>
                        <a:spcBef>
                          <a:spcPts val="865"/>
                        </a:spcBef>
                      </a:pPr>
                      <a:r>
                        <a:rPr lang="en-US" sz="1200" b="1" spc="-5" dirty="0">
                          <a:solidFill>
                            <a:srgbClr val="474647"/>
                          </a:solidFill>
                          <a:latin typeface="+mn-lt"/>
                          <a:cs typeface="Noto Sans Light"/>
                        </a:rPr>
                        <a:t>1,009.2</a:t>
                      </a:r>
                    </a:p>
                  </a:txBody>
                  <a:tcPr marL="0" marR="0" marT="109855" marB="0" anchor="b">
                    <a:lnT w="3175">
                      <a:noFill/>
                      <a:prstDash val="solid"/>
                    </a:lnT>
                    <a:lnB w="6350">
                      <a:solidFill>
                        <a:srgbClr val="EA7600"/>
                      </a:solidFill>
                      <a:prstDash val="solid"/>
                    </a:lnB>
                    <a:solidFill>
                      <a:srgbClr val="F2F2F2"/>
                    </a:solidFill>
                  </a:tcPr>
                </a:tc>
                <a:tc>
                  <a:txBody>
                    <a:bodyPr/>
                    <a:lstStyle/>
                    <a:p>
                      <a:pPr marR="394335" algn="r">
                        <a:lnSpc>
                          <a:spcPct val="100000"/>
                        </a:lnSpc>
                        <a:spcBef>
                          <a:spcPts val="865"/>
                        </a:spcBef>
                      </a:pPr>
                      <a:r>
                        <a:rPr lang="en-US" sz="1200" b="0" spc="-5" dirty="0">
                          <a:solidFill>
                            <a:srgbClr val="474647"/>
                          </a:solidFill>
                          <a:latin typeface="+mn-lt"/>
                          <a:cs typeface="Noto Sans Light"/>
                        </a:rPr>
                        <a:t>526.9 </a:t>
                      </a:r>
                    </a:p>
                  </a:txBody>
                  <a:tcPr marL="0" marR="0" marT="109855" marB="0" anchor="b">
                    <a:lnT w="19050">
                      <a:solidFill>
                        <a:srgbClr val="F2F2F2"/>
                      </a:solidFill>
                      <a:prstDash val="solid"/>
                    </a:lnT>
                    <a:lnB w="6350">
                      <a:solidFill>
                        <a:srgbClr val="EA7600"/>
                      </a:solidFill>
                      <a:prstDash val="solid"/>
                    </a:lnB>
                  </a:tcPr>
                </a:tc>
                <a:tc>
                  <a:txBody>
                    <a:bodyPr/>
                    <a:lstStyle/>
                    <a:p>
                      <a:pPr marL="148590" algn="ctr">
                        <a:lnSpc>
                          <a:spcPct val="100000"/>
                        </a:lnSpc>
                        <a:spcBef>
                          <a:spcPts val="790"/>
                        </a:spcBef>
                      </a:pPr>
                      <a:r>
                        <a:rPr lang="en-US" sz="1200" b="0" spc="-5" dirty="0">
                          <a:solidFill>
                            <a:srgbClr val="474647"/>
                          </a:solidFill>
                          <a:latin typeface="+mn-lt"/>
                          <a:cs typeface="Noto Sans Light"/>
                        </a:rPr>
                        <a:t>92%</a:t>
                      </a:r>
                      <a:endParaRPr sz="1200" b="0" dirty="0">
                        <a:latin typeface="+mn-lt"/>
                        <a:cs typeface="Noto Sans Light"/>
                      </a:endParaRPr>
                    </a:p>
                  </a:txBody>
                  <a:tcPr marL="0" marR="0" marT="100330" marB="0" anchor="b">
                    <a:lnT w="19050">
                      <a:solidFill>
                        <a:srgbClr val="F2F2F2"/>
                      </a:solidFill>
                      <a:prstDash val="solid"/>
                    </a:lnT>
                    <a:lnB w="6350" cap="flat" cmpd="sng" algn="ctr">
                      <a:solidFill>
                        <a:srgbClr val="EA7600"/>
                      </a:solidFill>
                      <a:prstDash val="solid"/>
                      <a:round/>
                      <a:headEnd type="none" w="med" len="med"/>
                      <a:tailEnd type="none" w="med" len="med"/>
                    </a:lnB>
                  </a:tcPr>
                </a:tc>
                <a:extLst>
                  <a:ext uri="{0D108BD9-81ED-4DB2-BD59-A6C34878D82A}">
                    <a16:rowId xmlns:a16="http://schemas.microsoft.com/office/drawing/2014/main" val="10000"/>
                  </a:ext>
                </a:extLst>
              </a:tr>
              <a:tr h="309245">
                <a:tc>
                  <a:txBody>
                    <a:bodyPr/>
                    <a:lstStyle/>
                    <a:p>
                      <a:pPr marL="112395">
                        <a:lnSpc>
                          <a:spcPct val="100000"/>
                        </a:lnSpc>
                        <a:spcBef>
                          <a:spcPts val="825"/>
                        </a:spcBef>
                      </a:pPr>
                      <a:r>
                        <a:rPr sz="1100" b="0" spc="-5" dirty="0">
                          <a:solidFill>
                            <a:srgbClr val="474647"/>
                          </a:solidFill>
                          <a:latin typeface="+mn-lt"/>
                          <a:cs typeface="Noto Sans Light"/>
                        </a:rPr>
                        <a:t>Net</a:t>
                      </a:r>
                      <a:r>
                        <a:rPr sz="1100" b="0" spc="-40" dirty="0">
                          <a:solidFill>
                            <a:srgbClr val="474647"/>
                          </a:solidFill>
                          <a:latin typeface="+mn-lt"/>
                          <a:cs typeface="Noto Sans Light"/>
                        </a:rPr>
                        <a:t> </a:t>
                      </a:r>
                      <a:r>
                        <a:rPr sz="1100" b="0" spc="-5" dirty="0">
                          <a:solidFill>
                            <a:srgbClr val="474647"/>
                          </a:solidFill>
                          <a:latin typeface="+mn-lt"/>
                          <a:cs typeface="Noto Sans Light"/>
                        </a:rPr>
                        <a:t>Revenue</a:t>
                      </a:r>
                      <a:endParaRPr sz="1100" b="0" dirty="0">
                        <a:latin typeface="+mn-lt"/>
                        <a:cs typeface="Noto Sans Light"/>
                      </a:endParaRPr>
                    </a:p>
                  </a:txBody>
                  <a:tcPr marL="0" marR="0" marT="104775" marB="0" anchor="b">
                    <a:lnT w="6350">
                      <a:solidFill>
                        <a:srgbClr val="EA7600"/>
                      </a:solidFill>
                      <a:prstDash val="solid"/>
                    </a:lnT>
                    <a:lnB w="6350">
                      <a:solidFill>
                        <a:srgbClr val="EA7600"/>
                      </a:solidFill>
                      <a:prstDash val="solid"/>
                    </a:lnB>
                  </a:tcPr>
                </a:tc>
                <a:tc>
                  <a:txBody>
                    <a:bodyPr/>
                    <a:lstStyle/>
                    <a:p>
                      <a:pPr algn="l">
                        <a:lnSpc>
                          <a:spcPct val="100000"/>
                        </a:lnSpc>
                        <a:spcBef>
                          <a:spcPts val="910"/>
                        </a:spcBef>
                      </a:pPr>
                      <a:r>
                        <a:rPr lang="en-US" sz="1200" b="1" spc="-5" dirty="0">
                          <a:solidFill>
                            <a:srgbClr val="474647"/>
                          </a:solidFill>
                          <a:latin typeface="+mn-lt"/>
                          <a:cs typeface="Noto Sans Light"/>
                        </a:rPr>
                        <a:t>599.7</a:t>
                      </a:r>
                    </a:p>
                  </a:txBody>
                  <a:tcPr marL="0" marR="0" marT="115570" marB="0" anchor="b">
                    <a:lnT w="6350">
                      <a:solidFill>
                        <a:srgbClr val="EA7600"/>
                      </a:solidFill>
                      <a:prstDash val="solid"/>
                    </a:lnT>
                    <a:lnB w="6350">
                      <a:solidFill>
                        <a:srgbClr val="EA7600"/>
                      </a:solidFill>
                      <a:prstDash val="solid"/>
                    </a:lnB>
                    <a:solidFill>
                      <a:srgbClr val="F2F2F2"/>
                    </a:solidFill>
                  </a:tcPr>
                </a:tc>
                <a:tc>
                  <a:txBody>
                    <a:bodyPr/>
                    <a:lstStyle/>
                    <a:p>
                      <a:pPr marR="377190" algn="r">
                        <a:lnSpc>
                          <a:spcPct val="100000"/>
                        </a:lnSpc>
                        <a:spcBef>
                          <a:spcPts val="910"/>
                        </a:spcBef>
                      </a:pPr>
                      <a:r>
                        <a:rPr lang="en-US" sz="1200" b="0" spc="-5" dirty="0">
                          <a:solidFill>
                            <a:srgbClr val="474647"/>
                          </a:solidFill>
                          <a:latin typeface="+mn-lt"/>
                          <a:cs typeface="Noto Sans Light"/>
                        </a:rPr>
                        <a:t>284.7</a:t>
                      </a:r>
                      <a:endParaRPr sz="1200" b="0" dirty="0">
                        <a:latin typeface="+mn-lt"/>
                        <a:cs typeface="Noto Sans Light"/>
                      </a:endParaRPr>
                    </a:p>
                  </a:txBody>
                  <a:tcPr marL="0" marR="0" marT="115570" marB="0" anchor="b">
                    <a:lnT w="6350">
                      <a:solidFill>
                        <a:srgbClr val="EA7600"/>
                      </a:solidFill>
                      <a:prstDash val="solid"/>
                    </a:lnT>
                    <a:lnB w="6350">
                      <a:solidFill>
                        <a:srgbClr val="EA7600"/>
                      </a:solidFill>
                      <a:prstDash val="solid"/>
                    </a:lnB>
                  </a:tcPr>
                </a:tc>
                <a:tc>
                  <a:txBody>
                    <a:bodyPr/>
                    <a:lstStyle/>
                    <a:p>
                      <a:pPr marL="148590" algn="ctr">
                        <a:lnSpc>
                          <a:spcPct val="100000"/>
                        </a:lnSpc>
                        <a:spcBef>
                          <a:spcPts val="835"/>
                        </a:spcBef>
                      </a:pPr>
                      <a:r>
                        <a:rPr lang="en-US" sz="1200" b="0" spc="-5" dirty="0">
                          <a:solidFill>
                            <a:srgbClr val="474647"/>
                          </a:solidFill>
                          <a:latin typeface="+mn-lt"/>
                          <a:cs typeface="Noto Sans Light"/>
                        </a:rPr>
                        <a:t>111%</a:t>
                      </a:r>
                      <a:endParaRPr sz="1200" b="0" dirty="0">
                        <a:latin typeface="+mn-lt"/>
                        <a:cs typeface="Noto Sans Light"/>
                      </a:endParaRPr>
                    </a:p>
                  </a:txBody>
                  <a:tcPr marL="0" marR="0" marT="106045" marB="0" anchor="b">
                    <a:lnT w="6350" cap="flat" cmpd="sng" algn="ctr">
                      <a:solidFill>
                        <a:srgbClr val="EA7600"/>
                      </a:solidFill>
                      <a:prstDash val="solid"/>
                      <a:round/>
                      <a:headEnd type="none" w="med" len="med"/>
                      <a:tailEnd type="none" w="med" len="med"/>
                    </a:lnT>
                    <a:lnB w="6350" cap="flat" cmpd="sng" algn="ctr">
                      <a:solidFill>
                        <a:srgbClr val="EA7600"/>
                      </a:solidFill>
                      <a:prstDash val="solid"/>
                      <a:round/>
                      <a:headEnd type="none" w="med" len="med"/>
                      <a:tailEnd type="none" w="med" len="med"/>
                    </a:lnB>
                  </a:tcPr>
                </a:tc>
                <a:extLst>
                  <a:ext uri="{0D108BD9-81ED-4DB2-BD59-A6C34878D82A}">
                    <a16:rowId xmlns:a16="http://schemas.microsoft.com/office/drawing/2014/main" val="10001"/>
                  </a:ext>
                </a:extLst>
              </a:tr>
              <a:tr h="309245">
                <a:tc>
                  <a:txBody>
                    <a:bodyPr/>
                    <a:lstStyle/>
                    <a:p>
                      <a:pPr marL="112395">
                        <a:lnSpc>
                          <a:spcPct val="100000"/>
                        </a:lnSpc>
                        <a:spcBef>
                          <a:spcPts val="825"/>
                        </a:spcBef>
                      </a:pPr>
                      <a:r>
                        <a:rPr sz="1100" b="0" spc="-5" dirty="0">
                          <a:solidFill>
                            <a:srgbClr val="474647"/>
                          </a:solidFill>
                          <a:latin typeface="+mn-lt"/>
                          <a:cs typeface="Noto Sans Light"/>
                        </a:rPr>
                        <a:t>EBITDA</a:t>
                      </a:r>
                      <a:endParaRPr sz="1100" b="0" dirty="0">
                        <a:latin typeface="+mn-lt"/>
                        <a:cs typeface="Noto Sans Light"/>
                      </a:endParaRPr>
                    </a:p>
                  </a:txBody>
                  <a:tcPr marL="0" marR="0" marT="104775" marB="0" anchor="b">
                    <a:lnT w="6350">
                      <a:solidFill>
                        <a:srgbClr val="EA7600"/>
                      </a:solidFill>
                      <a:prstDash val="solid"/>
                    </a:lnT>
                    <a:lnB w="6350">
                      <a:solidFill>
                        <a:srgbClr val="EA7600"/>
                      </a:solidFill>
                      <a:prstDash val="solid"/>
                    </a:lnB>
                  </a:tcPr>
                </a:tc>
                <a:tc>
                  <a:txBody>
                    <a:bodyPr/>
                    <a:lstStyle/>
                    <a:p>
                      <a:pPr marR="635" algn="l">
                        <a:lnSpc>
                          <a:spcPct val="100000"/>
                        </a:lnSpc>
                        <a:spcBef>
                          <a:spcPts val="910"/>
                        </a:spcBef>
                      </a:pPr>
                      <a:r>
                        <a:rPr lang="en-US" sz="1200" b="1" spc="-5" dirty="0">
                          <a:solidFill>
                            <a:srgbClr val="474647"/>
                          </a:solidFill>
                          <a:latin typeface="+mn-lt"/>
                          <a:cs typeface="Noto Sans Light"/>
                        </a:rPr>
                        <a:t>180.1</a:t>
                      </a:r>
                    </a:p>
                  </a:txBody>
                  <a:tcPr marL="0" marR="0" marT="115570" marB="0" anchor="b">
                    <a:lnT w="6350">
                      <a:solidFill>
                        <a:srgbClr val="EA7600"/>
                      </a:solidFill>
                      <a:prstDash val="solid"/>
                    </a:lnT>
                    <a:lnB w="6350">
                      <a:solidFill>
                        <a:srgbClr val="EA7600"/>
                      </a:solidFill>
                      <a:prstDash val="solid"/>
                    </a:lnB>
                    <a:solidFill>
                      <a:srgbClr val="F2F2F2"/>
                    </a:solidFill>
                  </a:tcPr>
                </a:tc>
                <a:tc>
                  <a:txBody>
                    <a:bodyPr/>
                    <a:lstStyle/>
                    <a:p>
                      <a:pPr marR="418465" algn="r">
                        <a:lnSpc>
                          <a:spcPct val="100000"/>
                        </a:lnSpc>
                        <a:spcBef>
                          <a:spcPts val="910"/>
                        </a:spcBef>
                      </a:pPr>
                      <a:r>
                        <a:rPr lang="en-US" sz="1200" b="0" spc="-5" dirty="0">
                          <a:solidFill>
                            <a:srgbClr val="474647"/>
                          </a:solidFill>
                          <a:latin typeface="+mn-lt"/>
                          <a:cs typeface="Noto Sans Light"/>
                        </a:rPr>
                        <a:t>123.5</a:t>
                      </a:r>
                      <a:endParaRPr sz="1200" b="0" dirty="0">
                        <a:latin typeface="+mn-lt"/>
                        <a:cs typeface="Noto Sans Light"/>
                      </a:endParaRPr>
                    </a:p>
                  </a:txBody>
                  <a:tcPr marL="0" marR="0" marT="115570" marB="0" anchor="b">
                    <a:lnT w="6350">
                      <a:solidFill>
                        <a:srgbClr val="EA7600"/>
                      </a:solidFill>
                      <a:prstDash val="solid"/>
                    </a:lnT>
                    <a:lnB w="6350">
                      <a:solidFill>
                        <a:srgbClr val="EA7600"/>
                      </a:solidFill>
                      <a:prstDash val="solid"/>
                    </a:lnB>
                  </a:tcPr>
                </a:tc>
                <a:tc>
                  <a:txBody>
                    <a:bodyPr/>
                    <a:lstStyle/>
                    <a:p>
                      <a:pPr marL="147955" algn="ctr">
                        <a:lnSpc>
                          <a:spcPct val="100000"/>
                        </a:lnSpc>
                        <a:spcBef>
                          <a:spcPts val="835"/>
                        </a:spcBef>
                      </a:pPr>
                      <a:r>
                        <a:rPr lang="en-US" sz="1200" b="0" spc="-5" dirty="0">
                          <a:solidFill>
                            <a:srgbClr val="474647"/>
                          </a:solidFill>
                          <a:latin typeface="+mn-lt"/>
                          <a:cs typeface="Noto Sans Light"/>
                        </a:rPr>
                        <a:t>46%</a:t>
                      </a:r>
                      <a:endParaRPr sz="1200" b="0" dirty="0">
                        <a:latin typeface="+mn-lt"/>
                        <a:cs typeface="Noto Sans Light"/>
                      </a:endParaRPr>
                    </a:p>
                  </a:txBody>
                  <a:tcPr marL="0" marR="0" marT="106045" marB="0" anchor="b">
                    <a:lnT w="6350" cap="flat" cmpd="sng" algn="ctr">
                      <a:solidFill>
                        <a:srgbClr val="EA7600"/>
                      </a:solidFill>
                      <a:prstDash val="solid"/>
                      <a:round/>
                      <a:headEnd type="none" w="med" len="med"/>
                      <a:tailEnd type="none" w="med" len="med"/>
                    </a:lnT>
                    <a:lnB w="6350" cap="flat" cmpd="sng" algn="ctr">
                      <a:solidFill>
                        <a:srgbClr val="EA7600"/>
                      </a:solidFill>
                      <a:prstDash val="solid"/>
                      <a:round/>
                      <a:headEnd type="none" w="med" len="med"/>
                      <a:tailEnd type="none" w="med" len="med"/>
                    </a:lnB>
                  </a:tcPr>
                </a:tc>
                <a:extLst>
                  <a:ext uri="{0D108BD9-81ED-4DB2-BD59-A6C34878D82A}">
                    <a16:rowId xmlns:a16="http://schemas.microsoft.com/office/drawing/2014/main" val="10002"/>
                  </a:ext>
                </a:extLst>
              </a:tr>
              <a:tr h="309245">
                <a:tc>
                  <a:txBody>
                    <a:bodyPr/>
                    <a:lstStyle/>
                    <a:p>
                      <a:pPr marL="111760" marR="847090">
                        <a:lnSpc>
                          <a:spcPct val="100000"/>
                        </a:lnSpc>
                        <a:spcBef>
                          <a:spcPts val="365"/>
                        </a:spcBef>
                      </a:pPr>
                      <a:r>
                        <a:rPr lang="en-US" sz="1100" b="0" spc="-5" dirty="0">
                          <a:solidFill>
                            <a:srgbClr val="474647"/>
                          </a:solidFill>
                          <a:latin typeface="+mn-lt"/>
                          <a:cs typeface="Noto Sans"/>
                        </a:rPr>
                        <a:t>EBIT</a:t>
                      </a:r>
                      <a:endParaRPr sz="1100" b="0" dirty="0">
                        <a:latin typeface="+mn-lt"/>
                        <a:cs typeface="Noto Sans"/>
                      </a:endParaRPr>
                    </a:p>
                  </a:txBody>
                  <a:tcPr marL="0" marR="0" marT="46355" marB="0" anchor="b">
                    <a:lnT w="6350">
                      <a:solidFill>
                        <a:srgbClr val="EA7600"/>
                      </a:solidFill>
                      <a:prstDash val="solid"/>
                    </a:lnT>
                    <a:lnB w="6350">
                      <a:solidFill>
                        <a:srgbClr val="EA7600"/>
                      </a:solidFill>
                      <a:prstDash val="solid"/>
                    </a:lnB>
                  </a:tcPr>
                </a:tc>
                <a:tc>
                  <a:txBody>
                    <a:bodyPr/>
                    <a:lstStyle/>
                    <a:p>
                      <a:pPr algn="l">
                        <a:lnSpc>
                          <a:spcPct val="100000"/>
                        </a:lnSpc>
                        <a:spcBef>
                          <a:spcPts val="1115"/>
                        </a:spcBef>
                      </a:pPr>
                      <a:r>
                        <a:rPr lang="en-US" sz="1200" b="1" spc="-5" dirty="0">
                          <a:solidFill>
                            <a:srgbClr val="474647"/>
                          </a:solidFill>
                          <a:latin typeface="+mn-lt"/>
                          <a:cs typeface="Noto Sans"/>
                        </a:rPr>
                        <a:t>110.5</a:t>
                      </a:r>
                    </a:p>
                  </a:txBody>
                  <a:tcPr marL="0" marR="0" marT="141605" marB="0" anchor="b">
                    <a:lnT w="6350">
                      <a:solidFill>
                        <a:srgbClr val="EA7600"/>
                      </a:solidFill>
                      <a:prstDash val="solid"/>
                    </a:lnT>
                    <a:lnB w="6350">
                      <a:solidFill>
                        <a:srgbClr val="EA7600"/>
                      </a:solidFill>
                      <a:prstDash val="solid"/>
                    </a:lnB>
                    <a:solidFill>
                      <a:srgbClr val="F2F2F2"/>
                    </a:solidFill>
                  </a:tcPr>
                </a:tc>
                <a:tc>
                  <a:txBody>
                    <a:bodyPr/>
                    <a:lstStyle/>
                    <a:p>
                      <a:pPr marR="413384" algn="r">
                        <a:lnSpc>
                          <a:spcPct val="100000"/>
                        </a:lnSpc>
                        <a:spcBef>
                          <a:spcPts val="1115"/>
                        </a:spcBef>
                      </a:pPr>
                      <a:r>
                        <a:rPr lang="en-US" sz="1200" b="0" spc="-5" dirty="0">
                          <a:solidFill>
                            <a:srgbClr val="474647"/>
                          </a:solidFill>
                          <a:latin typeface="+mn-lt"/>
                          <a:cs typeface="Noto Sans"/>
                        </a:rPr>
                        <a:t>88.6</a:t>
                      </a:r>
                      <a:endParaRPr sz="1200" b="0" dirty="0">
                        <a:latin typeface="+mn-lt"/>
                        <a:cs typeface="Noto Sans"/>
                      </a:endParaRPr>
                    </a:p>
                  </a:txBody>
                  <a:tcPr marL="0" marR="0" marT="141605" marB="0" anchor="b">
                    <a:lnT w="6350">
                      <a:solidFill>
                        <a:srgbClr val="EA7600"/>
                      </a:solidFill>
                      <a:prstDash val="solid"/>
                    </a:lnT>
                    <a:lnB w="6350">
                      <a:solidFill>
                        <a:srgbClr val="EA7600"/>
                      </a:solidFill>
                      <a:prstDash val="solid"/>
                    </a:lnB>
                  </a:tcPr>
                </a:tc>
                <a:tc>
                  <a:txBody>
                    <a:bodyPr/>
                    <a:lstStyle/>
                    <a:p>
                      <a:pPr marL="147320" algn="ctr">
                        <a:lnSpc>
                          <a:spcPct val="100000"/>
                        </a:lnSpc>
                        <a:spcBef>
                          <a:spcPts val="1040"/>
                        </a:spcBef>
                      </a:pPr>
                      <a:r>
                        <a:rPr lang="en-US" sz="1200" b="0" spc="-5" dirty="0">
                          <a:solidFill>
                            <a:srgbClr val="232323"/>
                          </a:solidFill>
                          <a:latin typeface="+mn-lt"/>
                          <a:cs typeface="Noto Sans Light"/>
                        </a:rPr>
                        <a:t>25%</a:t>
                      </a:r>
                      <a:endParaRPr sz="1200" b="0" dirty="0">
                        <a:latin typeface="+mn-lt"/>
                        <a:cs typeface="Noto Sans Light"/>
                      </a:endParaRPr>
                    </a:p>
                  </a:txBody>
                  <a:tcPr marL="0" marR="0" marT="132080" marB="0" anchor="b">
                    <a:lnT w="6350" cap="flat" cmpd="sng" algn="ctr">
                      <a:solidFill>
                        <a:srgbClr val="EA7600"/>
                      </a:solidFill>
                      <a:prstDash val="solid"/>
                      <a:round/>
                      <a:headEnd type="none" w="med" len="med"/>
                      <a:tailEnd type="none" w="med" len="med"/>
                    </a:lnT>
                    <a:lnB w="6350">
                      <a:solidFill>
                        <a:srgbClr val="EA7600"/>
                      </a:solidFill>
                      <a:prstDash val="solid"/>
                    </a:lnB>
                  </a:tcPr>
                </a:tc>
                <a:extLst>
                  <a:ext uri="{0D108BD9-81ED-4DB2-BD59-A6C34878D82A}">
                    <a16:rowId xmlns:a16="http://schemas.microsoft.com/office/drawing/2014/main" val="10003"/>
                  </a:ext>
                </a:extLst>
              </a:tr>
            </a:tbl>
          </a:graphicData>
        </a:graphic>
      </p:graphicFrame>
      <p:graphicFrame>
        <p:nvGraphicFramePr>
          <p:cNvPr id="21" name="object 2">
            <a:extLst>
              <a:ext uri="{FF2B5EF4-FFF2-40B4-BE49-F238E27FC236}">
                <a16:creationId xmlns:a16="http://schemas.microsoft.com/office/drawing/2014/main" id="{D45CEA50-2320-2254-946C-F74C5023CBF8}"/>
              </a:ext>
            </a:extLst>
          </p:cNvPr>
          <p:cNvGraphicFramePr>
            <a:graphicFrameLocks noGrp="1"/>
          </p:cNvGraphicFramePr>
          <p:nvPr>
            <p:extLst>
              <p:ext uri="{D42A27DB-BD31-4B8C-83A1-F6EECF244321}">
                <p14:modId xmlns:p14="http://schemas.microsoft.com/office/powerpoint/2010/main" val="3038375442"/>
              </p:ext>
            </p:extLst>
          </p:nvPr>
        </p:nvGraphicFramePr>
        <p:xfrm>
          <a:off x="1991584" y="2738974"/>
          <a:ext cx="3086076" cy="292676"/>
        </p:xfrm>
        <a:graphic>
          <a:graphicData uri="http://schemas.openxmlformats.org/drawingml/2006/table">
            <a:tbl>
              <a:tblPr firstRow="1" bandRow="1">
                <a:tableStyleId>{2D5ABB26-0587-4C30-8999-92F81FD0307C}</a:tableStyleId>
              </a:tblPr>
              <a:tblGrid>
                <a:gridCol w="1024673">
                  <a:extLst>
                    <a:ext uri="{9D8B030D-6E8A-4147-A177-3AD203B41FA5}">
                      <a16:colId xmlns:a16="http://schemas.microsoft.com/office/drawing/2014/main" val="20000"/>
                    </a:ext>
                  </a:extLst>
                </a:gridCol>
                <a:gridCol w="1036733">
                  <a:extLst>
                    <a:ext uri="{9D8B030D-6E8A-4147-A177-3AD203B41FA5}">
                      <a16:colId xmlns:a16="http://schemas.microsoft.com/office/drawing/2014/main" val="20001"/>
                    </a:ext>
                  </a:extLst>
                </a:gridCol>
                <a:gridCol w="1024670">
                  <a:extLst>
                    <a:ext uri="{9D8B030D-6E8A-4147-A177-3AD203B41FA5}">
                      <a16:colId xmlns:a16="http://schemas.microsoft.com/office/drawing/2014/main" val="20003"/>
                    </a:ext>
                  </a:extLst>
                </a:gridCol>
              </a:tblGrid>
              <a:tr h="292676">
                <a:tc>
                  <a:txBody>
                    <a:bodyPr/>
                    <a:lstStyle/>
                    <a:p>
                      <a:pPr marL="255270">
                        <a:lnSpc>
                          <a:spcPct val="100000"/>
                        </a:lnSpc>
                        <a:spcBef>
                          <a:spcPts val="325"/>
                        </a:spcBef>
                      </a:pPr>
                      <a:r>
                        <a:rPr lang="en-US" sz="1100" b="1" dirty="0">
                          <a:solidFill>
                            <a:schemeClr val="tx1"/>
                          </a:solidFill>
                          <a:latin typeface="Noto Sans"/>
                          <a:cs typeface="Noto Sans"/>
                        </a:rPr>
                        <a:t>9M 2023</a:t>
                      </a:r>
                      <a:endParaRPr sz="1100" dirty="0">
                        <a:solidFill>
                          <a:schemeClr val="tx1"/>
                        </a:solidFill>
                        <a:latin typeface="Noto Sans"/>
                        <a:cs typeface="Noto Sans"/>
                      </a:endParaRPr>
                    </a:p>
                  </a:txBody>
                  <a:tcPr marL="0" marR="0" marT="41275" marB="0">
                    <a:lnL w="28575" cap="flat" cmpd="sng" algn="ctr">
                      <a:solidFill>
                        <a:srgbClr val="FFFFFF"/>
                      </a:solidFill>
                      <a:prstDash val="solid"/>
                      <a:round/>
                      <a:headEnd type="none" w="med" len="med"/>
                      <a:tailEnd type="none" w="med" len="med"/>
                    </a:lnL>
                    <a:lnR w="28575">
                      <a:solidFill>
                        <a:srgbClr val="FFFFFF"/>
                      </a:solidFill>
                      <a:prstDash val="solid"/>
                    </a:lnR>
                    <a:solidFill>
                      <a:srgbClr val="FFC000"/>
                    </a:solidFill>
                  </a:tcPr>
                </a:tc>
                <a:tc>
                  <a:txBody>
                    <a:bodyPr/>
                    <a:lstStyle/>
                    <a:p>
                      <a:pPr marL="329565">
                        <a:lnSpc>
                          <a:spcPct val="100000"/>
                        </a:lnSpc>
                        <a:spcBef>
                          <a:spcPts val="325"/>
                        </a:spcBef>
                      </a:pPr>
                      <a:r>
                        <a:rPr lang="en-US" sz="1100" b="1" dirty="0">
                          <a:solidFill>
                            <a:schemeClr val="tx1"/>
                          </a:solidFill>
                          <a:latin typeface="Noto Sans"/>
                          <a:cs typeface="Noto Sans"/>
                        </a:rPr>
                        <a:t>9M 2022</a:t>
                      </a:r>
                      <a:endParaRPr sz="1100" dirty="0">
                        <a:solidFill>
                          <a:schemeClr val="tx1"/>
                        </a:solidFill>
                        <a:latin typeface="Noto Sans"/>
                        <a:cs typeface="Noto Sans"/>
                      </a:endParaRPr>
                    </a:p>
                  </a:txBody>
                  <a:tcPr marL="0" marR="0" marT="41275" marB="0">
                    <a:lnL w="28575">
                      <a:solidFill>
                        <a:srgbClr val="FFFFFF"/>
                      </a:solidFill>
                      <a:prstDash val="solid"/>
                    </a:lnL>
                    <a:lnR w="28575">
                      <a:solidFill>
                        <a:srgbClr val="FFFFFF"/>
                      </a:solidFill>
                      <a:prstDash val="solid"/>
                    </a:lnR>
                    <a:solidFill>
                      <a:srgbClr val="FFC000"/>
                    </a:solidFill>
                  </a:tcPr>
                </a:tc>
                <a:tc>
                  <a:txBody>
                    <a:bodyPr/>
                    <a:lstStyle/>
                    <a:p>
                      <a:pPr marL="21590" algn="ctr">
                        <a:lnSpc>
                          <a:spcPct val="100000"/>
                        </a:lnSpc>
                        <a:spcBef>
                          <a:spcPts val="325"/>
                        </a:spcBef>
                      </a:pPr>
                      <a:r>
                        <a:rPr sz="1200" b="1" dirty="0">
                          <a:solidFill>
                            <a:schemeClr val="tx1"/>
                          </a:solidFill>
                          <a:latin typeface="Noto Sans"/>
                          <a:cs typeface="Noto Sans"/>
                        </a:rPr>
                        <a:t>%</a:t>
                      </a:r>
                      <a:endParaRPr sz="1200" dirty="0">
                        <a:solidFill>
                          <a:schemeClr val="tx1"/>
                        </a:solidFill>
                        <a:latin typeface="Noto Sans"/>
                        <a:cs typeface="Noto Sans"/>
                      </a:endParaRPr>
                    </a:p>
                  </a:txBody>
                  <a:tcPr marL="0" marR="0" marT="41275" marB="0">
                    <a:lnL w="28575" cap="flat" cmpd="sng" algn="ctr">
                      <a:solidFill>
                        <a:srgbClr val="FFFFFF"/>
                      </a:solidFill>
                      <a:prstDash val="solid"/>
                      <a:round/>
                      <a:headEnd type="none" w="med" len="med"/>
                      <a:tailEnd type="none" w="med" len="med"/>
                    </a:lnL>
                    <a:solidFill>
                      <a:srgbClr val="FFC000"/>
                    </a:solidFill>
                  </a:tcPr>
                </a:tc>
                <a:extLst>
                  <a:ext uri="{0D108BD9-81ED-4DB2-BD59-A6C34878D82A}">
                    <a16:rowId xmlns:a16="http://schemas.microsoft.com/office/drawing/2014/main" val="10000"/>
                  </a:ext>
                </a:extLst>
              </a:tr>
            </a:tbl>
          </a:graphicData>
        </a:graphic>
      </p:graphicFrame>
      <p:graphicFrame>
        <p:nvGraphicFramePr>
          <p:cNvPr id="25" name="object 16">
            <a:extLst>
              <a:ext uri="{FF2B5EF4-FFF2-40B4-BE49-F238E27FC236}">
                <a16:creationId xmlns:a16="http://schemas.microsoft.com/office/drawing/2014/main" id="{25B958EE-B46F-E9FE-FF48-EE73708A856E}"/>
              </a:ext>
            </a:extLst>
          </p:cNvPr>
          <p:cNvGraphicFramePr>
            <a:graphicFrameLocks noGrp="1"/>
          </p:cNvGraphicFramePr>
          <p:nvPr>
            <p:extLst>
              <p:ext uri="{D42A27DB-BD31-4B8C-83A1-F6EECF244321}">
                <p14:modId xmlns:p14="http://schemas.microsoft.com/office/powerpoint/2010/main" val="2712148000"/>
              </p:ext>
            </p:extLst>
          </p:nvPr>
        </p:nvGraphicFramePr>
        <p:xfrm>
          <a:off x="5189890" y="3104938"/>
          <a:ext cx="2725386" cy="1242695"/>
        </p:xfrm>
        <a:graphic>
          <a:graphicData uri="http://schemas.openxmlformats.org/drawingml/2006/table">
            <a:tbl>
              <a:tblPr firstRow="1" bandRow="1">
                <a:tableStyleId>{2D5ABB26-0587-4C30-8999-92F81FD0307C}</a:tableStyleId>
              </a:tblPr>
              <a:tblGrid>
                <a:gridCol w="986655">
                  <a:extLst>
                    <a:ext uri="{9D8B030D-6E8A-4147-A177-3AD203B41FA5}">
                      <a16:colId xmlns:a16="http://schemas.microsoft.com/office/drawing/2014/main" val="20001"/>
                    </a:ext>
                  </a:extLst>
                </a:gridCol>
                <a:gridCol w="930201">
                  <a:extLst>
                    <a:ext uri="{9D8B030D-6E8A-4147-A177-3AD203B41FA5}">
                      <a16:colId xmlns:a16="http://schemas.microsoft.com/office/drawing/2014/main" val="20002"/>
                    </a:ext>
                  </a:extLst>
                </a:gridCol>
                <a:gridCol w="808530">
                  <a:extLst>
                    <a:ext uri="{9D8B030D-6E8A-4147-A177-3AD203B41FA5}">
                      <a16:colId xmlns:a16="http://schemas.microsoft.com/office/drawing/2014/main" val="20004"/>
                    </a:ext>
                  </a:extLst>
                </a:gridCol>
              </a:tblGrid>
              <a:tr h="309245">
                <a:tc>
                  <a:txBody>
                    <a:bodyPr/>
                    <a:lstStyle/>
                    <a:p>
                      <a:pPr algn="ctr">
                        <a:lnSpc>
                          <a:spcPct val="100000"/>
                        </a:lnSpc>
                        <a:spcBef>
                          <a:spcPts val="865"/>
                        </a:spcBef>
                      </a:pPr>
                      <a:r>
                        <a:rPr lang="en-US" sz="1200" b="1" spc="-5" dirty="0">
                          <a:solidFill>
                            <a:srgbClr val="474647"/>
                          </a:solidFill>
                          <a:latin typeface="+mn-lt"/>
                          <a:cs typeface="Noto Sans Light"/>
                        </a:rPr>
                        <a:t>-</a:t>
                      </a:r>
                      <a:endParaRPr sz="1200" b="1" dirty="0">
                        <a:latin typeface="+mn-lt"/>
                        <a:cs typeface="Noto Sans Light"/>
                      </a:endParaRPr>
                    </a:p>
                  </a:txBody>
                  <a:tcPr marL="0" marR="0" marT="109855" marB="0" anchor="b">
                    <a:lnT w="3175">
                      <a:noFill/>
                      <a:prstDash val="solid"/>
                    </a:lnT>
                    <a:lnB w="6350" cap="flat" cmpd="sng" algn="ctr">
                      <a:solidFill>
                        <a:srgbClr val="EA7600"/>
                      </a:solidFill>
                      <a:prstDash val="solid"/>
                      <a:round/>
                      <a:headEnd type="none" w="med" len="med"/>
                      <a:tailEnd type="none" w="med" len="med"/>
                    </a:lnB>
                    <a:solidFill>
                      <a:srgbClr val="F2F2F2"/>
                    </a:solidFill>
                  </a:tcPr>
                </a:tc>
                <a:tc>
                  <a:txBody>
                    <a:bodyPr/>
                    <a:lstStyle/>
                    <a:p>
                      <a:pPr marR="394335" algn="r">
                        <a:lnSpc>
                          <a:spcPct val="100000"/>
                        </a:lnSpc>
                        <a:spcBef>
                          <a:spcPts val="865"/>
                        </a:spcBef>
                      </a:pPr>
                      <a:r>
                        <a:rPr lang="en-US" sz="1200" b="0" spc="-5" dirty="0">
                          <a:solidFill>
                            <a:srgbClr val="474647"/>
                          </a:solidFill>
                          <a:latin typeface="+mn-lt"/>
                          <a:cs typeface="Noto Sans Light"/>
                        </a:rPr>
                        <a:t>-</a:t>
                      </a:r>
                      <a:endParaRPr sz="1200" b="0" dirty="0">
                        <a:latin typeface="+mn-lt"/>
                        <a:cs typeface="Noto Sans Light"/>
                      </a:endParaRPr>
                    </a:p>
                  </a:txBody>
                  <a:tcPr marL="0" marR="0" marT="109855" marB="0" anchor="b">
                    <a:lnT w="19050">
                      <a:solidFill>
                        <a:srgbClr val="F2F2F2"/>
                      </a:solidFill>
                      <a:prstDash val="solid"/>
                    </a:lnT>
                    <a:lnB w="6350">
                      <a:solidFill>
                        <a:srgbClr val="EA7600"/>
                      </a:solidFill>
                      <a:prstDash val="solid"/>
                    </a:lnB>
                  </a:tcPr>
                </a:tc>
                <a:tc>
                  <a:txBody>
                    <a:bodyPr/>
                    <a:lstStyle/>
                    <a:p>
                      <a:pPr marL="148590" algn="ctr">
                        <a:lnSpc>
                          <a:spcPct val="100000"/>
                        </a:lnSpc>
                        <a:spcBef>
                          <a:spcPts val="790"/>
                        </a:spcBef>
                      </a:pPr>
                      <a:r>
                        <a:rPr lang="en-US" sz="1200" b="0" spc="-5" dirty="0">
                          <a:solidFill>
                            <a:srgbClr val="474647"/>
                          </a:solidFill>
                          <a:latin typeface="+mn-lt"/>
                          <a:cs typeface="Noto Sans Light"/>
                        </a:rPr>
                        <a:t>-</a:t>
                      </a:r>
                      <a:endParaRPr sz="1200" b="0" dirty="0">
                        <a:latin typeface="+mn-lt"/>
                        <a:cs typeface="Noto Sans Light"/>
                      </a:endParaRPr>
                    </a:p>
                  </a:txBody>
                  <a:tcPr marL="0" marR="0" marT="100330" marB="0" anchor="b">
                    <a:lnT w="19050">
                      <a:solidFill>
                        <a:srgbClr val="F2F2F2"/>
                      </a:solidFill>
                      <a:prstDash val="solid"/>
                    </a:lnT>
                    <a:lnB w="6350" cap="flat" cmpd="sng" algn="ctr">
                      <a:solidFill>
                        <a:srgbClr val="EA7600"/>
                      </a:solidFill>
                      <a:prstDash val="solid"/>
                      <a:round/>
                      <a:headEnd type="none" w="med" len="med"/>
                      <a:tailEnd type="none" w="med" len="med"/>
                    </a:lnB>
                  </a:tcPr>
                </a:tc>
                <a:extLst>
                  <a:ext uri="{0D108BD9-81ED-4DB2-BD59-A6C34878D82A}">
                    <a16:rowId xmlns:a16="http://schemas.microsoft.com/office/drawing/2014/main" val="10000"/>
                  </a:ext>
                </a:extLst>
              </a:tr>
              <a:tr h="309245">
                <a:tc>
                  <a:txBody>
                    <a:bodyPr/>
                    <a:lstStyle/>
                    <a:p>
                      <a:pPr algn="ctr">
                        <a:lnSpc>
                          <a:spcPct val="100000"/>
                        </a:lnSpc>
                        <a:spcBef>
                          <a:spcPts val="910"/>
                        </a:spcBef>
                      </a:pPr>
                      <a:r>
                        <a:rPr lang="en-US" sz="1200" b="1" spc="-5" dirty="0">
                          <a:solidFill>
                            <a:srgbClr val="474647"/>
                          </a:solidFill>
                          <a:latin typeface="+mn-lt"/>
                          <a:cs typeface="Noto Sans Light"/>
                        </a:rPr>
                        <a:t>-</a:t>
                      </a:r>
                      <a:endParaRPr sz="1200" b="1" dirty="0">
                        <a:latin typeface="+mn-lt"/>
                        <a:cs typeface="Noto Sans Light"/>
                      </a:endParaRPr>
                    </a:p>
                  </a:txBody>
                  <a:tcPr marL="0" marR="0" marT="115570" marB="0" anchor="b">
                    <a:lnT w="6350" cap="flat" cmpd="sng" algn="ctr">
                      <a:solidFill>
                        <a:srgbClr val="EA7600"/>
                      </a:solidFill>
                      <a:prstDash val="solid"/>
                      <a:round/>
                      <a:headEnd type="none" w="med" len="med"/>
                      <a:tailEnd type="none" w="med" len="med"/>
                    </a:lnT>
                    <a:lnB w="6350" cap="flat" cmpd="sng" algn="ctr">
                      <a:solidFill>
                        <a:srgbClr val="EA7600"/>
                      </a:solidFill>
                      <a:prstDash val="solid"/>
                      <a:round/>
                      <a:headEnd type="none" w="med" len="med"/>
                      <a:tailEnd type="none" w="med" len="med"/>
                    </a:lnB>
                    <a:solidFill>
                      <a:srgbClr val="F2F2F2"/>
                    </a:solidFill>
                  </a:tcPr>
                </a:tc>
                <a:tc>
                  <a:txBody>
                    <a:bodyPr/>
                    <a:lstStyle/>
                    <a:p>
                      <a:pPr marR="377190" algn="r">
                        <a:lnSpc>
                          <a:spcPct val="100000"/>
                        </a:lnSpc>
                        <a:spcBef>
                          <a:spcPts val="910"/>
                        </a:spcBef>
                      </a:pPr>
                      <a:r>
                        <a:rPr lang="en-US" sz="1200" b="0" spc="-5" dirty="0">
                          <a:solidFill>
                            <a:srgbClr val="474647"/>
                          </a:solidFill>
                          <a:latin typeface="+mn-lt"/>
                          <a:cs typeface="Noto Sans Light"/>
                        </a:rPr>
                        <a:t>-</a:t>
                      </a:r>
                      <a:endParaRPr sz="1200" b="0" dirty="0">
                        <a:latin typeface="+mn-lt"/>
                        <a:cs typeface="Noto Sans Light"/>
                      </a:endParaRPr>
                    </a:p>
                  </a:txBody>
                  <a:tcPr marL="0" marR="0" marT="115570" marB="0" anchor="b">
                    <a:lnT w="6350">
                      <a:solidFill>
                        <a:srgbClr val="EA7600"/>
                      </a:solidFill>
                      <a:prstDash val="solid"/>
                    </a:lnT>
                    <a:lnB w="6350">
                      <a:solidFill>
                        <a:srgbClr val="EA7600"/>
                      </a:solidFill>
                      <a:prstDash val="solid"/>
                    </a:lnB>
                  </a:tcPr>
                </a:tc>
                <a:tc>
                  <a:txBody>
                    <a:bodyPr/>
                    <a:lstStyle/>
                    <a:p>
                      <a:pPr marL="148590" algn="ctr">
                        <a:lnSpc>
                          <a:spcPct val="100000"/>
                        </a:lnSpc>
                        <a:spcBef>
                          <a:spcPts val="835"/>
                        </a:spcBef>
                      </a:pPr>
                      <a:r>
                        <a:rPr lang="en-US" sz="1200" b="0" spc="-5" dirty="0">
                          <a:solidFill>
                            <a:srgbClr val="474647"/>
                          </a:solidFill>
                          <a:latin typeface="+mn-lt"/>
                          <a:cs typeface="Noto Sans Light"/>
                        </a:rPr>
                        <a:t>-</a:t>
                      </a:r>
                      <a:endParaRPr sz="1200" b="0" dirty="0">
                        <a:latin typeface="+mn-lt"/>
                        <a:cs typeface="Noto Sans Light"/>
                      </a:endParaRPr>
                    </a:p>
                  </a:txBody>
                  <a:tcPr marL="0" marR="0" marT="106045" marB="0" anchor="b">
                    <a:lnT w="6350" cap="flat" cmpd="sng" algn="ctr">
                      <a:solidFill>
                        <a:srgbClr val="EA7600"/>
                      </a:solidFill>
                      <a:prstDash val="solid"/>
                      <a:round/>
                      <a:headEnd type="none" w="med" len="med"/>
                      <a:tailEnd type="none" w="med" len="med"/>
                    </a:lnT>
                    <a:lnB w="6350" cap="flat" cmpd="sng" algn="ctr">
                      <a:solidFill>
                        <a:srgbClr val="EA7600"/>
                      </a:solidFill>
                      <a:prstDash val="solid"/>
                      <a:round/>
                      <a:headEnd type="none" w="med" len="med"/>
                      <a:tailEnd type="none" w="med" len="med"/>
                    </a:lnB>
                  </a:tcPr>
                </a:tc>
                <a:extLst>
                  <a:ext uri="{0D108BD9-81ED-4DB2-BD59-A6C34878D82A}">
                    <a16:rowId xmlns:a16="http://schemas.microsoft.com/office/drawing/2014/main" val="10001"/>
                  </a:ext>
                </a:extLst>
              </a:tr>
              <a:tr h="309245">
                <a:tc>
                  <a:txBody>
                    <a:bodyPr/>
                    <a:lstStyle/>
                    <a:p>
                      <a:pPr marR="635" algn="ctr">
                        <a:lnSpc>
                          <a:spcPct val="100000"/>
                        </a:lnSpc>
                        <a:spcBef>
                          <a:spcPts val="910"/>
                        </a:spcBef>
                      </a:pPr>
                      <a:r>
                        <a:rPr lang="en-US" sz="1200" b="1" spc="-5" dirty="0">
                          <a:solidFill>
                            <a:srgbClr val="474647"/>
                          </a:solidFill>
                          <a:latin typeface="+mn-lt"/>
                          <a:cs typeface="Noto Sans Light"/>
                        </a:rPr>
                        <a:t>(0.5)</a:t>
                      </a:r>
                      <a:endParaRPr sz="1200" b="1" dirty="0">
                        <a:latin typeface="+mn-lt"/>
                        <a:cs typeface="Noto Sans Light"/>
                      </a:endParaRPr>
                    </a:p>
                  </a:txBody>
                  <a:tcPr marL="0" marR="0" marT="115570" marB="0" anchor="b">
                    <a:lnT w="6350" cap="flat" cmpd="sng" algn="ctr">
                      <a:solidFill>
                        <a:srgbClr val="EA7600"/>
                      </a:solidFill>
                      <a:prstDash val="solid"/>
                      <a:round/>
                      <a:headEnd type="none" w="med" len="med"/>
                      <a:tailEnd type="none" w="med" len="med"/>
                    </a:lnT>
                    <a:lnB w="6350" cap="flat" cmpd="sng" algn="ctr">
                      <a:solidFill>
                        <a:srgbClr val="EA7600"/>
                      </a:solidFill>
                      <a:prstDash val="solid"/>
                      <a:round/>
                      <a:headEnd type="none" w="med" len="med"/>
                      <a:tailEnd type="none" w="med" len="med"/>
                    </a:lnB>
                    <a:solidFill>
                      <a:srgbClr val="F2F2F2"/>
                    </a:solidFill>
                  </a:tcPr>
                </a:tc>
                <a:tc>
                  <a:txBody>
                    <a:bodyPr/>
                    <a:lstStyle/>
                    <a:p>
                      <a:pPr marL="0" marR="418465" lvl="0" indent="0" algn="r" defTabSz="914400" rtl="0" eaLnBrk="1" fontAlgn="auto" latinLnBrk="0" hangingPunct="1">
                        <a:lnSpc>
                          <a:spcPct val="100000"/>
                        </a:lnSpc>
                        <a:spcBef>
                          <a:spcPts val="910"/>
                        </a:spcBef>
                        <a:spcAft>
                          <a:spcPts val="0"/>
                        </a:spcAft>
                        <a:buClrTx/>
                        <a:buSzTx/>
                        <a:buFontTx/>
                        <a:buNone/>
                        <a:tabLst/>
                        <a:defRPr/>
                      </a:pPr>
                      <a:r>
                        <a:rPr lang="en-US" sz="1200" b="1" spc="-5" dirty="0">
                          <a:solidFill>
                            <a:srgbClr val="474647"/>
                          </a:solidFill>
                          <a:latin typeface="+mn-lt"/>
                          <a:cs typeface="Noto Sans Light"/>
                        </a:rPr>
                        <a:t>  (6.7)</a:t>
                      </a:r>
                      <a:endParaRPr lang="en-US" sz="1200" b="1" dirty="0">
                        <a:latin typeface="+mn-lt"/>
                        <a:cs typeface="Noto Sans Light"/>
                      </a:endParaRPr>
                    </a:p>
                  </a:txBody>
                  <a:tcPr marL="0" marR="0" marT="115570" marB="0" anchor="b">
                    <a:lnT w="6350">
                      <a:solidFill>
                        <a:srgbClr val="EA7600"/>
                      </a:solidFill>
                      <a:prstDash val="solid"/>
                    </a:lnT>
                    <a:lnB w="6350" cap="flat" cmpd="sng" algn="ctr">
                      <a:solidFill>
                        <a:srgbClr val="EA7600"/>
                      </a:solidFill>
                      <a:prstDash val="solid"/>
                      <a:round/>
                      <a:headEnd type="none" w="med" len="med"/>
                      <a:tailEnd type="none" w="med" len="med"/>
                    </a:lnB>
                  </a:tcPr>
                </a:tc>
                <a:tc>
                  <a:txBody>
                    <a:bodyPr/>
                    <a:lstStyle/>
                    <a:p>
                      <a:pPr marL="147955" algn="ctr">
                        <a:lnSpc>
                          <a:spcPct val="100000"/>
                        </a:lnSpc>
                        <a:spcBef>
                          <a:spcPts val="835"/>
                        </a:spcBef>
                      </a:pPr>
                      <a:r>
                        <a:rPr lang="en-US" sz="1200" b="0" spc="-5" dirty="0">
                          <a:solidFill>
                            <a:srgbClr val="474647"/>
                          </a:solidFill>
                          <a:latin typeface="+mn-lt"/>
                          <a:cs typeface="Noto Sans Light"/>
                        </a:rPr>
                        <a:t>93</a:t>
                      </a:r>
                      <a:r>
                        <a:rPr sz="1200" b="0" spc="-5" dirty="0">
                          <a:solidFill>
                            <a:srgbClr val="474647"/>
                          </a:solidFill>
                          <a:latin typeface="+mn-lt"/>
                          <a:cs typeface="Noto Sans Light"/>
                        </a:rPr>
                        <a:t>%</a:t>
                      </a:r>
                      <a:endParaRPr sz="1200" b="0" dirty="0">
                        <a:latin typeface="+mn-lt"/>
                        <a:cs typeface="Noto Sans Light"/>
                      </a:endParaRPr>
                    </a:p>
                  </a:txBody>
                  <a:tcPr marL="0" marR="0" marT="106045" marB="0" anchor="b">
                    <a:lnT w="6350" cap="flat" cmpd="sng" algn="ctr">
                      <a:solidFill>
                        <a:srgbClr val="EA7600"/>
                      </a:solidFill>
                      <a:prstDash val="solid"/>
                      <a:round/>
                      <a:headEnd type="none" w="med" len="med"/>
                      <a:tailEnd type="none" w="med" len="med"/>
                    </a:lnT>
                    <a:lnB w="6350" cap="flat" cmpd="sng" algn="ctr">
                      <a:solidFill>
                        <a:srgbClr val="EA7600"/>
                      </a:solidFill>
                      <a:prstDash val="solid"/>
                      <a:round/>
                      <a:headEnd type="none" w="med" len="med"/>
                      <a:tailEnd type="none" w="med" len="med"/>
                    </a:lnB>
                  </a:tcPr>
                </a:tc>
                <a:extLst>
                  <a:ext uri="{0D108BD9-81ED-4DB2-BD59-A6C34878D82A}">
                    <a16:rowId xmlns:a16="http://schemas.microsoft.com/office/drawing/2014/main" val="10002"/>
                  </a:ext>
                </a:extLst>
              </a:tr>
              <a:tr h="309245">
                <a:tc>
                  <a:txBody>
                    <a:bodyPr/>
                    <a:lstStyle/>
                    <a:p>
                      <a:pPr marR="635" algn="ctr">
                        <a:lnSpc>
                          <a:spcPct val="100000"/>
                        </a:lnSpc>
                        <a:spcBef>
                          <a:spcPts val="910"/>
                        </a:spcBef>
                      </a:pPr>
                      <a:r>
                        <a:rPr lang="en-US" sz="1200" b="1" spc="-5" dirty="0">
                          <a:solidFill>
                            <a:srgbClr val="474647"/>
                          </a:solidFill>
                          <a:latin typeface="+mn-lt"/>
                          <a:cs typeface="Noto Sans Light"/>
                        </a:rPr>
                        <a:t>(0.5)</a:t>
                      </a:r>
                      <a:endParaRPr sz="1200" b="1" dirty="0">
                        <a:latin typeface="+mn-lt"/>
                        <a:cs typeface="Noto Sans Light"/>
                      </a:endParaRPr>
                    </a:p>
                  </a:txBody>
                  <a:tcPr marL="0" marR="0" marT="115570" marB="0" anchor="b">
                    <a:lnT w="6350" cap="flat" cmpd="sng" algn="ctr">
                      <a:solidFill>
                        <a:srgbClr val="EA7600"/>
                      </a:solidFill>
                      <a:prstDash val="solid"/>
                      <a:round/>
                      <a:headEnd type="none" w="med" len="med"/>
                      <a:tailEnd type="none" w="med" len="med"/>
                    </a:lnT>
                    <a:lnB w="6350">
                      <a:solidFill>
                        <a:srgbClr val="EA7600"/>
                      </a:solidFill>
                      <a:prstDash val="solid"/>
                    </a:lnB>
                    <a:solidFill>
                      <a:srgbClr val="F2F2F2"/>
                    </a:solidFill>
                  </a:tcPr>
                </a:tc>
                <a:tc>
                  <a:txBody>
                    <a:bodyPr/>
                    <a:lstStyle/>
                    <a:p>
                      <a:pPr marR="418465" algn="r">
                        <a:lnSpc>
                          <a:spcPct val="100000"/>
                        </a:lnSpc>
                        <a:spcBef>
                          <a:spcPts val="910"/>
                        </a:spcBef>
                      </a:pPr>
                      <a:r>
                        <a:rPr lang="en-US" sz="1200" b="1" spc="-5" dirty="0">
                          <a:solidFill>
                            <a:srgbClr val="474647"/>
                          </a:solidFill>
                          <a:latin typeface="+mn-lt"/>
                          <a:cs typeface="Noto Sans Light"/>
                        </a:rPr>
                        <a:t> (6.7)</a:t>
                      </a:r>
                      <a:endParaRPr sz="1200" b="0" dirty="0">
                        <a:latin typeface="+mn-lt"/>
                        <a:cs typeface="Noto Sans Light"/>
                      </a:endParaRPr>
                    </a:p>
                  </a:txBody>
                  <a:tcPr marL="0" marR="0" marT="115570" marB="0" anchor="b">
                    <a:lnT w="6350">
                      <a:solidFill>
                        <a:srgbClr val="EA7600"/>
                      </a:solidFill>
                      <a:prstDash val="solid"/>
                    </a:lnT>
                    <a:lnB w="6350">
                      <a:solidFill>
                        <a:srgbClr val="EA7600"/>
                      </a:solidFill>
                      <a:prstDash val="solid"/>
                    </a:lnB>
                  </a:tcPr>
                </a:tc>
                <a:tc>
                  <a:txBody>
                    <a:bodyPr/>
                    <a:lstStyle/>
                    <a:p>
                      <a:pPr marL="147320" algn="ctr">
                        <a:lnSpc>
                          <a:spcPct val="100000"/>
                        </a:lnSpc>
                        <a:spcBef>
                          <a:spcPts val="1040"/>
                        </a:spcBef>
                      </a:pPr>
                      <a:r>
                        <a:rPr lang="en-US" sz="1200" b="0" spc="-5" dirty="0">
                          <a:solidFill>
                            <a:srgbClr val="232323"/>
                          </a:solidFill>
                          <a:latin typeface="+mn-lt"/>
                          <a:cs typeface="Noto Sans Light"/>
                        </a:rPr>
                        <a:t>93</a:t>
                      </a:r>
                      <a:r>
                        <a:rPr sz="1200" b="0" spc="-5" dirty="0">
                          <a:solidFill>
                            <a:srgbClr val="232323"/>
                          </a:solidFill>
                          <a:latin typeface="+mn-lt"/>
                          <a:cs typeface="Noto Sans Light"/>
                        </a:rPr>
                        <a:t>%</a:t>
                      </a:r>
                      <a:endParaRPr sz="1200" b="0" dirty="0">
                        <a:latin typeface="+mn-lt"/>
                        <a:cs typeface="Noto Sans Light"/>
                      </a:endParaRPr>
                    </a:p>
                  </a:txBody>
                  <a:tcPr marL="0" marR="0" marT="132080" marB="0" anchor="b">
                    <a:lnT w="6350" cap="flat" cmpd="sng" algn="ctr">
                      <a:solidFill>
                        <a:srgbClr val="EA7600"/>
                      </a:solidFill>
                      <a:prstDash val="solid"/>
                      <a:round/>
                      <a:headEnd type="none" w="med" len="med"/>
                      <a:tailEnd type="none" w="med" len="med"/>
                    </a:lnT>
                    <a:lnB w="6350">
                      <a:solidFill>
                        <a:srgbClr val="EA7600"/>
                      </a:solidFill>
                      <a:prstDash val="solid"/>
                    </a:lnB>
                  </a:tcPr>
                </a:tc>
                <a:extLst>
                  <a:ext uri="{0D108BD9-81ED-4DB2-BD59-A6C34878D82A}">
                    <a16:rowId xmlns:a16="http://schemas.microsoft.com/office/drawing/2014/main" val="10003"/>
                  </a:ext>
                </a:extLst>
              </a:tr>
            </a:tbl>
          </a:graphicData>
        </a:graphic>
      </p:graphicFrame>
      <p:graphicFrame>
        <p:nvGraphicFramePr>
          <p:cNvPr id="27" name="object 16">
            <a:extLst>
              <a:ext uri="{FF2B5EF4-FFF2-40B4-BE49-F238E27FC236}">
                <a16:creationId xmlns:a16="http://schemas.microsoft.com/office/drawing/2014/main" id="{A871CC9B-2A9B-1ED6-992A-C508DEBF1C8E}"/>
              </a:ext>
            </a:extLst>
          </p:cNvPr>
          <p:cNvGraphicFramePr>
            <a:graphicFrameLocks noGrp="1"/>
          </p:cNvGraphicFramePr>
          <p:nvPr>
            <p:extLst>
              <p:ext uri="{D42A27DB-BD31-4B8C-83A1-F6EECF244321}">
                <p14:modId xmlns:p14="http://schemas.microsoft.com/office/powerpoint/2010/main" val="2396569973"/>
              </p:ext>
            </p:extLst>
          </p:nvPr>
        </p:nvGraphicFramePr>
        <p:xfrm>
          <a:off x="8113699" y="3104938"/>
          <a:ext cx="2818626" cy="1252220"/>
        </p:xfrm>
        <a:graphic>
          <a:graphicData uri="http://schemas.openxmlformats.org/drawingml/2006/table">
            <a:tbl>
              <a:tblPr firstRow="1" bandRow="1">
                <a:tableStyleId>{2D5ABB26-0587-4C30-8999-92F81FD0307C}</a:tableStyleId>
              </a:tblPr>
              <a:tblGrid>
                <a:gridCol w="982676">
                  <a:extLst>
                    <a:ext uri="{9D8B030D-6E8A-4147-A177-3AD203B41FA5}">
                      <a16:colId xmlns:a16="http://schemas.microsoft.com/office/drawing/2014/main" val="20001"/>
                    </a:ext>
                  </a:extLst>
                </a:gridCol>
                <a:gridCol w="981075">
                  <a:extLst>
                    <a:ext uri="{9D8B030D-6E8A-4147-A177-3AD203B41FA5}">
                      <a16:colId xmlns:a16="http://schemas.microsoft.com/office/drawing/2014/main" val="20002"/>
                    </a:ext>
                  </a:extLst>
                </a:gridCol>
                <a:gridCol w="854875">
                  <a:extLst>
                    <a:ext uri="{9D8B030D-6E8A-4147-A177-3AD203B41FA5}">
                      <a16:colId xmlns:a16="http://schemas.microsoft.com/office/drawing/2014/main" val="20004"/>
                    </a:ext>
                  </a:extLst>
                </a:gridCol>
              </a:tblGrid>
              <a:tr h="309245">
                <a:tc>
                  <a:txBody>
                    <a:bodyPr/>
                    <a:lstStyle/>
                    <a:p>
                      <a:pPr algn="ctr">
                        <a:lnSpc>
                          <a:spcPct val="100000"/>
                        </a:lnSpc>
                        <a:spcBef>
                          <a:spcPts val="865"/>
                        </a:spcBef>
                      </a:pPr>
                      <a:r>
                        <a:rPr lang="en-US" sz="1200" b="1" spc="-5" dirty="0">
                          <a:solidFill>
                            <a:srgbClr val="474647"/>
                          </a:solidFill>
                          <a:latin typeface="+mn-lt"/>
                          <a:cs typeface="Noto Sans Light"/>
                        </a:rPr>
                        <a:t>1,009.2</a:t>
                      </a:r>
                    </a:p>
                  </a:txBody>
                  <a:tcPr marL="0" marR="0" marT="109855" marB="0" anchor="b">
                    <a:lnT w="3175">
                      <a:noFill/>
                      <a:prstDash val="solid"/>
                    </a:lnT>
                    <a:lnB w="6350" cap="flat" cmpd="sng" algn="ctr">
                      <a:solidFill>
                        <a:srgbClr val="EA7600"/>
                      </a:solidFill>
                      <a:prstDash val="solid"/>
                      <a:round/>
                      <a:headEnd type="none" w="med" len="med"/>
                      <a:tailEnd type="none" w="med" len="med"/>
                    </a:lnB>
                    <a:solidFill>
                      <a:srgbClr val="F2F2F2"/>
                    </a:solidFill>
                  </a:tcPr>
                </a:tc>
                <a:tc>
                  <a:txBody>
                    <a:bodyPr/>
                    <a:lstStyle/>
                    <a:p>
                      <a:pPr marR="394335" algn="r">
                        <a:lnSpc>
                          <a:spcPct val="100000"/>
                        </a:lnSpc>
                        <a:spcBef>
                          <a:spcPts val="865"/>
                        </a:spcBef>
                      </a:pPr>
                      <a:r>
                        <a:rPr lang="en-US" sz="1200" b="0" spc="-5" dirty="0">
                          <a:solidFill>
                            <a:srgbClr val="474647"/>
                          </a:solidFill>
                          <a:latin typeface="+mn-lt"/>
                          <a:cs typeface="Noto Sans Light"/>
                        </a:rPr>
                        <a:t>526.9 </a:t>
                      </a:r>
                    </a:p>
                  </a:txBody>
                  <a:tcPr marL="0" marR="0" marT="109855" marB="0" anchor="b">
                    <a:lnT w="19050">
                      <a:solidFill>
                        <a:srgbClr val="F2F2F2"/>
                      </a:solidFill>
                      <a:prstDash val="solid"/>
                    </a:lnT>
                    <a:lnB w="6350" cap="flat" cmpd="sng" algn="ctr">
                      <a:solidFill>
                        <a:srgbClr val="EA7600"/>
                      </a:solidFill>
                      <a:prstDash val="solid"/>
                      <a:round/>
                      <a:headEnd type="none" w="med" len="med"/>
                      <a:tailEnd type="none" w="med" len="med"/>
                    </a:lnB>
                  </a:tcPr>
                </a:tc>
                <a:tc>
                  <a:txBody>
                    <a:bodyPr/>
                    <a:lstStyle/>
                    <a:p>
                      <a:pPr marL="148590" algn="ctr">
                        <a:lnSpc>
                          <a:spcPct val="100000"/>
                        </a:lnSpc>
                        <a:spcBef>
                          <a:spcPts val="790"/>
                        </a:spcBef>
                      </a:pPr>
                      <a:r>
                        <a:rPr lang="en-US" sz="1200" b="0" spc="-5" dirty="0">
                          <a:solidFill>
                            <a:srgbClr val="474647"/>
                          </a:solidFill>
                          <a:latin typeface="+mn-lt"/>
                          <a:cs typeface="Noto Sans Light"/>
                        </a:rPr>
                        <a:t>92%</a:t>
                      </a:r>
                      <a:endParaRPr sz="1200" b="0" dirty="0">
                        <a:latin typeface="+mn-lt"/>
                        <a:cs typeface="Noto Sans Light"/>
                      </a:endParaRPr>
                    </a:p>
                  </a:txBody>
                  <a:tcPr marL="0" marR="0" marT="100330" marB="0" anchor="b">
                    <a:lnT w="19050">
                      <a:solidFill>
                        <a:srgbClr val="F2F2F2"/>
                      </a:solidFill>
                      <a:prstDash val="solid"/>
                    </a:lnT>
                    <a:lnB w="6350" cap="flat" cmpd="sng" algn="ctr">
                      <a:solidFill>
                        <a:srgbClr val="EA7600"/>
                      </a:solidFill>
                      <a:prstDash val="solid"/>
                      <a:round/>
                      <a:headEnd type="none" w="med" len="med"/>
                      <a:tailEnd type="none" w="med" len="med"/>
                    </a:lnB>
                  </a:tcPr>
                </a:tc>
                <a:extLst>
                  <a:ext uri="{0D108BD9-81ED-4DB2-BD59-A6C34878D82A}">
                    <a16:rowId xmlns:a16="http://schemas.microsoft.com/office/drawing/2014/main" val="10000"/>
                  </a:ext>
                </a:extLst>
              </a:tr>
              <a:tr h="309245">
                <a:tc>
                  <a:txBody>
                    <a:bodyPr/>
                    <a:lstStyle/>
                    <a:p>
                      <a:pPr algn="ctr">
                        <a:lnSpc>
                          <a:spcPct val="100000"/>
                        </a:lnSpc>
                        <a:spcBef>
                          <a:spcPts val="910"/>
                        </a:spcBef>
                      </a:pPr>
                      <a:r>
                        <a:rPr lang="en-US" sz="1200" b="1" spc="-5" dirty="0">
                          <a:solidFill>
                            <a:srgbClr val="474647"/>
                          </a:solidFill>
                          <a:latin typeface="+mn-lt"/>
                          <a:cs typeface="Noto Sans Light"/>
                        </a:rPr>
                        <a:t>599.7</a:t>
                      </a:r>
                    </a:p>
                  </a:txBody>
                  <a:tcPr marL="0" marR="0" marT="115570" marB="0" anchor="b">
                    <a:lnT w="6350" cap="flat" cmpd="sng" algn="ctr">
                      <a:solidFill>
                        <a:srgbClr val="EA7600"/>
                      </a:solidFill>
                      <a:prstDash val="solid"/>
                      <a:round/>
                      <a:headEnd type="none" w="med" len="med"/>
                      <a:tailEnd type="none" w="med" len="med"/>
                    </a:lnT>
                    <a:lnB w="6350" cap="flat" cmpd="sng" algn="ctr">
                      <a:solidFill>
                        <a:srgbClr val="EA7600"/>
                      </a:solidFill>
                      <a:prstDash val="solid"/>
                      <a:round/>
                      <a:headEnd type="none" w="med" len="med"/>
                      <a:tailEnd type="none" w="med" len="med"/>
                    </a:lnB>
                    <a:solidFill>
                      <a:srgbClr val="F2F2F2"/>
                    </a:solidFill>
                  </a:tcPr>
                </a:tc>
                <a:tc>
                  <a:txBody>
                    <a:bodyPr/>
                    <a:lstStyle/>
                    <a:p>
                      <a:pPr marR="377190" algn="r">
                        <a:lnSpc>
                          <a:spcPct val="100000"/>
                        </a:lnSpc>
                        <a:spcBef>
                          <a:spcPts val="910"/>
                        </a:spcBef>
                      </a:pPr>
                      <a:r>
                        <a:rPr lang="en-US" sz="1200" b="0" spc="-5" dirty="0">
                          <a:solidFill>
                            <a:srgbClr val="474647"/>
                          </a:solidFill>
                          <a:latin typeface="+mn-lt"/>
                          <a:cs typeface="Noto Sans Light"/>
                        </a:rPr>
                        <a:t>284.7</a:t>
                      </a:r>
                      <a:endParaRPr sz="1200" b="0" dirty="0">
                        <a:latin typeface="+mn-lt"/>
                        <a:cs typeface="Noto Sans Light"/>
                      </a:endParaRPr>
                    </a:p>
                  </a:txBody>
                  <a:tcPr marL="0" marR="0" marT="115570" marB="0" anchor="b">
                    <a:lnT w="6350" cap="flat" cmpd="sng" algn="ctr">
                      <a:solidFill>
                        <a:srgbClr val="EA7600"/>
                      </a:solidFill>
                      <a:prstDash val="solid"/>
                      <a:round/>
                      <a:headEnd type="none" w="med" len="med"/>
                      <a:tailEnd type="none" w="med" len="med"/>
                    </a:lnT>
                    <a:lnB w="6350">
                      <a:solidFill>
                        <a:srgbClr val="EA7600"/>
                      </a:solidFill>
                      <a:prstDash val="solid"/>
                    </a:lnB>
                  </a:tcPr>
                </a:tc>
                <a:tc>
                  <a:txBody>
                    <a:bodyPr/>
                    <a:lstStyle/>
                    <a:p>
                      <a:pPr marL="148590" algn="ctr">
                        <a:lnSpc>
                          <a:spcPct val="100000"/>
                        </a:lnSpc>
                        <a:spcBef>
                          <a:spcPts val="835"/>
                        </a:spcBef>
                      </a:pPr>
                      <a:r>
                        <a:rPr lang="en-US" sz="1200" b="0" spc="-5" dirty="0">
                          <a:solidFill>
                            <a:srgbClr val="474647"/>
                          </a:solidFill>
                          <a:latin typeface="+mn-lt"/>
                          <a:cs typeface="Noto Sans Light"/>
                        </a:rPr>
                        <a:t>111%</a:t>
                      </a:r>
                      <a:endParaRPr sz="1200" b="0" dirty="0">
                        <a:latin typeface="+mn-lt"/>
                        <a:cs typeface="Noto Sans Light"/>
                      </a:endParaRPr>
                    </a:p>
                  </a:txBody>
                  <a:tcPr marL="0" marR="0" marT="106045" marB="0" anchor="b">
                    <a:lnT w="6350" cap="flat" cmpd="sng" algn="ctr">
                      <a:solidFill>
                        <a:srgbClr val="EA7600"/>
                      </a:solidFill>
                      <a:prstDash val="solid"/>
                      <a:round/>
                      <a:headEnd type="none" w="med" len="med"/>
                      <a:tailEnd type="none" w="med" len="med"/>
                    </a:lnT>
                    <a:lnB w="6350" cap="flat" cmpd="sng" algn="ctr">
                      <a:solidFill>
                        <a:srgbClr val="EA7600"/>
                      </a:solidFill>
                      <a:prstDash val="solid"/>
                      <a:round/>
                      <a:headEnd type="none" w="med" len="med"/>
                      <a:tailEnd type="none" w="med" len="med"/>
                    </a:lnB>
                  </a:tcPr>
                </a:tc>
                <a:extLst>
                  <a:ext uri="{0D108BD9-81ED-4DB2-BD59-A6C34878D82A}">
                    <a16:rowId xmlns:a16="http://schemas.microsoft.com/office/drawing/2014/main" val="10001"/>
                  </a:ext>
                </a:extLst>
              </a:tr>
              <a:tr h="309245">
                <a:tc>
                  <a:txBody>
                    <a:bodyPr/>
                    <a:lstStyle/>
                    <a:p>
                      <a:pPr marR="635" algn="ctr">
                        <a:lnSpc>
                          <a:spcPct val="100000"/>
                        </a:lnSpc>
                        <a:spcBef>
                          <a:spcPts val="910"/>
                        </a:spcBef>
                      </a:pPr>
                      <a:r>
                        <a:rPr lang="en-US" sz="1200" b="1" spc="-5" dirty="0">
                          <a:solidFill>
                            <a:srgbClr val="474647"/>
                          </a:solidFill>
                          <a:latin typeface="+mn-lt"/>
                          <a:cs typeface="Noto Sans Light"/>
                        </a:rPr>
                        <a:t>179.6</a:t>
                      </a:r>
                      <a:endParaRPr sz="1200" b="1" dirty="0">
                        <a:latin typeface="+mn-lt"/>
                        <a:cs typeface="Noto Sans Light"/>
                      </a:endParaRPr>
                    </a:p>
                  </a:txBody>
                  <a:tcPr marL="0" marR="0" marT="115570" marB="0" anchor="b">
                    <a:lnT w="6350" cap="flat" cmpd="sng" algn="ctr">
                      <a:solidFill>
                        <a:srgbClr val="EA7600"/>
                      </a:solidFill>
                      <a:prstDash val="solid"/>
                      <a:round/>
                      <a:headEnd type="none" w="med" len="med"/>
                      <a:tailEnd type="none" w="med" len="med"/>
                    </a:lnT>
                    <a:lnB w="6350" cap="flat" cmpd="sng" algn="ctr">
                      <a:solidFill>
                        <a:srgbClr val="EA7600"/>
                      </a:solidFill>
                      <a:prstDash val="solid"/>
                      <a:round/>
                      <a:headEnd type="none" w="med" len="med"/>
                      <a:tailEnd type="none" w="med" len="med"/>
                    </a:lnB>
                    <a:solidFill>
                      <a:srgbClr val="F2F2F2"/>
                    </a:solidFill>
                  </a:tcPr>
                </a:tc>
                <a:tc>
                  <a:txBody>
                    <a:bodyPr/>
                    <a:lstStyle/>
                    <a:p>
                      <a:pPr marR="418465" algn="r">
                        <a:lnSpc>
                          <a:spcPct val="100000"/>
                        </a:lnSpc>
                        <a:spcBef>
                          <a:spcPts val="910"/>
                        </a:spcBef>
                      </a:pPr>
                      <a:r>
                        <a:rPr lang="en-US" sz="1200" b="0" spc="-5" dirty="0">
                          <a:solidFill>
                            <a:srgbClr val="474647"/>
                          </a:solidFill>
                          <a:latin typeface="+mn-lt"/>
                          <a:cs typeface="Noto Sans Light"/>
                        </a:rPr>
                        <a:t>116.8</a:t>
                      </a:r>
                      <a:endParaRPr sz="1200" b="0" dirty="0">
                        <a:latin typeface="+mn-lt"/>
                        <a:cs typeface="Noto Sans Light"/>
                      </a:endParaRPr>
                    </a:p>
                  </a:txBody>
                  <a:tcPr marL="0" marR="0" marT="115570" marB="0" anchor="b">
                    <a:lnT w="6350" cap="flat" cmpd="sng" algn="ctr">
                      <a:solidFill>
                        <a:srgbClr val="EA7600"/>
                      </a:solidFill>
                      <a:prstDash val="solid"/>
                      <a:round/>
                      <a:headEnd type="none" w="med" len="med"/>
                      <a:tailEnd type="none" w="med" len="med"/>
                    </a:lnT>
                    <a:lnB w="6350">
                      <a:solidFill>
                        <a:srgbClr val="EA7600"/>
                      </a:solidFill>
                      <a:prstDash val="solid"/>
                    </a:lnB>
                  </a:tcPr>
                </a:tc>
                <a:tc>
                  <a:txBody>
                    <a:bodyPr/>
                    <a:lstStyle/>
                    <a:p>
                      <a:pPr marL="147955" algn="ctr">
                        <a:lnSpc>
                          <a:spcPct val="100000"/>
                        </a:lnSpc>
                        <a:spcBef>
                          <a:spcPts val="835"/>
                        </a:spcBef>
                      </a:pPr>
                      <a:r>
                        <a:rPr lang="en-US" sz="1200" b="0" spc="-5" dirty="0">
                          <a:solidFill>
                            <a:srgbClr val="474647"/>
                          </a:solidFill>
                          <a:latin typeface="+mn-lt"/>
                          <a:cs typeface="Noto Sans Light"/>
                        </a:rPr>
                        <a:t>54%</a:t>
                      </a:r>
                      <a:endParaRPr sz="1200" b="0" dirty="0">
                        <a:latin typeface="+mn-lt"/>
                        <a:cs typeface="Noto Sans Light"/>
                      </a:endParaRPr>
                    </a:p>
                  </a:txBody>
                  <a:tcPr marL="0" marR="0" marT="106045" marB="0" anchor="b">
                    <a:lnT w="6350" cap="flat" cmpd="sng" algn="ctr">
                      <a:solidFill>
                        <a:srgbClr val="EA7600"/>
                      </a:solidFill>
                      <a:prstDash val="solid"/>
                      <a:round/>
                      <a:headEnd type="none" w="med" len="med"/>
                      <a:tailEnd type="none" w="med" len="med"/>
                    </a:lnT>
                    <a:lnB w="6350" cap="flat" cmpd="sng" algn="ctr">
                      <a:solidFill>
                        <a:srgbClr val="EA7600"/>
                      </a:solidFill>
                      <a:prstDash val="solid"/>
                      <a:round/>
                      <a:headEnd type="none" w="med" len="med"/>
                      <a:tailEnd type="none" w="med" len="med"/>
                    </a:lnB>
                  </a:tcPr>
                </a:tc>
                <a:extLst>
                  <a:ext uri="{0D108BD9-81ED-4DB2-BD59-A6C34878D82A}">
                    <a16:rowId xmlns:a16="http://schemas.microsoft.com/office/drawing/2014/main" val="10002"/>
                  </a:ext>
                </a:extLst>
              </a:tr>
              <a:tr h="309245">
                <a:tc>
                  <a:txBody>
                    <a:bodyPr/>
                    <a:lstStyle/>
                    <a:p>
                      <a:pPr algn="ctr">
                        <a:lnSpc>
                          <a:spcPct val="100000"/>
                        </a:lnSpc>
                        <a:spcBef>
                          <a:spcPts val="1115"/>
                        </a:spcBef>
                      </a:pPr>
                      <a:r>
                        <a:rPr lang="en-US" sz="1200" b="1" spc="-5" dirty="0">
                          <a:solidFill>
                            <a:srgbClr val="474647"/>
                          </a:solidFill>
                          <a:latin typeface="+mn-lt"/>
                          <a:cs typeface="Noto Sans"/>
                        </a:rPr>
                        <a:t>110.1</a:t>
                      </a:r>
                      <a:endParaRPr sz="1200" b="1" dirty="0">
                        <a:latin typeface="+mn-lt"/>
                        <a:cs typeface="Noto Sans"/>
                      </a:endParaRPr>
                    </a:p>
                  </a:txBody>
                  <a:tcPr marL="0" marR="0" marT="141605" marB="0" anchor="b">
                    <a:lnT w="6350" cap="flat" cmpd="sng" algn="ctr">
                      <a:solidFill>
                        <a:srgbClr val="EA7600"/>
                      </a:solidFill>
                      <a:prstDash val="solid"/>
                      <a:round/>
                      <a:headEnd type="none" w="med" len="med"/>
                      <a:tailEnd type="none" w="med" len="med"/>
                    </a:lnT>
                    <a:lnB w="6350">
                      <a:solidFill>
                        <a:srgbClr val="EA7600"/>
                      </a:solidFill>
                      <a:prstDash val="solid"/>
                    </a:lnB>
                    <a:solidFill>
                      <a:srgbClr val="F2F2F2"/>
                    </a:solidFill>
                  </a:tcPr>
                </a:tc>
                <a:tc>
                  <a:txBody>
                    <a:bodyPr/>
                    <a:lstStyle/>
                    <a:p>
                      <a:pPr marR="413384" algn="r">
                        <a:lnSpc>
                          <a:spcPct val="100000"/>
                        </a:lnSpc>
                        <a:spcBef>
                          <a:spcPts val="1115"/>
                        </a:spcBef>
                      </a:pPr>
                      <a:r>
                        <a:rPr lang="en-US" sz="1200" b="0" spc="-5" dirty="0">
                          <a:solidFill>
                            <a:srgbClr val="474647"/>
                          </a:solidFill>
                          <a:latin typeface="+mn-lt"/>
                          <a:cs typeface="Noto Sans"/>
                        </a:rPr>
                        <a:t>82.0</a:t>
                      </a:r>
                      <a:endParaRPr sz="1200" b="0" dirty="0">
                        <a:latin typeface="+mn-lt"/>
                        <a:cs typeface="Noto Sans"/>
                      </a:endParaRPr>
                    </a:p>
                  </a:txBody>
                  <a:tcPr marL="0" marR="0" marT="141605" marB="0" anchor="b">
                    <a:lnT w="6350">
                      <a:solidFill>
                        <a:srgbClr val="EA7600"/>
                      </a:solidFill>
                      <a:prstDash val="solid"/>
                    </a:lnT>
                    <a:lnB w="6350">
                      <a:solidFill>
                        <a:srgbClr val="EA7600"/>
                      </a:solidFill>
                      <a:prstDash val="solid"/>
                    </a:lnB>
                  </a:tcPr>
                </a:tc>
                <a:tc>
                  <a:txBody>
                    <a:bodyPr/>
                    <a:lstStyle/>
                    <a:p>
                      <a:pPr marL="147320" algn="ctr">
                        <a:lnSpc>
                          <a:spcPct val="100000"/>
                        </a:lnSpc>
                        <a:spcBef>
                          <a:spcPts val="1040"/>
                        </a:spcBef>
                      </a:pPr>
                      <a:r>
                        <a:rPr lang="en-US" sz="1200" b="0" spc="-5" dirty="0">
                          <a:solidFill>
                            <a:srgbClr val="232323"/>
                          </a:solidFill>
                          <a:latin typeface="+mn-lt"/>
                          <a:cs typeface="Noto Sans Light"/>
                        </a:rPr>
                        <a:t>34%</a:t>
                      </a:r>
                      <a:endParaRPr sz="1200" b="0" dirty="0">
                        <a:latin typeface="+mn-lt"/>
                        <a:cs typeface="Noto Sans Light"/>
                      </a:endParaRPr>
                    </a:p>
                  </a:txBody>
                  <a:tcPr marL="0" marR="0" marT="132080" marB="0" anchor="b">
                    <a:lnT w="6350" cap="flat" cmpd="sng" algn="ctr">
                      <a:solidFill>
                        <a:srgbClr val="EA7600"/>
                      </a:solidFill>
                      <a:prstDash val="solid"/>
                      <a:round/>
                      <a:headEnd type="none" w="med" len="med"/>
                      <a:tailEnd type="none" w="med" len="med"/>
                    </a:lnT>
                    <a:lnB w="6350">
                      <a:solidFill>
                        <a:srgbClr val="EA7600"/>
                      </a:solidFill>
                      <a:prstDash val="solid"/>
                    </a:lnB>
                  </a:tcPr>
                </a:tc>
                <a:extLst>
                  <a:ext uri="{0D108BD9-81ED-4DB2-BD59-A6C34878D82A}">
                    <a16:rowId xmlns:a16="http://schemas.microsoft.com/office/drawing/2014/main" val="10003"/>
                  </a:ext>
                </a:extLst>
              </a:tr>
            </a:tbl>
          </a:graphicData>
        </a:graphic>
      </p:graphicFrame>
      <p:graphicFrame>
        <p:nvGraphicFramePr>
          <p:cNvPr id="28" name="object 2">
            <a:extLst>
              <a:ext uri="{FF2B5EF4-FFF2-40B4-BE49-F238E27FC236}">
                <a16:creationId xmlns:a16="http://schemas.microsoft.com/office/drawing/2014/main" id="{05C2C097-6292-4610-137C-60D120D1C9F9}"/>
              </a:ext>
            </a:extLst>
          </p:cNvPr>
          <p:cNvGraphicFramePr>
            <a:graphicFrameLocks noGrp="1"/>
          </p:cNvGraphicFramePr>
          <p:nvPr>
            <p:extLst>
              <p:ext uri="{D42A27DB-BD31-4B8C-83A1-F6EECF244321}">
                <p14:modId xmlns:p14="http://schemas.microsoft.com/office/powerpoint/2010/main" val="614714689"/>
              </p:ext>
            </p:extLst>
          </p:nvPr>
        </p:nvGraphicFramePr>
        <p:xfrm>
          <a:off x="5196937" y="2743109"/>
          <a:ext cx="2804532" cy="293079"/>
        </p:xfrm>
        <a:graphic>
          <a:graphicData uri="http://schemas.openxmlformats.org/drawingml/2006/table">
            <a:tbl>
              <a:tblPr firstRow="1" bandRow="1">
                <a:tableStyleId>{2D5ABB26-0587-4C30-8999-92F81FD0307C}</a:tableStyleId>
              </a:tblPr>
              <a:tblGrid>
                <a:gridCol w="931191">
                  <a:extLst>
                    <a:ext uri="{9D8B030D-6E8A-4147-A177-3AD203B41FA5}">
                      <a16:colId xmlns:a16="http://schemas.microsoft.com/office/drawing/2014/main" val="20000"/>
                    </a:ext>
                  </a:extLst>
                </a:gridCol>
                <a:gridCol w="942151">
                  <a:extLst>
                    <a:ext uri="{9D8B030D-6E8A-4147-A177-3AD203B41FA5}">
                      <a16:colId xmlns:a16="http://schemas.microsoft.com/office/drawing/2014/main" val="20001"/>
                    </a:ext>
                  </a:extLst>
                </a:gridCol>
                <a:gridCol w="931190">
                  <a:extLst>
                    <a:ext uri="{9D8B030D-6E8A-4147-A177-3AD203B41FA5}">
                      <a16:colId xmlns:a16="http://schemas.microsoft.com/office/drawing/2014/main" val="20003"/>
                    </a:ext>
                  </a:extLst>
                </a:gridCol>
              </a:tblGrid>
              <a:tr h="293079">
                <a:tc>
                  <a:txBody>
                    <a:bodyPr/>
                    <a:lstStyle/>
                    <a:p>
                      <a:pPr marL="255270">
                        <a:lnSpc>
                          <a:spcPct val="100000"/>
                        </a:lnSpc>
                        <a:spcBef>
                          <a:spcPts val="325"/>
                        </a:spcBef>
                      </a:pPr>
                      <a:r>
                        <a:rPr lang="en-US" sz="1100" b="1" dirty="0">
                          <a:solidFill>
                            <a:schemeClr val="tx1"/>
                          </a:solidFill>
                          <a:latin typeface="Noto Sans"/>
                          <a:cs typeface="Noto Sans"/>
                        </a:rPr>
                        <a:t>9M 2023</a:t>
                      </a:r>
                      <a:endParaRPr sz="1100" dirty="0">
                        <a:solidFill>
                          <a:schemeClr val="tx1"/>
                        </a:solidFill>
                        <a:latin typeface="Noto Sans"/>
                        <a:cs typeface="Noto Sans"/>
                      </a:endParaRPr>
                    </a:p>
                  </a:txBody>
                  <a:tcPr marL="0" marR="0" marT="41275" marB="0">
                    <a:lnR w="28575">
                      <a:solidFill>
                        <a:srgbClr val="FFFFFF"/>
                      </a:solidFill>
                      <a:prstDash val="solid"/>
                    </a:lnR>
                    <a:solidFill>
                      <a:srgbClr val="FFC000"/>
                    </a:solidFill>
                  </a:tcPr>
                </a:tc>
                <a:tc>
                  <a:txBody>
                    <a:bodyPr/>
                    <a:lstStyle/>
                    <a:p>
                      <a:pPr marL="329565" algn="l">
                        <a:lnSpc>
                          <a:spcPct val="100000"/>
                        </a:lnSpc>
                        <a:spcBef>
                          <a:spcPts val="325"/>
                        </a:spcBef>
                      </a:pPr>
                      <a:r>
                        <a:rPr lang="en-US" sz="1100" b="1" dirty="0">
                          <a:solidFill>
                            <a:schemeClr val="tx1"/>
                          </a:solidFill>
                          <a:latin typeface="Noto Sans"/>
                          <a:cs typeface="Noto Sans"/>
                        </a:rPr>
                        <a:t>9M 2022</a:t>
                      </a:r>
                      <a:endParaRPr sz="1100" dirty="0">
                        <a:solidFill>
                          <a:schemeClr val="tx1"/>
                        </a:solidFill>
                        <a:latin typeface="Noto Sans"/>
                        <a:cs typeface="Noto Sans"/>
                      </a:endParaRPr>
                    </a:p>
                  </a:txBody>
                  <a:tcPr marL="0" marR="0" marT="41275" marB="0">
                    <a:lnL w="28575">
                      <a:solidFill>
                        <a:srgbClr val="FFFFFF"/>
                      </a:solidFill>
                      <a:prstDash val="solid"/>
                    </a:lnL>
                    <a:lnR w="28575">
                      <a:solidFill>
                        <a:srgbClr val="FFFFFF"/>
                      </a:solidFill>
                      <a:prstDash val="solid"/>
                    </a:lnR>
                    <a:solidFill>
                      <a:srgbClr val="FFC000"/>
                    </a:solidFill>
                  </a:tcPr>
                </a:tc>
                <a:tc>
                  <a:txBody>
                    <a:bodyPr/>
                    <a:lstStyle/>
                    <a:p>
                      <a:pPr marL="21590" algn="ctr">
                        <a:lnSpc>
                          <a:spcPct val="100000"/>
                        </a:lnSpc>
                        <a:spcBef>
                          <a:spcPts val="325"/>
                        </a:spcBef>
                      </a:pPr>
                      <a:r>
                        <a:rPr sz="1200" b="1" dirty="0">
                          <a:solidFill>
                            <a:schemeClr val="tx1"/>
                          </a:solidFill>
                          <a:latin typeface="Noto Sans"/>
                          <a:cs typeface="Noto Sans"/>
                        </a:rPr>
                        <a:t>%</a:t>
                      </a:r>
                      <a:endParaRPr sz="1200" dirty="0">
                        <a:solidFill>
                          <a:schemeClr val="tx1"/>
                        </a:solidFill>
                        <a:latin typeface="Noto Sans"/>
                        <a:cs typeface="Noto Sans"/>
                      </a:endParaRPr>
                    </a:p>
                  </a:txBody>
                  <a:tcPr marL="0" marR="0" marT="41275" marB="0">
                    <a:lnL w="28575" cap="flat" cmpd="sng" algn="ctr">
                      <a:solidFill>
                        <a:srgbClr val="FFFFFF"/>
                      </a:solidFill>
                      <a:prstDash val="solid"/>
                      <a:round/>
                      <a:headEnd type="none" w="med" len="med"/>
                      <a:tailEnd type="none" w="med" len="med"/>
                    </a:lnL>
                    <a:solidFill>
                      <a:srgbClr val="FFC000"/>
                    </a:solidFill>
                  </a:tcPr>
                </a:tc>
                <a:extLst>
                  <a:ext uri="{0D108BD9-81ED-4DB2-BD59-A6C34878D82A}">
                    <a16:rowId xmlns:a16="http://schemas.microsoft.com/office/drawing/2014/main" val="10000"/>
                  </a:ext>
                </a:extLst>
              </a:tr>
            </a:tbl>
          </a:graphicData>
        </a:graphic>
      </p:graphicFrame>
      <p:graphicFrame>
        <p:nvGraphicFramePr>
          <p:cNvPr id="33" name="object 2">
            <a:extLst>
              <a:ext uri="{FF2B5EF4-FFF2-40B4-BE49-F238E27FC236}">
                <a16:creationId xmlns:a16="http://schemas.microsoft.com/office/drawing/2014/main" id="{63BFE613-1315-31E8-A5C4-B8A049D913E2}"/>
              </a:ext>
            </a:extLst>
          </p:cNvPr>
          <p:cNvGraphicFramePr>
            <a:graphicFrameLocks noGrp="1"/>
          </p:cNvGraphicFramePr>
          <p:nvPr>
            <p:extLst>
              <p:ext uri="{D42A27DB-BD31-4B8C-83A1-F6EECF244321}">
                <p14:modId xmlns:p14="http://schemas.microsoft.com/office/powerpoint/2010/main" val="2594835785"/>
              </p:ext>
            </p:extLst>
          </p:nvPr>
        </p:nvGraphicFramePr>
        <p:xfrm>
          <a:off x="8120746" y="2734171"/>
          <a:ext cx="2804532" cy="293079"/>
        </p:xfrm>
        <a:graphic>
          <a:graphicData uri="http://schemas.openxmlformats.org/drawingml/2006/table">
            <a:tbl>
              <a:tblPr firstRow="1" bandRow="1">
                <a:tableStyleId>{2D5ABB26-0587-4C30-8999-92F81FD0307C}</a:tableStyleId>
              </a:tblPr>
              <a:tblGrid>
                <a:gridCol w="931191">
                  <a:extLst>
                    <a:ext uri="{9D8B030D-6E8A-4147-A177-3AD203B41FA5}">
                      <a16:colId xmlns:a16="http://schemas.microsoft.com/office/drawing/2014/main" val="20000"/>
                    </a:ext>
                  </a:extLst>
                </a:gridCol>
                <a:gridCol w="942151">
                  <a:extLst>
                    <a:ext uri="{9D8B030D-6E8A-4147-A177-3AD203B41FA5}">
                      <a16:colId xmlns:a16="http://schemas.microsoft.com/office/drawing/2014/main" val="20001"/>
                    </a:ext>
                  </a:extLst>
                </a:gridCol>
                <a:gridCol w="931190">
                  <a:extLst>
                    <a:ext uri="{9D8B030D-6E8A-4147-A177-3AD203B41FA5}">
                      <a16:colId xmlns:a16="http://schemas.microsoft.com/office/drawing/2014/main" val="20003"/>
                    </a:ext>
                  </a:extLst>
                </a:gridCol>
              </a:tblGrid>
              <a:tr h="293079">
                <a:tc>
                  <a:txBody>
                    <a:bodyPr/>
                    <a:lstStyle/>
                    <a:p>
                      <a:pPr marL="255270">
                        <a:lnSpc>
                          <a:spcPct val="100000"/>
                        </a:lnSpc>
                        <a:spcBef>
                          <a:spcPts val="325"/>
                        </a:spcBef>
                      </a:pPr>
                      <a:r>
                        <a:rPr lang="en-US" sz="1100" b="1" dirty="0">
                          <a:solidFill>
                            <a:schemeClr val="tx1"/>
                          </a:solidFill>
                          <a:latin typeface="Noto Sans"/>
                          <a:cs typeface="Noto Sans"/>
                        </a:rPr>
                        <a:t>9M 2023</a:t>
                      </a:r>
                      <a:endParaRPr sz="1100" dirty="0">
                        <a:solidFill>
                          <a:schemeClr val="tx1"/>
                        </a:solidFill>
                        <a:latin typeface="Noto Sans"/>
                        <a:cs typeface="Noto Sans"/>
                      </a:endParaRPr>
                    </a:p>
                  </a:txBody>
                  <a:tcPr marL="0" marR="0" marT="41275" marB="0">
                    <a:lnR w="28575">
                      <a:solidFill>
                        <a:srgbClr val="FFFFFF"/>
                      </a:solidFill>
                      <a:prstDash val="solid"/>
                    </a:lnR>
                    <a:solidFill>
                      <a:srgbClr val="FFC000"/>
                    </a:solidFill>
                  </a:tcPr>
                </a:tc>
                <a:tc>
                  <a:txBody>
                    <a:bodyPr/>
                    <a:lstStyle/>
                    <a:p>
                      <a:pPr marL="329565">
                        <a:lnSpc>
                          <a:spcPct val="100000"/>
                        </a:lnSpc>
                        <a:spcBef>
                          <a:spcPts val="325"/>
                        </a:spcBef>
                      </a:pPr>
                      <a:r>
                        <a:rPr lang="en-US" sz="1100" b="1" dirty="0">
                          <a:solidFill>
                            <a:schemeClr val="tx1"/>
                          </a:solidFill>
                          <a:latin typeface="Noto Sans"/>
                          <a:cs typeface="Noto Sans"/>
                        </a:rPr>
                        <a:t>9M 2022</a:t>
                      </a:r>
                      <a:endParaRPr sz="1100" dirty="0">
                        <a:solidFill>
                          <a:schemeClr val="tx1"/>
                        </a:solidFill>
                        <a:latin typeface="Noto Sans"/>
                        <a:cs typeface="Noto Sans"/>
                      </a:endParaRPr>
                    </a:p>
                  </a:txBody>
                  <a:tcPr marL="0" marR="0" marT="41275" marB="0">
                    <a:lnL w="28575">
                      <a:solidFill>
                        <a:srgbClr val="FFFFFF"/>
                      </a:solidFill>
                      <a:prstDash val="solid"/>
                    </a:lnL>
                    <a:lnR w="28575">
                      <a:solidFill>
                        <a:srgbClr val="FFFFFF"/>
                      </a:solidFill>
                      <a:prstDash val="solid"/>
                    </a:lnR>
                    <a:solidFill>
                      <a:srgbClr val="FFC000"/>
                    </a:solidFill>
                  </a:tcPr>
                </a:tc>
                <a:tc>
                  <a:txBody>
                    <a:bodyPr/>
                    <a:lstStyle/>
                    <a:p>
                      <a:pPr marL="21590" algn="ctr">
                        <a:lnSpc>
                          <a:spcPct val="100000"/>
                        </a:lnSpc>
                        <a:spcBef>
                          <a:spcPts val="325"/>
                        </a:spcBef>
                      </a:pPr>
                      <a:r>
                        <a:rPr sz="1200" b="1" dirty="0">
                          <a:solidFill>
                            <a:schemeClr val="tx1"/>
                          </a:solidFill>
                          <a:latin typeface="Noto Sans"/>
                          <a:cs typeface="Noto Sans"/>
                        </a:rPr>
                        <a:t>%</a:t>
                      </a:r>
                      <a:endParaRPr sz="1200" dirty="0">
                        <a:solidFill>
                          <a:schemeClr val="tx1"/>
                        </a:solidFill>
                        <a:latin typeface="Noto Sans"/>
                        <a:cs typeface="Noto Sans"/>
                      </a:endParaRPr>
                    </a:p>
                  </a:txBody>
                  <a:tcPr marL="0" marR="0" marT="41275" marB="0">
                    <a:lnL w="28575" cap="flat" cmpd="sng" algn="ctr">
                      <a:solidFill>
                        <a:srgbClr val="FFFFFF"/>
                      </a:solidFill>
                      <a:prstDash val="solid"/>
                      <a:round/>
                      <a:headEnd type="none" w="med" len="med"/>
                      <a:tailEnd type="none" w="med" len="med"/>
                    </a:lnL>
                    <a:solidFill>
                      <a:srgbClr val="FFC000"/>
                    </a:solidFill>
                  </a:tcPr>
                </a:tc>
                <a:extLst>
                  <a:ext uri="{0D108BD9-81ED-4DB2-BD59-A6C34878D82A}">
                    <a16:rowId xmlns:a16="http://schemas.microsoft.com/office/drawing/2014/main" val="10000"/>
                  </a:ext>
                </a:extLst>
              </a:tr>
            </a:tbl>
          </a:graphicData>
        </a:graphic>
      </p:graphicFrame>
      <p:graphicFrame>
        <p:nvGraphicFramePr>
          <p:cNvPr id="38" name="object 2">
            <a:extLst>
              <a:ext uri="{FF2B5EF4-FFF2-40B4-BE49-F238E27FC236}">
                <a16:creationId xmlns:a16="http://schemas.microsoft.com/office/drawing/2014/main" id="{5CC8AAF3-8AD8-C324-E312-16E219035109}"/>
              </a:ext>
            </a:extLst>
          </p:cNvPr>
          <p:cNvGraphicFramePr>
            <a:graphicFrameLocks noGrp="1"/>
          </p:cNvGraphicFramePr>
          <p:nvPr>
            <p:extLst>
              <p:ext uri="{D42A27DB-BD31-4B8C-83A1-F6EECF244321}">
                <p14:modId xmlns:p14="http://schemas.microsoft.com/office/powerpoint/2010/main" val="4203113489"/>
              </p:ext>
            </p:extLst>
          </p:nvPr>
        </p:nvGraphicFramePr>
        <p:xfrm>
          <a:off x="1008991" y="2427512"/>
          <a:ext cx="4090324" cy="293079"/>
        </p:xfrm>
        <a:graphic>
          <a:graphicData uri="http://schemas.openxmlformats.org/drawingml/2006/table">
            <a:tbl>
              <a:tblPr firstRow="1" bandRow="1">
                <a:tableStyleId>{2D5ABB26-0587-4C30-8999-92F81FD0307C}</a:tableStyleId>
              </a:tblPr>
              <a:tblGrid>
                <a:gridCol w="4090324">
                  <a:extLst>
                    <a:ext uri="{9D8B030D-6E8A-4147-A177-3AD203B41FA5}">
                      <a16:colId xmlns:a16="http://schemas.microsoft.com/office/drawing/2014/main" val="20000"/>
                    </a:ext>
                  </a:extLst>
                </a:gridCol>
              </a:tblGrid>
              <a:tr h="293079">
                <a:tc>
                  <a:txBody>
                    <a:bodyPr/>
                    <a:lstStyle/>
                    <a:p>
                      <a:pPr marL="255270" algn="ctr">
                        <a:lnSpc>
                          <a:spcPct val="100000"/>
                        </a:lnSpc>
                        <a:spcBef>
                          <a:spcPts val="325"/>
                        </a:spcBef>
                      </a:pPr>
                      <a:r>
                        <a:rPr lang="en-US" sz="1400" b="1" dirty="0">
                          <a:solidFill>
                            <a:schemeClr val="bg1"/>
                          </a:solidFill>
                          <a:latin typeface="Noto Sans"/>
                          <a:cs typeface="Noto Sans"/>
                        </a:rPr>
                        <a:t>Controlled</a:t>
                      </a:r>
                    </a:p>
                  </a:txBody>
                  <a:tcPr marL="0" marR="0" marT="41275" marB="0">
                    <a:solidFill>
                      <a:schemeClr val="bg1">
                        <a:lumMod val="50000"/>
                      </a:schemeClr>
                    </a:solidFill>
                  </a:tcPr>
                </a:tc>
                <a:extLst>
                  <a:ext uri="{0D108BD9-81ED-4DB2-BD59-A6C34878D82A}">
                    <a16:rowId xmlns:a16="http://schemas.microsoft.com/office/drawing/2014/main" val="10000"/>
                  </a:ext>
                </a:extLst>
              </a:tr>
            </a:tbl>
          </a:graphicData>
        </a:graphic>
      </p:graphicFrame>
      <p:graphicFrame>
        <p:nvGraphicFramePr>
          <p:cNvPr id="39" name="object 2">
            <a:extLst>
              <a:ext uri="{FF2B5EF4-FFF2-40B4-BE49-F238E27FC236}">
                <a16:creationId xmlns:a16="http://schemas.microsoft.com/office/drawing/2014/main" id="{D99574D2-8C9D-DA57-9AAC-9603CC23F6DB}"/>
              </a:ext>
            </a:extLst>
          </p:cNvPr>
          <p:cNvGraphicFramePr>
            <a:graphicFrameLocks noGrp="1"/>
          </p:cNvGraphicFramePr>
          <p:nvPr>
            <p:extLst>
              <p:ext uri="{D42A27DB-BD31-4B8C-83A1-F6EECF244321}">
                <p14:modId xmlns:p14="http://schemas.microsoft.com/office/powerpoint/2010/main" val="2717957477"/>
              </p:ext>
            </p:extLst>
          </p:nvPr>
        </p:nvGraphicFramePr>
        <p:xfrm>
          <a:off x="5189890" y="2430955"/>
          <a:ext cx="2818626" cy="292608"/>
        </p:xfrm>
        <a:graphic>
          <a:graphicData uri="http://schemas.openxmlformats.org/drawingml/2006/table">
            <a:tbl>
              <a:tblPr firstRow="1" bandRow="1">
                <a:tableStyleId>{2D5ABB26-0587-4C30-8999-92F81FD0307C}</a:tableStyleId>
              </a:tblPr>
              <a:tblGrid>
                <a:gridCol w="2818626">
                  <a:extLst>
                    <a:ext uri="{9D8B030D-6E8A-4147-A177-3AD203B41FA5}">
                      <a16:colId xmlns:a16="http://schemas.microsoft.com/office/drawing/2014/main" val="20000"/>
                    </a:ext>
                  </a:extLst>
                </a:gridCol>
              </a:tblGrid>
              <a:tr h="292608">
                <a:tc>
                  <a:txBody>
                    <a:bodyPr/>
                    <a:lstStyle/>
                    <a:p>
                      <a:pPr marL="255270" algn="ctr">
                        <a:lnSpc>
                          <a:spcPct val="100000"/>
                        </a:lnSpc>
                        <a:spcBef>
                          <a:spcPts val="325"/>
                        </a:spcBef>
                      </a:pPr>
                      <a:r>
                        <a:rPr lang="en-US" sz="1400" b="1" dirty="0">
                          <a:solidFill>
                            <a:schemeClr val="bg1"/>
                          </a:solidFill>
                          <a:latin typeface="Noto Sans"/>
                          <a:cs typeface="Noto Sans"/>
                        </a:rPr>
                        <a:t>Investments</a:t>
                      </a:r>
                      <a:endParaRPr sz="1400" b="1" dirty="0">
                        <a:solidFill>
                          <a:schemeClr val="bg1"/>
                        </a:solidFill>
                        <a:latin typeface="Noto Sans"/>
                        <a:cs typeface="Noto Sans"/>
                      </a:endParaRPr>
                    </a:p>
                  </a:txBody>
                  <a:tcPr marL="0" marR="0" marT="41275" marB="0">
                    <a:solidFill>
                      <a:schemeClr val="bg1">
                        <a:lumMod val="50000"/>
                      </a:schemeClr>
                    </a:solidFill>
                  </a:tcPr>
                </a:tc>
                <a:extLst>
                  <a:ext uri="{0D108BD9-81ED-4DB2-BD59-A6C34878D82A}">
                    <a16:rowId xmlns:a16="http://schemas.microsoft.com/office/drawing/2014/main" val="10000"/>
                  </a:ext>
                </a:extLst>
              </a:tr>
            </a:tbl>
          </a:graphicData>
        </a:graphic>
      </p:graphicFrame>
      <p:graphicFrame>
        <p:nvGraphicFramePr>
          <p:cNvPr id="40" name="object 2">
            <a:extLst>
              <a:ext uri="{FF2B5EF4-FFF2-40B4-BE49-F238E27FC236}">
                <a16:creationId xmlns:a16="http://schemas.microsoft.com/office/drawing/2014/main" id="{680E54BB-F4A9-DC0C-A57E-7FFFC97BFA5D}"/>
              </a:ext>
            </a:extLst>
          </p:cNvPr>
          <p:cNvGraphicFramePr>
            <a:graphicFrameLocks noGrp="1"/>
          </p:cNvGraphicFramePr>
          <p:nvPr>
            <p:extLst>
              <p:ext uri="{D42A27DB-BD31-4B8C-83A1-F6EECF244321}">
                <p14:modId xmlns:p14="http://schemas.microsoft.com/office/powerpoint/2010/main" val="1191638001"/>
              </p:ext>
            </p:extLst>
          </p:nvPr>
        </p:nvGraphicFramePr>
        <p:xfrm>
          <a:off x="8120746" y="2427512"/>
          <a:ext cx="2804532" cy="292608"/>
        </p:xfrm>
        <a:graphic>
          <a:graphicData uri="http://schemas.openxmlformats.org/drawingml/2006/table">
            <a:tbl>
              <a:tblPr firstRow="1" bandRow="1">
                <a:tableStyleId>{2D5ABB26-0587-4C30-8999-92F81FD0307C}</a:tableStyleId>
              </a:tblPr>
              <a:tblGrid>
                <a:gridCol w="2804532">
                  <a:extLst>
                    <a:ext uri="{9D8B030D-6E8A-4147-A177-3AD203B41FA5}">
                      <a16:colId xmlns:a16="http://schemas.microsoft.com/office/drawing/2014/main" val="20000"/>
                    </a:ext>
                  </a:extLst>
                </a:gridCol>
              </a:tblGrid>
              <a:tr h="292608">
                <a:tc>
                  <a:txBody>
                    <a:bodyPr/>
                    <a:lstStyle/>
                    <a:p>
                      <a:pPr marL="255270" algn="ctr">
                        <a:lnSpc>
                          <a:spcPct val="100000"/>
                        </a:lnSpc>
                        <a:spcBef>
                          <a:spcPts val="325"/>
                        </a:spcBef>
                      </a:pPr>
                      <a:r>
                        <a:rPr lang="en-US" sz="1400" b="1" dirty="0">
                          <a:solidFill>
                            <a:schemeClr val="bg1"/>
                          </a:solidFill>
                          <a:latin typeface="Noto Sans"/>
                          <a:cs typeface="Noto Sans"/>
                        </a:rPr>
                        <a:t>Consolidated</a:t>
                      </a:r>
                      <a:endParaRPr sz="1400" b="1" dirty="0">
                        <a:solidFill>
                          <a:schemeClr val="bg1"/>
                        </a:solidFill>
                        <a:latin typeface="Noto Sans"/>
                        <a:cs typeface="Noto Sans"/>
                      </a:endParaRPr>
                    </a:p>
                  </a:txBody>
                  <a:tcPr marL="0" marR="0" marT="41275" marB="0">
                    <a:solidFill>
                      <a:schemeClr val="tx2"/>
                    </a:solidFill>
                  </a:tcPr>
                </a:tc>
                <a:extLst>
                  <a:ext uri="{0D108BD9-81ED-4DB2-BD59-A6C34878D82A}">
                    <a16:rowId xmlns:a16="http://schemas.microsoft.com/office/drawing/2014/main" val="10000"/>
                  </a:ext>
                </a:extLst>
              </a:tr>
            </a:tbl>
          </a:graphicData>
        </a:graphic>
      </p:graphicFrame>
      <p:sp>
        <p:nvSpPr>
          <p:cNvPr id="41" name="TextBox 40">
            <a:extLst>
              <a:ext uri="{FF2B5EF4-FFF2-40B4-BE49-F238E27FC236}">
                <a16:creationId xmlns:a16="http://schemas.microsoft.com/office/drawing/2014/main" id="{B2D411A4-5006-24DE-4A8A-1B6E61A9F438}"/>
              </a:ext>
            </a:extLst>
          </p:cNvPr>
          <p:cNvSpPr txBox="1"/>
          <p:nvPr/>
        </p:nvSpPr>
        <p:spPr>
          <a:xfrm>
            <a:off x="1097861" y="2641869"/>
            <a:ext cx="855227" cy="293079"/>
          </a:xfrm>
          <a:prstGeom prst="rect">
            <a:avLst/>
          </a:prstGeom>
          <a:noFill/>
          <a:ln>
            <a:noFill/>
          </a:ln>
        </p:spPr>
        <p:txBody>
          <a:bodyPr wrap="square" lIns="0" tIns="0" rIns="0" bIns="0" rtlCol="0" anchor="t" anchorCtr="0">
            <a:noAutofit/>
          </a:bodyPr>
          <a:lstStyle/>
          <a:p>
            <a:pPr algn="l">
              <a:lnSpc>
                <a:spcPts val="3500"/>
              </a:lnSpc>
            </a:pPr>
            <a:r>
              <a:rPr lang="en-US" sz="1100" b="1" dirty="0">
                <a:latin typeface="+mn-lt"/>
                <a:cs typeface="Etelka Text Pro"/>
              </a:rPr>
              <a:t>KD </a:t>
            </a:r>
            <a:r>
              <a:rPr lang="en-US" sz="1100" b="1" dirty="0" err="1">
                <a:latin typeface="+mn-lt"/>
                <a:cs typeface="Etelka Text Pro"/>
              </a:rPr>
              <a:t>Mln</a:t>
            </a:r>
            <a:endParaRPr lang="en-US" sz="1100" b="1" dirty="0">
              <a:latin typeface="+mn-lt"/>
              <a:cs typeface="Etelka Text Pro"/>
            </a:endParaRPr>
          </a:p>
        </p:txBody>
      </p:sp>
      <p:pic>
        <p:nvPicPr>
          <p:cNvPr id="5124" name="WORKBKFUNCTIONCACHE" hidden="1">
            <a:extLst>
              <a:ext uri="{FF2B5EF4-FFF2-40B4-BE49-F238E27FC236}">
                <a16:creationId xmlns:a16="http://schemas.microsoft.com/office/drawing/2014/main" id="{917AADE4-A515-47A2-3157-F2874167FF4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219200" y="120650"/>
            <a:ext cx="71120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541259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1"/>
            </p:custDataLst>
            <p:extLst>
              <p:ext uri="{D42A27DB-BD31-4B8C-83A1-F6EECF244321}">
                <p14:modId xmlns:p14="http://schemas.microsoft.com/office/powerpoint/2010/main" val="9350846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592" imgH="661" progId="TCLayout.ActiveDocument.1">
                  <p:embed/>
                </p:oleObj>
              </mc:Choice>
              <mc:Fallback>
                <p:oleObj name="think-cell Slide" r:id="rId26" imgW="592" imgH="661" progId="TCLayout.ActiveDocument.1">
                  <p:embed/>
                  <p:pic>
                    <p:nvPicPr>
                      <p:cNvPr id="13" name="Object 12" hidden="1"/>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Noto Sans" panose="020B0502040504020204" pitchFamily="34"/>
              <a:ea typeface="+mn-ea"/>
              <a:cs typeface="+mn-cs"/>
              <a:sym typeface="Noto Sans" panose="020B0502040504020204" pitchFamily="34"/>
            </a:endParaRPr>
          </a:p>
        </p:txBody>
      </p:sp>
      <p:sp>
        <p:nvSpPr>
          <p:cNvPr id="4" name="Rectangle 3" hidden="1"/>
          <p:cNvSpPr/>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dirty="0">
              <a:ln>
                <a:noFill/>
              </a:ln>
              <a:solidFill>
                <a:srgbClr val="FFFFFF"/>
              </a:solidFill>
              <a:effectLst/>
              <a:uLnTx/>
              <a:uFillTx/>
              <a:latin typeface="Noto Sans" panose="020B0502040504020204" pitchFamily="34"/>
              <a:ea typeface="+mn-ea"/>
              <a:cs typeface="+mn-cs"/>
            </a:endParaRPr>
          </a:p>
        </p:txBody>
      </p:sp>
      <p:sp>
        <p:nvSpPr>
          <p:cNvPr id="36" name="Rectangle 35">
            <a:extLst>
              <a:ext uri="{FF2B5EF4-FFF2-40B4-BE49-F238E27FC236}">
                <a16:creationId xmlns:a16="http://schemas.microsoft.com/office/drawing/2014/main" id="{1FAC3E6A-CE8F-EB46-0040-83D17BE22B8E}"/>
              </a:ext>
            </a:extLst>
          </p:cNvPr>
          <p:cNvSpPr/>
          <p:nvPr>
            <p:custDataLst>
              <p:tags r:id="rId3"/>
            </p:custDataLst>
          </p:nvPr>
        </p:nvSpPr>
        <p:spPr bwMode="auto">
          <a:xfrm>
            <a:off x="10494963" y="3844926"/>
            <a:ext cx="1439863" cy="2359025"/>
          </a:xfrm>
          <a:prstGeom prst="rect">
            <a:avLst/>
          </a:prstGeom>
          <a:solidFill>
            <a:srgbClr val="E5E3DD"/>
          </a:solidFill>
          <a:ln w="9525"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3" name="Rectangle 22"/>
          <p:cNvSpPr/>
          <p:nvPr>
            <p:custDataLst>
              <p:tags r:id="rId4"/>
            </p:custDataLst>
          </p:nvPr>
        </p:nvSpPr>
        <p:spPr bwMode="auto">
          <a:xfrm>
            <a:off x="10494963" y="2382838"/>
            <a:ext cx="1439863" cy="1462088"/>
          </a:xfrm>
          <a:prstGeom prst="rect">
            <a:avLst/>
          </a:prstGeom>
          <a:solidFill>
            <a:srgbClr val="7C9FC3"/>
          </a:solidFill>
          <a:ln w="9525"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oto Sans"/>
              <a:ea typeface="+mn-ea"/>
              <a:cs typeface="+mn-cs"/>
            </a:endParaRPr>
          </a:p>
        </p:txBody>
      </p:sp>
      <p:sp>
        <p:nvSpPr>
          <p:cNvPr id="111" name="Rectangle 110">
            <a:extLst>
              <a:ext uri="{FF2B5EF4-FFF2-40B4-BE49-F238E27FC236}">
                <a16:creationId xmlns:a16="http://schemas.microsoft.com/office/drawing/2014/main" id="{7D7659E8-9D6A-FDAD-39AD-A4BAED46BFD1}"/>
              </a:ext>
            </a:extLst>
          </p:cNvPr>
          <p:cNvSpPr/>
          <p:nvPr>
            <p:custDataLst>
              <p:tags r:id="rId5"/>
            </p:custDataLst>
          </p:nvPr>
        </p:nvSpPr>
        <p:spPr bwMode="auto">
          <a:xfrm>
            <a:off x="10494963" y="1665287"/>
            <a:ext cx="1439863" cy="717550"/>
          </a:xfrm>
          <a:prstGeom prst="rect">
            <a:avLst/>
          </a:prstGeom>
          <a:solidFill>
            <a:srgbClr val="489462"/>
          </a:solidFill>
          <a:ln w="9525"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DA307FD1-6678-4C95-97B1-F0F5BFA9897B}"/>
              </a:ext>
            </a:extLst>
          </p:cNvPr>
          <p:cNvSpPr/>
          <p:nvPr>
            <p:custDataLst>
              <p:tags r:id="rId6"/>
            </p:custDataLst>
          </p:nvPr>
        </p:nvSpPr>
        <p:spPr bwMode="auto">
          <a:xfrm>
            <a:off x="9053513" y="3768725"/>
            <a:ext cx="1441450" cy="2435225"/>
          </a:xfrm>
          <a:prstGeom prst="rect">
            <a:avLst/>
          </a:prstGeom>
          <a:solidFill>
            <a:srgbClr val="C4BFB6"/>
          </a:solidFill>
          <a:ln w="9525"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Noto Sans"/>
              <a:ea typeface="+mn-ea"/>
              <a:cs typeface="+mn-cs"/>
            </a:endParaRPr>
          </a:p>
        </p:txBody>
      </p:sp>
      <p:sp>
        <p:nvSpPr>
          <p:cNvPr id="93" name="Rectangle 92">
            <a:extLst>
              <a:ext uri="{FF2B5EF4-FFF2-40B4-BE49-F238E27FC236}">
                <a16:creationId xmlns:a16="http://schemas.microsoft.com/office/drawing/2014/main" id="{7C1444D9-CA8D-2903-5240-598A75E795CF}"/>
              </a:ext>
            </a:extLst>
          </p:cNvPr>
          <p:cNvSpPr/>
          <p:nvPr>
            <p:custDataLst>
              <p:tags r:id="rId7"/>
            </p:custDataLst>
          </p:nvPr>
        </p:nvSpPr>
        <p:spPr bwMode="auto">
          <a:xfrm>
            <a:off x="9053513" y="2354263"/>
            <a:ext cx="1441450" cy="1414463"/>
          </a:xfrm>
          <a:prstGeom prst="rect">
            <a:avLst/>
          </a:prstGeom>
          <a:solidFill>
            <a:srgbClr val="DDCBA4"/>
          </a:solidFill>
          <a:ln w="9525"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0" name="Rectangle 109">
            <a:extLst>
              <a:ext uri="{FF2B5EF4-FFF2-40B4-BE49-F238E27FC236}">
                <a16:creationId xmlns:a16="http://schemas.microsoft.com/office/drawing/2014/main" id="{80B49ED7-5A27-0BA9-9E96-34C389975C20}"/>
              </a:ext>
            </a:extLst>
          </p:cNvPr>
          <p:cNvSpPr/>
          <p:nvPr>
            <p:custDataLst>
              <p:tags r:id="rId8"/>
            </p:custDataLst>
          </p:nvPr>
        </p:nvSpPr>
        <p:spPr bwMode="auto">
          <a:xfrm>
            <a:off x="9053513" y="1665288"/>
            <a:ext cx="1441450" cy="688975"/>
          </a:xfrm>
          <a:prstGeom prst="rect">
            <a:avLst/>
          </a:prstGeom>
          <a:solidFill>
            <a:srgbClr val="805475"/>
          </a:solidFill>
          <a:ln w="9525" cap="flat" cmpd="sng" algn="ctr">
            <a:solidFill>
              <a:schemeClr val="bg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Rectangle 33">
            <a:extLst>
              <a:ext uri="{FF2B5EF4-FFF2-40B4-BE49-F238E27FC236}">
                <a16:creationId xmlns:a16="http://schemas.microsoft.com/office/drawing/2014/main" id="{9F9148DD-381D-B41E-C5A5-710EFEA8A57A}"/>
              </a:ext>
            </a:extLst>
          </p:cNvPr>
          <p:cNvSpPr/>
          <p:nvPr>
            <p:custDataLst>
              <p:tags r:id="rId9"/>
            </p:custDataLst>
          </p:nvPr>
        </p:nvSpPr>
        <p:spPr bwMode="auto">
          <a:xfrm>
            <a:off x="7573963" y="3627438"/>
            <a:ext cx="1439862" cy="2576512"/>
          </a:xfrm>
          <a:prstGeom prst="rect">
            <a:avLst/>
          </a:prstGeom>
          <a:solidFill>
            <a:srgbClr val="D86018"/>
          </a:solidFill>
          <a:ln w="9525" cap="flat" cmpd="sng" algn="ctr">
            <a:solidFill>
              <a:schemeClr val="bg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0" name="Rectangle 29">
            <a:extLst>
              <a:ext uri="{FF2B5EF4-FFF2-40B4-BE49-F238E27FC236}">
                <a16:creationId xmlns:a16="http://schemas.microsoft.com/office/drawing/2014/main" id="{DE6C33B6-1004-75A3-B1A5-EC2F34FA33F9}"/>
              </a:ext>
            </a:extLst>
          </p:cNvPr>
          <p:cNvSpPr/>
          <p:nvPr>
            <p:custDataLst>
              <p:tags r:id="rId10"/>
            </p:custDataLst>
          </p:nvPr>
        </p:nvSpPr>
        <p:spPr bwMode="auto">
          <a:xfrm>
            <a:off x="7573963" y="1665288"/>
            <a:ext cx="1439862" cy="1962150"/>
          </a:xfrm>
          <a:prstGeom prst="rect">
            <a:avLst/>
          </a:prstGeom>
          <a:solidFill>
            <a:srgbClr val="ED8B00"/>
          </a:solidFill>
          <a:ln w="9525" cap="flat" cmpd="sng" algn="ctr">
            <a:solidFill>
              <a:schemeClr val="bg1"/>
            </a:solidFill>
            <a:prstDash val="solid"/>
            <a:round/>
            <a:headEnd type="none" w="med" len="med"/>
            <a:tailEnd type="none" w="med" len="med"/>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Connector 17"/>
          <p:cNvCxnSpPr/>
          <p:nvPr>
            <p:custDataLst>
              <p:tags r:id="rId11"/>
            </p:custDataLst>
          </p:nvPr>
        </p:nvCxnSpPr>
        <p:spPr bwMode="auto">
          <a:xfrm>
            <a:off x="7569200" y="1665288"/>
            <a:ext cx="4370388"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75" name="Rectangle 74"/>
          <p:cNvSpPr/>
          <p:nvPr>
            <p:custDataLst>
              <p:tags r:id="rId12"/>
            </p:custDataLst>
          </p:nvPr>
        </p:nvSpPr>
        <p:spPr bwMode="gray">
          <a:xfrm>
            <a:off x="9583738" y="1933575"/>
            <a:ext cx="382588"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rgbClr val="80547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noAutofit/>
          </a:bodyPr>
          <a:lstStyle/>
          <a:p>
            <a:pPr lvl="0" algn="ctr">
              <a:defRPr/>
            </a:pPr>
            <a:fld id="{671E6839-6FF1-455C-A79C-C1A2D3FE6486}" type="datetime'''''''''''''''''''''''''''''''''''''15''.''''2''%'''''''">
              <a:rPr lang="en-US" altLang="en-US" sz="1000" smtClean="0">
                <a:solidFill>
                  <a:srgbClr val="FFFFFF"/>
                </a:solidFill>
              </a:rPr>
              <a:pPr/>
              <a:t>15.2%</a:t>
            </a:fld>
            <a:endParaRPr kumimoji="0" lang="en-US" sz="1000" b="0" i="0" strike="noStrike" kern="1200" cap="none" spc="0" normalizeH="0" baseline="0" noProof="0" dirty="0">
              <a:ln>
                <a:noFill/>
              </a:ln>
              <a:solidFill>
                <a:srgbClr val="FFFFFF"/>
              </a:solidFill>
              <a:effectLst/>
              <a:uLnTx/>
              <a:uFillTx/>
              <a:sym typeface="Arial" panose="020B0604020202020204" pitchFamily="34" charset="0"/>
            </a:endParaRPr>
          </a:p>
        </p:txBody>
      </p:sp>
      <p:sp>
        <p:nvSpPr>
          <p:cNvPr id="16" name="Rectangle 15">
            <a:extLst>
              <a:ext uri="{FF2B5EF4-FFF2-40B4-BE49-F238E27FC236}">
                <a16:creationId xmlns:a16="http://schemas.microsoft.com/office/drawing/2014/main" id="{D29362A3-A1D6-F95D-BD54-F2F01C98DEA8}"/>
              </a:ext>
            </a:extLst>
          </p:cNvPr>
          <p:cNvSpPr/>
          <p:nvPr>
            <p:custDataLst>
              <p:tags r:id="rId13"/>
            </p:custDataLst>
          </p:nvPr>
        </p:nvSpPr>
        <p:spPr bwMode="gray">
          <a:xfrm>
            <a:off x="9583738" y="2984500"/>
            <a:ext cx="382588"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rgbClr val="DDCBA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noAutofit/>
          </a:bodyPr>
          <a:lstStyle/>
          <a:p>
            <a:pPr lvl="0" algn="ctr">
              <a:defRPr/>
            </a:pPr>
            <a:fld id="{1FFCD99C-4546-4A6B-98BC-9D8377CD78CE}" type="datetime'''''''''''''''3''''1''''''''.''''2%'">
              <a:rPr lang="en-US" altLang="en-US" sz="1000" smtClean="0">
                <a:solidFill>
                  <a:srgbClr val="474647"/>
                </a:solidFill>
              </a:rPr>
              <a:pPr/>
              <a:t>31.2%</a:t>
            </a:fld>
            <a:endParaRPr kumimoji="0" lang="en-US" sz="1000" b="0" i="0" strike="noStrike" kern="1200" cap="none" spc="0" normalizeH="0" baseline="0" noProof="0" dirty="0">
              <a:ln>
                <a:noFill/>
              </a:ln>
              <a:solidFill>
                <a:srgbClr val="474647"/>
              </a:solidFill>
              <a:effectLst/>
              <a:uLnTx/>
              <a:uFillTx/>
              <a:sym typeface="Arial" panose="020B0604020202020204" pitchFamily="34" charset="0"/>
            </a:endParaRPr>
          </a:p>
        </p:txBody>
      </p:sp>
      <p:sp>
        <p:nvSpPr>
          <p:cNvPr id="77" name="Rectangle 76"/>
          <p:cNvSpPr/>
          <p:nvPr>
            <p:custDataLst>
              <p:tags r:id="rId14"/>
            </p:custDataLst>
          </p:nvPr>
        </p:nvSpPr>
        <p:spPr bwMode="gray">
          <a:xfrm>
            <a:off x="9583738" y="4910138"/>
            <a:ext cx="382588"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rgbClr val="C4BFB6"/>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noAutofit/>
          </a:bodyPr>
          <a:lstStyle/>
          <a:p>
            <a:pPr lvl="0" algn="ctr">
              <a:defRPr/>
            </a:pPr>
            <a:fld id="{1E83E5C9-EDAD-467D-AF59-6DE61F143C53}" type="datetime'''''53''''''''''''.''''''''''''''''6%'''''">
              <a:rPr lang="en-US" altLang="en-US" sz="1000" smtClean="0">
                <a:solidFill>
                  <a:srgbClr val="474647"/>
                </a:solidFill>
              </a:rPr>
              <a:pPr/>
              <a:t>53.6%</a:t>
            </a:fld>
            <a:endParaRPr kumimoji="0" lang="en-US" sz="1000" b="0" i="0" strike="noStrike" kern="1200" cap="none" spc="0" normalizeH="0" baseline="0" noProof="0" dirty="0">
              <a:ln>
                <a:noFill/>
              </a:ln>
              <a:solidFill>
                <a:srgbClr val="474647"/>
              </a:solidFill>
              <a:effectLst/>
              <a:uLnTx/>
              <a:uFillTx/>
              <a:sym typeface="Arial" panose="020B0604020202020204" pitchFamily="34" charset="0"/>
            </a:endParaRPr>
          </a:p>
        </p:txBody>
      </p:sp>
      <p:sp>
        <p:nvSpPr>
          <p:cNvPr id="99" name="Rectangle 98"/>
          <p:cNvSpPr/>
          <p:nvPr>
            <p:custDataLst>
              <p:tags r:id="rId15"/>
            </p:custDataLst>
          </p:nvPr>
        </p:nvSpPr>
        <p:spPr bwMode="auto">
          <a:xfrm>
            <a:off x="9531350" y="1450975"/>
            <a:ext cx="485775" cy="168275"/>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b"/>
          <a:lstStyle/>
          <a:p>
            <a:pPr marL="0" marR="0" lvl="0" indent="0" algn="ctr" defTabSz="914400" rtl="0" eaLnBrk="1" fontAlgn="auto" latinLnBrk="0" hangingPunct="1">
              <a:lnSpc>
                <a:spcPct val="100000"/>
              </a:lnSpc>
              <a:spcBef>
                <a:spcPts val="0"/>
              </a:spcBef>
              <a:spcAft>
                <a:spcPts val="0"/>
              </a:spcAft>
              <a:buClrTx/>
              <a:buSzTx/>
              <a:buFontTx/>
              <a:buNone/>
              <a:tabLst/>
              <a:defRPr/>
            </a:pPr>
            <a:fld id="{8C7E17C6-81AB-440A-BF5D-54148951D75A}" type="datetime'''''A''''s''se''ts'''''''''''''''''''''''''''''''''' '''''">
              <a:rPr kumimoji="0" lang="en-US" altLang="en-US" sz="1100" b="1" i="0" u="none" strike="noStrike" kern="1200" cap="none" spc="0" normalizeH="0" baseline="0" noProof="0" smtClean="0">
                <a:ln>
                  <a:noFill/>
                </a:ln>
                <a:solidFill>
                  <a:srgbClr val="474647"/>
                </a:solidFill>
                <a:effectLst/>
                <a:uLnTx/>
                <a:uFillTx/>
                <a:latin typeface="Noto Sans"/>
                <a:ea typeface="+mn-ea"/>
                <a:cs typeface="+mn-cs"/>
              </a:rPr>
              <a:pPr marL="0" marR="0" lvl="0" indent="0" algn="ctr" defTabSz="914400" rtl="0" eaLnBrk="1" fontAlgn="auto" latinLnBrk="0" hangingPunct="1">
                <a:lnSpc>
                  <a:spcPct val="100000"/>
                </a:lnSpc>
                <a:spcBef>
                  <a:spcPts val="0"/>
                </a:spcBef>
                <a:spcAft>
                  <a:spcPts val="0"/>
                </a:spcAft>
                <a:buClrTx/>
                <a:buSzTx/>
                <a:buFontTx/>
                <a:buNone/>
                <a:tabLst/>
                <a:defRPr/>
              </a:pPr>
              <a:t>Assets </a:t>
            </a:fld>
            <a:endParaRPr kumimoji="0" lang="en-US" sz="1100" b="1" i="0" u="none" strike="noStrike" kern="1200" cap="none" spc="0" normalizeH="0" baseline="0" noProof="0" dirty="0">
              <a:ln>
                <a:noFill/>
              </a:ln>
              <a:solidFill>
                <a:srgbClr val="474647"/>
              </a:solidFill>
              <a:effectLst/>
              <a:uLnTx/>
              <a:uFillTx/>
              <a:latin typeface="Noto Sans"/>
              <a:ea typeface="+mn-ea"/>
              <a:cs typeface="Arial" panose="020B0604020202020204" pitchFamily="34" charset="0"/>
              <a:sym typeface="Arial" panose="020B0604020202020204" pitchFamily="34" charset="0"/>
            </a:endParaRPr>
          </a:p>
        </p:txBody>
      </p:sp>
      <p:sp>
        <p:nvSpPr>
          <p:cNvPr id="49" name="Rectangle 48"/>
          <p:cNvSpPr/>
          <p:nvPr>
            <p:custDataLst>
              <p:tags r:id="rId16"/>
            </p:custDataLst>
          </p:nvPr>
        </p:nvSpPr>
        <p:spPr bwMode="gray">
          <a:xfrm>
            <a:off x="11023600" y="1947863"/>
            <a:ext cx="382588"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rgbClr val="48946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noAutofit/>
          </a:bodyPr>
          <a:lstStyle/>
          <a:p>
            <a:pPr lvl="0" algn="ctr">
              <a:defRPr/>
            </a:pPr>
            <a:fld id="{B8B2FE86-4314-49CA-8928-553E82749C3C}" type="datetime'''''''''''''''1''''''5.''''''''8''''''''''''''%'''">
              <a:rPr lang="en-US" altLang="en-US" sz="1000" smtClean="0">
                <a:solidFill>
                  <a:srgbClr val="FFFFFF"/>
                </a:solidFill>
              </a:rPr>
              <a:pPr/>
              <a:t>15.8%</a:t>
            </a:fld>
            <a:endParaRPr kumimoji="0" lang="en-US" sz="1000" b="0" i="0" strike="noStrike" kern="1200" cap="none" spc="0" normalizeH="0" baseline="0" noProof="0" dirty="0">
              <a:ln>
                <a:noFill/>
              </a:ln>
              <a:solidFill>
                <a:srgbClr val="FFFFFF"/>
              </a:solidFill>
              <a:effectLst/>
              <a:uLnTx/>
              <a:uFillTx/>
              <a:sym typeface="Arial" panose="020B0604020202020204" pitchFamily="34" charset="0"/>
            </a:endParaRPr>
          </a:p>
        </p:txBody>
      </p:sp>
      <p:sp>
        <p:nvSpPr>
          <p:cNvPr id="51" name="Rectangle 50"/>
          <p:cNvSpPr/>
          <p:nvPr>
            <p:custDataLst>
              <p:tags r:id="rId17"/>
            </p:custDataLst>
          </p:nvPr>
        </p:nvSpPr>
        <p:spPr bwMode="gray">
          <a:xfrm>
            <a:off x="11023600" y="3036888"/>
            <a:ext cx="382588"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rgbClr val="7C9FC3"/>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noAutofit/>
          </a:bodyPr>
          <a:lstStyle/>
          <a:p>
            <a:pPr lvl="0" algn="ctr">
              <a:defRPr/>
            </a:pPr>
            <a:fld id="{80C0853E-6F70-4669-BFF8-DCAB9691EB89}" type="datetime'3''''''''''2.''''''2''''''''''''''''''''''''''%'''''''''''''">
              <a:rPr lang="en-US" altLang="en-US" sz="1000" smtClean="0">
                <a:solidFill>
                  <a:srgbClr val="FFFFFF"/>
                </a:solidFill>
              </a:rPr>
              <a:pPr/>
              <a:t>32.2%</a:t>
            </a:fld>
            <a:endParaRPr kumimoji="0" lang="en-US" sz="1000" b="0" i="0" strike="noStrike" kern="1200" cap="none" spc="0" normalizeH="0" baseline="0" noProof="0" dirty="0">
              <a:ln>
                <a:noFill/>
              </a:ln>
              <a:solidFill>
                <a:srgbClr val="FFFFFF"/>
              </a:solidFill>
              <a:effectLst/>
              <a:uLnTx/>
              <a:uFillTx/>
              <a:sym typeface="Arial" panose="020B0604020202020204" pitchFamily="34" charset="0"/>
            </a:endParaRPr>
          </a:p>
        </p:txBody>
      </p:sp>
      <p:sp>
        <p:nvSpPr>
          <p:cNvPr id="79" name="Rectangle 78"/>
          <p:cNvSpPr/>
          <p:nvPr>
            <p:custDataLst>
              <p:tags r:id="rId18"/>
            </p:custDataLst>
          </p:nvPr>
        </p:nvSpPr>
        <p:spPr bwMode="gray">
          <a:xfrm>
            <a:off x="11023600" y="4948238"/>
            <a:ext cx="382588"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rgbClr val="E5E3DD"/>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noAutofit/>
          </a:bodyPr>
          <a:lstStyle/>
          <a:p>
            <a:pPr lvl="0" algn="ctr">
              <a:defRPr/>
            </a:pPr>
            <a:fld id="{14CACAB7-4279-47F8-B8EE-FCA04EB85FA8}" type="datetime'5''''''''2''''.''''''0''''''''''''''%'''''''">
              <a:rPr lang="en-US" altLang="en-US" sz="1000" smtClean="0">
                <a:solidFill>
                  <a:srgbClr val="474647"/>
                </a:solidFill>
              </a:rPr>
              <a:pPr/>
              <a:t>52.0%</a:t>
            </a:fld>
            <a:endParaRPr kumimoji="0" lang="en-US" sz="1000" b="0" i="0" strike="noStrike" kern="1200" cap="none" spc="0" normalizeH="0" baseline="0" noProof="0" dirty="0">
              <a:ln>
                <a:noFill/>
              </a:ln>
              <a:solidFill>
                <a:srgbClr val="474647"/>
              </a:solidFill>
              <a:effectLst/>
              <a:uLnTx/>
              <a:uFillTx/>
              <a:sym typeface="Arial" panose="020B0604020202020204" pitchFamily="34" charset="0"/>
            </a:endParaRPr>
          </a:p>
        </p:txBody>
      </p:sp>
      <p:sp>
        <p:nvSpPr>
          <p:cNvPr id="139" name="Rectangle 138"/>
          <p:cNvSpPr/>
          <p:nvPr>
            <p:custDataLst>
              <p:tags r:id="rId19"/>
            </p:custDataLst>
          </p:nvPr>
        </p:nvSpPr>
        <p:spPr bwMode="gray">
          <a:xfrm>
            <a:off x="8118475" y="6229350"/>
            <a:ext cx="349250"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spcBef>
                <a:spcPct val="0"/>
              </a:spcBef>
              <a:spcAft>
                <a:spcPct val="0"/>
              </a:spcAft>
              <a:defRPr/>
            </a:pPr>
            <a:fld id="{028828F1-80AD-414C-AAD7-28E1B72A228F}" type="datetime'''''''''3'''''''''''''',''''''''''''6''''6''9'''">
              <a:rPr lang="en-US" altLang="en-US" sz="1000" smtClean="0">
                <a:solidFill>
                  <a:srgbClr val="474647"/>
                </a:solidFill>
                <a:latin typeface="Arial" panose="020B0604020202020204" pitchFamily="34" charset="0"/>
              </a:rPr>
              <a:pPr/>
              <a:t>3,669</a:t>
            </a:fld>
            <a:endParaRPr kumimoji="0" lang="en-US" sz="1000" b="0" i="0" strike="noStrike" kern="1200" cap="none" spc="0" normalizeH="0" baseline="0" noProof="0">
              <a:ln>
                <a:noFill/>
              </a:ln>
              <a:solidFill>
                <a:srgbClr val="474647"/>
              </a:solidFill>
              <a:effectLst/>
              <a:uLnTx/>
              <a:uFillTx/>
              <a:latin typeface="Arial" panose="020B0604020202020204" pitchFamily="34" charset="0"/>
              <a:cs typeface="Arial" panose="020B0604020202020204" pitchFamily="34" charset="0"/>
              <a:sym typeface="Arial" panose="020B0604020202020204" pitchFamily="34" charset="0"/>
            </a:endParaRPr>
          </a:p>
        </p:txBody>
      </p:sp>
      <p:sp>
        <p:nvSpPr>
          <p:cNvPr id="141" name="Rectangle 140"/>
          <p:cNvSpPr/>
          <p:nvPr>
            <p:custDataLst>
              <p:tags r:id="rId20"/>
            </p:custDataLst>
          </p:nvPr>
        </p:nvSpPr>
        <p:spPr bwMode="gray">
          <a:xfrm>
            <a:off x="9599613" y="6229350"/>
            <a:ext cx="349250"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spcBef>
                <a:spcPct val="0"/>
              </a:spcBef>
              <a:spcAft>
                <a:spcPct val="0"/>
              </a:spcAft>
              <a:defRPr/>
            </a:pPr>
            <a:fld id="{9859AC94-0DC0-40C0-BF4E-1CA4A67C3512}" type="datetime'''''''''''3'''''''',''''''''''''''6''''''''6''''''''''9'''">
              <a:rPr lang="en-US" altLang="en-US" sz="1000" smtClean="0">
                <a:solidFill>
                  <a:srgbClr val="474647"/>
                </a:solidFill>
                <a:latin typeface="Arial" panose="020B0604020202020204" pitchFamily="34" charset="0"/>
              </a:rPr>
              <a:pPr/>
              <a:t>3,669</a:t>
            </a:fld>
            <a:endParaRPr kumimoji="0" lang="en-US" sz="1000" b="0" i="0" strike="noStrike" kern="1200" cap="none" spc="0" normalizeH="0" baseline="0" noProof="0" dirty="0">
              <a:ln>
                <a:noFill/>
              </a:ln>
              <a:solidFill>
                <a:srgbClr val="474647"/>
              </a:solidFill>
              <a:effectLst/>
              <a:uLnTx/>
              <a:uFillTx/>
              <a:latin typeface="Arial" panose="020B0604020202020204" pitchFamily="34" charset="0"/>
              <a:sym typeface="Arial" panose="020B0604020202020204" pitchFamily="34" charset="0"/>
            </a:endParaRPr>
          </a:p>
        </p:txBody>
      </p:sp>
      <p:sp>
        <p:nvSpPr>
          <p:cNvPr id="143" name="Rectangle 142"/>
          <p:cNvSpPr/>
          <p:nvPr>
            <p:custDataLst>
              <p:tags r:id="rId21"/>
            </p:custDataLst>
          </p:nvPr>
        </p:nvSpPr>
        <p:spPr bwMode="gray">
          <a:xfrm>
            <a:off x="11039475" y="6229350"/>
            <a:ext cx="349250"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425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t"/>
          <a:lstStyle/>
          <a:p>
            <a:pPr lvl="0" algn="ctr">
              <a:spcBef>
                <a:spcPct val="0"/>
              </a:spcBef>
              <a:spcAft>
                <a:spcPct val="0"/>
              </a:spcAft>
              <a:defRPr/>
            </a:pPr>
            <a:fld id="{9C664149-22F5-4982-A2E5-8B269B5AC0F4}" type="datetime'''''''''''''''''''''''3'''''''''',669'''''''''">
              <a:rPr lang="en-US" altLang="en-US" sz="1000" smtClean="0">
                <a:solidFill>
                  <a:srgbClr val="474647"/>
                </a:solidFill>
                <a:latin typeface="Arial" panose="020B0604020202020204" pitchFamily="34" charset="0"/>
              </a:rPr>
              <a:pPr/>
              <a:t>3,669</a:t>
            </a:fld>
            <a:endParaRPr kumimoji="0" lang="en-US" sz="1000" b="0" i="0" strike="noStrike" kern="1200" cap="none" spc="0" normalizeH="0" baseline="0" noProof="0">
              <a:ln>
                <a:noFill/>
              </a:ln>
              <a:solidFill>
                <a:srgbClr val="474647"/>
              </a:solidFill>
              <a:effectLst/>
              <a:uLnTx/>
              <a:uFillTx/>
              <a:latin typeface="Arial" panose="020B0604020202020204" pitchFamily="34" charset="0"/>
              <a:sym typeface="Arial" panose="020B0604020202020204" pitchFamily="34" charset="0"/>
            </a:endParaRPr>
          </a:p>
        </p:txBody>
      </p:sp>
      <p:sp>
        <p:nvSpPr>
          <p:cNvPr id="28" name="Rectangle 27">
            <a:extLst>
              <a:ext uri="{FF2B5EF4-FFF2-40B4-BE49-F238E27FC236}">
                <a16:creationId xmlns:a16="http://schemas.microsoft.com/office/drawing/2014/main" id="{FC239E78-1E5E-96F0-9C30-AEBC3022CDBF}"/>
              </a:ext>
            </a:extLst>
          </p:cNvPr>
          <p:cNvSpPr/>
          <p:nvPr>
            <p:custDataLst>
              <p:tags r:id="rId22"/>
            </p:custDataLst>
          </p:nvPr>
        </p:nvSpPr>
        <p:spPr bwMode="gray">
          <a:xfrm>
            <a:off x="8102600" y="2570163"/>
            <a:ext cx="382588"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rgbClr val="805475"/>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noAutofit/>
          </a:bodyPr>
          <a:lstStyle/>
          <a:p>
            <a:pPr lvl="0" algn="ctr">
              <a:defRPr/>
            </a:pPr>
            <a:fld id="{AD7E2072-2F93-4E53-BD7A-0C2370D40DD1}" type="datetime'''''''''''''''''''43''.''''2''''''''''%'''''''''''''''''''''">
              <a:rPr lang="en-US" altLang="en-US" sz="1000" smtClean="0">
                <a:solidFill>
                  <a:srgbClr val="FFFFFF"/>
                </a:solidFill>
                <a:sym typeface="Arial" panose="020B0604020202020204" pitchFamily="34" charset="0"/>
              </a:rPr>
              <a:pPr/>
              <a:t>43.2%</a:t>
            </a:fld>
            <a:endParaRPr kumimoji="0" lang="en-US" sz="1000" b="0" i="0" strike="noStrike" kern="1200" cap="none" spc="0" normalizeH="0" baseline="0" noProof="0" dirty="0">
              <a:ln>
                <a:noFill/>
              </a:ln>
              <a:solidFill>
                <a:srgbClr val="FFFFFF"/>
              </a:solidFill>
              <a:effectLst/>
              <a:uLnTx/>
              <a:uFillTx/>
              <a:sym typeface="Arial" panose="020B0604020202020204" pitchFamily="34" charset="0"/>
            </a:endParaRPr>
          </a:p>
        </p:txBody>
      </p:sp>
      <p:sp>
        <p:nvSpPr>
          <p:cNvPr id="31" name="Rectangle 30">
            <a:extLst>
              <a:ext uri="{FF2B5EF4-FFF2-40B4-BE49-F238E27FC236}">
                <a16:creationId xmlns:a16="http://schemas.microsoft.com/office/drawing/2014/main" id="{2BE5A012-4E55-3DED-248A-45F44B179894}"/>
              </a:ext>
            </a:extLst>
          </p:cNvPr>
          <p:cNvSpPr/>
          <p:nvPr>
            <p:custDataLst>
              <p:tags r:id="rId23"/>
            </p:custDataLst>
          </p:nvPr>
        </p:nvSpPr>
        <p:spPr bwMode="gray">
          <a:xfrm>
            <a:off x="8102600" y="4838700"/>
            <a:ext cx="382588" cy="152400"/>
          </a:xfrm>
          <a:prstGeom prst="rect">
            <a:avLst/>
          </a:prstGeom>
          <a:noFill/>
          <a:ln w="42500" cap="flat" cmpd="sng" algn="ctr">
            <a:noFill/>
            <a:prstDash val="solid"/>
            <a:round/>
            <a:headEnd type="none" w="med" len="med"/>
            <a:tailEnd type="none" w="med" len="med"/>
          </a:ln>
          <a:effectLst/>
          <a:extLst>
            <a:ext uri="{909E8E84-426E-40DD-AFC4-6F175D3DCCD1}">
              <a14:hiddenFill xmlns:a14="http://schemas.microsoft.com/office/drawing/2010/main">
                <a:solidFill>
                  <a:srgbClr val="DDCBA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vert="horz" wrap="none" lIns="17463" tIns="0" rIns="17463" bIns="0" rtlCol="0" anchor="ctr">
            <a:noAutofit/>
          </a:bodyPr>
          <a:lstStyle/>
          <a:p>
            <a:pPr lvl="0" algn="ctr">
              <a:defRPr/>
            </a:pPr>
            <a:fld id="{1B31E5EC-0DBA-4AA1-8307-84BC2E4ED8FF}" type="datetime'''''''5''''''''''''''''''''''''''''''''''''''6''.''8%'''''''">
              <a:rPr lang="en-US" altLang="en-US" sz="1000" smtClean="0">
                <a:solidFill>
                  <a:srgbClr val="FFFFFF"/>
                </a:solidFill>
                <a:sym typeface="Arial" panose="020B0604020202020204" pitchFamily="34" charset="0"/>
              </a:rPr>
              <a:pPr/>
              <a:t>56.8%</a:t>
            </a:fld>
            <a:endParaRPr kumimoji="0" lang="en-US" sz="1000" b="0" i="0" strike="noStrike" kern="1200" cap="none" spc="0" normalizeH="0" baseline="0" noProof="0" dirty="0">
              <a:ln>
                <a:noFill/>
              </a:ln>
              <a:solidFill>
                <a:srgbClr val="FFFFFF"/>
              </a:solidFill>
              <a:effectLst/>
              <a:uLnTx/>
              <a:uFillTx/>
              <a:sym typeface="Arial" panose="020B0604020202020204" pitchFamily="34" charset="0"/>
            </a:endParaRPr>
          </a:p>
        </p:txBody>
      </p:sp>
      <p:sp>
        <p:nvSpPr>
          <p:cNvPr id="53" name="TextBox 52"/>
          <p:cNvSpPr txBox="1"/>
          <p:nvPr/>
        </p:nvSpPr>
        <p:spPr>
          <a:xfrm>
            <a:off x="10598934" y="1795999"/>
            <a:ext cx="1188720" cy="123111"/>
          </a:xfrm>
          <a:prstGeom prst="rect">
            <a:avLst/>
          </a:prstGeom>
          <a:noFill/>
          <a:ln>
            <a:noFill/>
          </a:ln>
        </p:spPr>
        <p:txBody>
          <a:bodyPr wrap="squar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Noto Sans"/>
                <a:ea typeface="+mn-ea"/>
                <a:cs typeface="Arial" panose="020B0604020202020204" pitchFamily="34" charset="0"/>
              </a:rPr>
              <a:t>Current Liabilities</a:t>
            </a:r>
          </a:p>
        </p:txBody>
      </p:sp>
      <p:sp>
        <p:nvSpPr>
          <p:cNvPr id="55" name="TextBox 54"/>
          <p:cNvSpPr txBox="1"/>
          <p:nvPr/>
        </p:nvSpPr>
        <p:spPr>
          <a:xfrm>
            <a:off x="10590142" y="2812706"/>
            <a:ext cx="1188720" cy="123111"/>
          </a:xfrm>
          <a:prstGeom prst="rect">
            <a:avLst/>
          </a:prstGeom>
          <a:noFill/>
          <a:ln>
            <a:noFill/>
          </a:ln>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Noto Sans"/>
                <a:ea typeface="+mn-ea"/>
                <a:cs typeface="Arial" panose="020B0604020202020204" pitchFamily="34" charset="0"/>
              </a:rPr>
              <a:t>Noncurrent liabilities</a:t>
            </a:r>
          </a:p>
        </p:txBody>
      </p:sp>
      <p:sp>
        <p:nvSpPr>
          <p:cNvPr id="47" name="TextBox 46"/>
          <p:cNvSpPr txBox="1"/>
          <p:nvPr/>
        </p:nvSpPr>
        <p:spPr>
          <a:xfrm>
            <a:off x="7978742" y="4557197"/>
            <a:ext cx="570669" cy="123111"/>
          </a:xfrm>
          <a:prstGeom prst="rect">
            <a:avLst/>
          </a:prstGeom>
          <a:noFill/>
          <a:ln>
            <a:noFill/>
          </a:ln>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Noto Sans"/>
                <a:ea typeface="+mn-ea"/>
                <a:cs typeface="Arial" panose="020B0604020202020204" pitchFamily="34" charset="0"/>
              </a:rPr>
              <a:t>Controlled </a:t>
            </a:r>
          </a:p>
        </p:txBody>
      </p:sp>
      <p:sp>
        <p:nvSpPr>
          <p:cNvPr id="64" name="TextBox 63"/>
          <p:cNvSpPr txBox="1"/>
          <p:nvPr/>
        </p:nvSpPr>
        <p:spPr>
          <a:xfrm>
            <a:off x="7977154" y="2271273"/>
            <a:ext cx="647613" cy="123111"/>
          </a:xfrm>
          <a:prstGeom prst="rect">
            <a:avLst/>
          </a:prstGeom>
          <a:noFill/>
          <a:ln>
            <a:noFill/>
          </a:ln>
        </p:spPr>
        <p:txBody>
          <a:bodyPr wrap="none" lIns="0" tIns="0" rIns="0" bIns="0" rtlCol="0"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1" i="0" u="none" strike="noStrike" kern="1200" cap="none" spc="0" normalizeH="0" baseline="0" noProof="0" dirty="0">
                <a:ln>
                  <a:noFill/>
                </a:ln>
                <a:solidFill>
                  <a:srgbClr val="FFFFFF"/>
                </a:solidFill>
                <a:effectLst/>
                <a:uLnTx/>
                <a:uFillTx/>
                <a:latin typeface="Noto Sans"/>
                <a:ea typeface="+mn-ea"/>
                <a:cs typeface="Arial" panose="020B0604020202020204" pitchFamily="34" charset="0"/>
              </a:rPr>
              <a:t>Investments</a:t>
            </a:r>
          </a:p>
        </p:txBody>
      </p:sp>
      <p:sp>
        <p:nvSpPr>
          <p:cNvPr id="45" name="Text Placeholder 2">
            <a:extLst>
              <a:ext uri="{FF2B5EF4-FFF2-40B4-BE49-F238E27FC236}">
                <a16:creationId xmlns:a16="http://schemas.microsoft.com/office/drawing/2014/main" id="{A84325FC-782E-4385-B122-861BB91C8C0B}"/>
              </a:ext>
            </a:extLst>
          </p:cNvPr>
          <p:cNvSpPr txBox="1">
            <a:spLocks/>
          </p:cNvSpPr>
          <p:nvPr/>
        </p:nvSpPr>
        <p:spPr>
          <a:xfrm>
            <a:off x="312358" y="699961"/>
            <a:ext cx="11484157" cy="240541"/>
          </a:xfrm>
          <a:prstGeom prst="rect">
            <a:avLst/>
          </a:prstGeom>
        </p:spPr>
        <p:txBody>
          <a:bodyPr lIns="17131" tIns="8565" rIns="17131" bIns="8565" anchor="ctr"/>
          <a:lstStyle>
            <a:lvl1pPr marL="356871" indent="-356871" algn="l" rtl="0" eaLnBrk="1" fontAlgn="base" hangingPunct="1">
              <a:spcBef>
                <a:spcPct val="20000"/>
              </a:spcBef>
              <a:spcAft>
                <a:spcPct val="0"/>
              </a:spcAft>
              <a:buChar char="•"/>
              <a:defRPr sz="1200">
                <a:solidFill>
                  <a:srgbClr val="888888"/>
                </a:solidFill>
                <a:latin typeface="Arial"/>
                <a:ea typeface="MS PGothic" pitchFamily="34" charset="-128"/>
                <a:cs typeface="Arial"/>
              </a:defRPr>
            </a:lvl1pPr>
            <a:lvl2pPr marL="773219" indent="-297392" algn="l" rtl="0" eaLnBrk="1" fontAlgn="base" hangingPunct="1">
              <a:spcBef>
                <a:spcPct val="20000"/>
              </a:spcBef>
              <a:spcAft>
                <a:spcPct val="0"/>
              </a:spcAft>
              <a:buChar char="–"/>
              <a:defRPr sz="1200">
                <a:solidFill>
                  <a:srgbClr val="888888"/>
                </a:solidFill>
                <a:latin typeface="Arial"/>
                <a:ea typeface="MS PGothic" pitchFamily="34" charset="-128"/>
                <a:cs typeface="Arial"/>
              </a:defRPr>
            </a:lvl2pPr>
            <a:lvl3pPr marL="1189569"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3pPr>
            <a:lvl4pPr marL="1665396"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4pPr>
            <a:lvl5pPr marL="2141224"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5pPr>
            <a:lvl6pPr marL="2617260" indent="-237931" algn="l" rtl="0" eaLnBrk="1" latinLnBrk="0" hangingPunct="1">
              <a:spcBef>
                <a:spcPct val="20000"/>
              </a:spcBef>
              <a:buChar char="•"/>
              <a:defRPr sz="2133">
                <a:solidFill>
                  <a:schemeClr val="tx1"/>
                </a:solidFill>
                <a:latin typeface="+mn-lt"/>
                <a:ea typeface="+mn-ea"/>
                <a:cs typeface="+mn-cs"/>
              </a:defRPr>
            </a:lvl6pPr>
            <a:lvl7pPr marL="3093125" indent="-237931" algn="l" rtl="0" eaLnBrk="1" latinLnBrk="0" hangingPunct="1">
              <a:spcBef>
                <a:spcPct val="20000"/>
              </a:spcBef>
              <a:buChar char="•"/>
              <a:defRPr sz="2133">
                <a:solidFill>
                  <a:schemeClr val="tx1"/>
                </a:solidFill>
                <a:latin typeface="+mn-lt"/>
                <a:ea typeface="+mn-ea"/>
                <a:cs typeface="+mn-cs"/>
              </a:defRPr>
            </a:lvl7pPr>
            <a:lvl8pPr marL="3568992" indent="-237931" algn="l" rtl="0" eaLnBrk="1" latinLnBrk="0" hangingPunct="1">
              <a:spcBef>
                <a:spcPct val="20000"/>
              </a:spcBef>
              <a:buChar char="•"/>
              <a:defRPr sz="2133">
                <a:solidFill>
                  <a:schemeClr val="tx1"/>
                </a:solidFill>
                <a:latin typeface="+mn-lt"/>
                <a:ea typeface="+mn-ea"/>
                <a:cs typeface="+mn-cs"/>
              </a:defRPr>
            </a:lvl8pPr>
            <a:lvl9pPr marL="4044857" indent="-237931" algn="l" rtl="0" eaLnBrk="1" latinLnBrk="0" hangingPunct="1">
              <a:spcBef>
                <a:spcPct val="20000"/>
              </a:spcBef>
              <a:buChar char="•"/>
              <a:defRPr sz="2133">
                <a:solidFill>
                  <a:schemeClr val="tx1"/>
                </a:solidFill>
                <a:latin typeface="+mn-lt"/>
                <a:ea typeface="+mn-ea"/>
                <a:cs typeface="+mn-cs"/>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sz="1600" b="0" i="0" u="none" strike="noStrike" kern="0" cap="none" spc="0" normalizeH="0" baseline="0" noProof="0" dirty="0">
                <a:ln>
                  <a:noFill/>
                </a:ln>
                <a:solidFill>
                  <a:srgbClr val="888888"/>
                </a:solidFill>
                <a:effectLst/>
                <a:uLnTx/>
                <a:uFillTx/>
                <a:latin typeface="Noto Sans"/>
                <a:ea typeface="Noto Sans" panose="020B0502040504020204" pitchFamily="34" charset="0"/>
                <a:cs typeface="Arial" panose="020B0604020202020204" pitchFamily="34" charset="0"/>
              </a:rPr>
              <a:t>Strong Asset and Equity base to support our future growth plan</a:t>
            </a:r>
          </a:p>
        </p:txBody>
      </p:sp>
      <p:sp>
        <p:nvSpPr>
          <p:cNvPr id="46" name="Text Placeholder 8">
            <a:extLst>
              <a:ext uri="{FF2B5EF4-FFF2-40B4-BE49-F238E27FC236}">
                <a16:creationId xmlns:a16="http://schemas.microsoft.com/office/drawing/2014/main" id="{7B5E93B1-982D-465D-B105-0A439C284B95}"/>
              </a:ext>
            </a:extLst>
          </p:cNvPr>
          <p:cNvSpPr txBox="1">
            <a:spLocks/>
          </p:cNvSpPr>
          <p:nvPr/>
        </p:nvSpPr>
        <p:spPr>
          <a:xfrm>
            <a:off x="312358" y="270508"/>
            <a:ext cx="8807583" cy="337873"/>
          </a:xfrm>
          <a:prstGeom prst="rect">
            <a:avLst/>
          </a:prstGeom>
        </p:spPr>
        <p:txBody>
          <a:bodyPr vert="horz" lIns="34267" tIns="17132" rIns="34267" bIns="17132"/>
          <a:lstStyle>
            <a:lvl1pPr marL="0" marR="0" indent="0" algn="l" defTabSz="457109" rtl="0" eaLnBrk="1" fontAlgn="base" latinLnBrk="0" hangingPunct="1">
              <a:lnSpc>
                <a:spcPct val="85000"/>
              </a:lnSpc>
              <a:spcBef>
                <a:spcPct val="20000"/>
              </a:spcBef>
              <a:spcAft>
                <a:spcPct val="0"/>
              </a:spcAft>
              <a:buClrTx/>
              <a:buSzTx/>
              <a:buFontTx/>
              <a:buNone/>
              <a:tabLst/>
              <a:defRPr sz="2500" b="1" i="0" spc="-74" baseline="0">
                <a:solidFill>
                  <a:schemeClr val="tx2"/>
                </a:solidFill>
                <a:latin typeface="+mj-lt"/>
                <a:ea typeface="MS PGothic" pitchFamily="34" charset="-128"/>
                <a:cs typeface="Karla"/>
              </a:defRPr>
            </a:lvl1pPr>
            <a:lvl2pPr marL="773219" indent="-297392" algn="l" rtl="0" eaLnBrk="1" fontAlgn="base" hangingPunct="1">
              <a:spcBef>
                <a:spcPct val="20000"/>
              </a:spcBef>
              <a:spcAft>
                <a:spcPct val="0"/>
              </a:spcAft>
              <a:buChar char="–"/>
              <a:defRPr sz="1200">
                <a:solidFill>
                  <a:srgbClr val="888888"/>
                </a:solidFill>
                <a:latin typeface="Arial"/>
                <a:ea typeface="MS PGothic" pitchFamily="34" charset="-128"/>
                <a:cs typeface="Arial"/>
              </a:defRPr>
            </a:lvl2pPr>
            <a:lvl3pPr marL="1189569"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3pPr>
            <a:lvl4pPr marL="1665396"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4pPr>
            <a:lvl5pPr marL="2141224" indent="-237913" algn="l" rtl="0" eaLnBrk="1" fontAlgn="base" hangingPunct="1">
              <a:spcBef>
                <a:spcPct val="20000"/>
              </a:spcBef>
              <a:spcAft>
                <a:spcPct val="0"/>
              </a:spcAft>
              <a:buChar char="»"/>
              <a:defRPr sz="1200">
                <a:solidFill>
                  <a:srgbClr val="888888"/>
                </a:solidFill>
                <a:latin typeface="Arial"/>
                <a:ea typeface="MS PGothic" pitchFamily="34" charset="-128"/>
                <a:cs typeface="Arial"/>
              </a:defRPr>
            </a:lvl5pPr>
            <a:lvl6pPr marL="2617260" indent="-237931" algn="l" rtl="0" eaLnBrk="1" latinLnBrk="0" hangingPunct="1">
              <a:spcBef>
                <a:spcPct val="20000"/>
              </a:spcBef>
              <a:buChar char="•"/>
              <a:defRPr sz="2133">
                <a:solidFill>
                  <a:schemeClr val="tx1"/>
                </a:solidFill>
                <a:latin typeface="+mn-lt"/>
                <a:ea typeface="+mn-ea"/>
                <a:cs typeface="+mn-cs"/>
              </a:defRPr>
            </a:lvl6pPr>
            <a:lvl7pPr marL="3093125" indent="-237931" algn="l" rtl="0" eaLnBrk="1" latinLnBrk="0" hangingPunct="1">
              <a:spcBef>
                <a:spcPct val="20000"/>
              </a:spcBef>
              <a:buChar char="•"/>
              <a:defRPr sz="2133">
                <a:solidFill>
                  <a:schemeClr val="tx1"/>
                </a:solidFill>
                <a:latin typeface="+mn-lt"/>
                <a:ea typeface="+mn-ea"/>
                <a:cs typeface="+mn-cs"/>
              </a:defRPr>
            </a:lvl7pPr>
            <a:lvl8pPr marL="3568992" indent="-237931" algn="l" rtl="0" eaLnBrk="1" latinLnBrk="0" hangingPunct="1">
              <a:spcBef>
                <a:spcPct val="20000"/>
              </a:spcBef>
              <a:buChar char="•"/>
              <a:defRPr sz="2133">
                <a:solidFill>
                  <a:schemeClr val="tx1"/>
                </a:solidFill>
                <a:latin typeface="+mn-lt"/>
                <a:ea typeface="+mn-ea"/>
                <a:cs typeface="+mn-cs"/>
              </a:defRPr>
            </a:lvl8pPr>
            <a:lvl9pPr marL="4044857" indent="-237931" algn="l" rtl="0" eaLnBrk="1" latinLnBrk="0" hangingPunct="1">
              <a:spcBef>
                <a:spcPct val="20000"/>
              </a:spcBef>
              <a:buChar char="•"/>
              <a:defRPr sz="2133">
                <a:solidFill>
                  <a:schemeClr val="tx1"/>
                </a:solidFill>
                <a:latin typeface="+mn-lt"/>
                <a:ea typeface="+mn-ea"/>
                <a:cs typeface="+mn-cs"/>
              </a:defRPr>
            </a:lvl9pPr>
          </a:lstStyle>
          <a:p>
            <a:pPr marL="0" marR="0" lvl="0" indent="0" algn="l" defTabSz="457109" rtl="0" eaLnBrk="1" fontAlgn="base" latinLnBrk="0" hangingPunct="1">
              <a:lnSpc>
                <a:spcPct val="85000"/>
              </a:lnSpc>
              <a:spcBef>
                <a:spcPct val="20000"/>
              </a:spcBef>
              <a:spcAft>
                <a:spcPct val="0"/>
              </a:spcAft>
              <a:buClrTx/>
              <a:buSzTx/>
              <a:buFontTx/>
              <a:buNone/>
              <a:tabLst/>
              <a:defRPr/>
            </a:pPr>
            <a:r>
              <a:rPr kumimoji="0" lang="en-US" sz="2500" b="1" i="0" u="none" strike="noStrike" kern="0" cap="none" spc="-74" normalizeH="0" baseline="0" noProof="0" dirty="0">
                <a:ln>
                  <a:noFill/>
                </a:ln>
                <a:solidFill>
                  <a:srgbClr val="D86018"/>
                </a:solidFill>
                <a:effectLst/>
                <a:uLnTx/>
                <a:uFillTx/>
                <a:latin typeface="Karla"/>
                <a:ea typeface="MS PGothic" pitchFamily="34" charset="-128"/>
              </a:rPr>
              <a:t>Balance Sheet (KD </a:t>
            </a:r>
            <a:r>
              <a:rPr kumimoji="0" lang="en-US" sz="2500" b="1" i="0" u="none" strike="noStrike" kern="0" cap="none" spc="-74" normalizeH="0" baseline="0" noProof="0" dirty="0" err="1">
                <a:ln>
                  <a:noFill/>
                </a:ln>
                <a:solidFill>
                  <a:srgbClr val="D86018"/>
                </a:solidFill>
                <a:effectLst/>
                <a:uLnTx/>
                <a:uFillTx/>
                <a:latin typeface="Karla"/>
                <a:ea typeface="MS PGothic" pitchFamily="34" charset="-128"/>
              </a:rPr>
              <a:t>Mln</a:t>
            </a:r>
            <a:r>
              <a:rPr kumimoji="0" lang="en-US" sz="2500" b="1" i="0" u="none" strike="noStrike" kern="0" cap="none" spc="-74" normalizeH="0" baseline="0" noProof="0" dirty="0">
                <a:ln>
                  <a:noFill/>
                </a:ln>
                <a:solidFill>
                  <a:srgbClr val="D86018"/>
                </a:solidFill>
                <a:effectLst/>
                <a:uLnTx/>
                <a:uFillTx/>
                <a:latin typeface="Karla"/>
                <a:ea typeface="MS PGothic" pitchFamily="34" charset="-128"/>
              </a:rPr>
              <a:t>)	</a:t>
            </a:r>
          </a:p>
        </p:txBody>
      </p:sp>
      <p:graphicFrame>
        <p:nvGraphicFramePr>
          <p:cNvPr id="78" name="Table 77">
            <a:extLst>
              <a:ext uri="{FF2B5EF4-FFF2-40B4-BE49-F238E27FC236}">
                <a16:creationId xmlns:a16="http://schemas.microsoft.com/office/drawing/2014/main" id="{CF8FCDEF-91E9-42A3-A28F-6F4B28363650}"/>
              </a:ext>
            </a:extLst>
          </p:cNvPr>
          <p:cNvGraphicFramePr>
            <a:graphicFrameLocks noGrp="1"/>
          </p:cNvGraphicFramePr>
          <p:nvPr>
            <p:extLst>
              <p:ext uri="{D42A27DB-BD31-4B8C-83A1-F6EECF244321}">
                <p14:modId xmlns:p14="http://schemas.microsoft.com/office/powerpoint/2010/main" val="2552329983"/>
              </p:ext>
            </p:extLst>
          </p:nvPr>
        </p:nvGraphicFramePr>
        <p:xfrm>
          <a:off x="356533" y="1228241"/>
          <a:ext cx="6713747" cy="3706810"/>
        </p:xfrm>
        <a:graphic>
          <a:graphicData uri="http://schemas.openxmlformats.org/drawingml/2006/table">
            <a:tbl>
              <a:tblPr/>
              <a:tblGrid>
                <a:gridCol w="3004710">
                  <a:extLst>
                    <a:ext uri="{9D8B030D-6E8A-4147-A177-3AD203B41FA5}">
                      <a16:colId xmlns:a16="http://schemas.microsoft.com/office/drawing/2014/main" val="2523636187"/>
                    </a:ext>
                  </a:extLst>
                </a:gridCol>
                <a:gridCol w="1000760">
                  <a:extLst>
                    <a:ext uri="{9D8B030D-6E8A-4147-A177-3AD203B41FA5}">
                      <a16:colId xmlns:a16="http://schemas.microsoft.com/office/drawing/2014/main" val="3994658464"/>
                    </a:ext>
                  </a:extLst>
                </a:gridCol>
                <a:gridCol w="902759">
                  <a:extLst>
                    <a:ext uri="{9D8B030D-6E8A-4147-A177-3AD203B41FA5}">
                      <a16:colId xmlns:a16="http://schemas.microsoft.com/office/drawing/2014/main" val="655679660"/>
                    </a:ext>
                  </a:extLst>
                </a:gridCol>
                <a:gridCol w="902759">
                  <a:extLst>
                    <a:ext uri="{9D8B030D-6E8A-4147-A177-3AD203B41FA5}">
                      <a16:colId xmlns:a16="http://schemas.microsoft.com/office/drawing/2014/main" val="1508358535"/>
                    </a:ext>
                  </a:extLst>
                </a:gridCol>
                <a:gridCol w="902759">
                  <a:extLst>
                    <a:ext uri="{9D8B030D-6E8A-4147-A177-3AD203B41FA5}">
                      <a16:colId xmlns:a16="http://schemas.microsoft.com/office/drawing/2014/main" val="1834731023"/>
                    </a:ext>
                  </a:extLst>
                </a:gridCol>
              </a:tblGrid>
              <a:tr h="570427">
                <a:tc>
                  <a:txBody>
                    <a:bodyPr/>
                    <a:lstStyle/>
                    <a:p>
                      <a:pPr lvl="0" algn="l" rtl="0" fontAlgn="ctr"/>
                      <a:r>
                        <a:rPr lang="en-US" sz="1200" b="1" i="0" u="none" strike="noStrike" dirty="0">
                          <a:solidFill>
                            <a:schemeClr val="tx1"/>
                          </a:solidFill>
                          <a:effectLst/>
                          <a:latin typeface="+mn-lt"/>
                          <a:cs typeface="Arial" panose="020B0604020202020204" pitchFamily="34" charset="0"/>
                        </a:rPr>
                        <a:t>Balance sheet </a:t>
                      </a:r>
                    </a:p>
                  </a:txBody>
                  <a:tcPr marT="9525" marB="0" anchor="ctr">
                    <a:lnL>
                      <a:noFill/>
                    </a:lnL>
                    <a:lnR>
                      <a:noFill/>
                    </a:lnR>
                    <a:lnT>
                      <a:noFill/>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200" b="1" i="0" u="none" strike="noStrike" baseline="0" dirty="0">
                          <a:solidFill>
                            <a:schemeClr val="bg1"/>
                          </a:solidFill>
                          <a:effectLst/>
                          <a:latin typeface="+mn-lt"/>
                          <a:cs typeface="Arial" panose="020B0604020202020204" pitchFamily="34" charset="0"/>
                        </a:rPr>
                        <a:t>Sep 2023</a:t>
                      </a:r>
                      <a:endParaRPr lang="en-US" sz="1200" b="1" i="0" u="none" strike="noStrike" dirty="0">
                        <a:solidFill>
                          <a:schemeClr val="bg1"/>
                        </a:solidFill>
                        <a:effectLst/>
                        <a:latin typeface="+mn-lt"/>
                        <a:cs typeface="Arial" panose="020B0604020202020204" pitchFamily="34" charset="0"/>
                      </a:endParaRPr>
                    </a:p>
                  </a:txBody>
                  <a:tcPr marT="9525" marB="0" anchor="ctr">
                    <a:lnL>
                      <a:noFill/>
                    </a:lnL>
                    <a:lnR>
                      <a:noFill/>
                    </a:lnR>
                    <a:lnT>
                      <a:noFill/>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pPr algn="r" rtl="0" fontAlgn="t"/>
                      <a:r>
                        <a:rPr lang="en-US" sz="1200" b="1" i="0" u="none" strike="noStrike" dirty="0">
                          <a:solidFill>
                            <a:schemeClr val="tx1"/>
                          </a:solidFill>
                          <a:effectLst/>
                          <a:latin typeface="+mn-lt"/>
                          <a:cs typeface="Arial" panose="020B0604020202020204" pitchFamily="34" charset="0"/>
                        </a:rPr>
                        <a:t>Sep 2022</a:t>
                      </a:r>
                    </a:p>
                  </a:txBody>
                  <a:tcPr marT="9525" marB="0" anchor="ctr">
                    <a:lnL>
                      <a:noFill/>
                    </a:lnL>
                    <a:lnR>
                      <a:noFill/>
                    </a:lnR>
                    <a:lnT>
                      <a:noFill/>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200" b="1" i="0" u="none" strike="noStrike" dirty="0">
                          <a:solidFill>
                            <a:schemeClr val="tx1"/>
                          </a:solidFill>
                          <a:effectLst/>
                          <a:latin typeface="+mn-lt"/>
                          <a:cs typeface="Arial" panose="020B0604020202020204" pitchFamily="34" charset="0"/>
                        </a:rPr>
                        <a:t>Variance</a:t>
                      </a:r>
                    </a:p>
                  </a:txBody>
                  <a:tcPr marT="9525" marB="0" anchor="ctr">
                    <a:lnL>
                      <a:noFill/>
                    </a:lnL>
                    <a:lnR>
                      <a:noFill/>
                    </a:lnR>
                    <a:lnT>
                      <a:noFill/>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ctr"/>
                      <a:r>
                        <a:rPr lang="en-US" sz="1200" b="1" i="0" u="none" strike="noStrike" dirty="0">
                          <a:solidFill>
                            <a:schemeClr val="tx1"/>
                          </a:solidFill>
                          <a:effectLst/>
                          <a:latin typeface="+mn-lt"/>
                          <a:cs typeface="Arial" panose="020B0604020202020204" pitchFamily="34" charset="0"/>
                        </a:rPr>
                        <a:t>%</a:t>
                      </a:r>
                    </a:p>
                  </a:txBody>
                  <a:tcPr marT="9525" marB="0" anchor="ctr">
                    <a:lnL>
                      <a:noFill/>
                    </a:lnL>
                    <a:lnR>
                      <a:noFill/>
                    </a:lnR>
                    <a:lnT>
                      <a:noFill/>
                    </a:lnT>
                    <a:lnB w="12700" cap="flat" cmpd="sng" algn="ctr">
                      <a:solidFill>
                        <a:schemeClr val="tx2">
                          <a:lumMod val="7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82631951"/>
                  </a:ext>
                </a:extLst>
              </a:tr>
              <a:tr h="449152">
                <a:tc>
                  <a:txBody>
                    <a:bodyPr/>
                    <a:lstStyle/>
                    <a:p>
                      <a:pPr lvl="0" algn="l" rtl="0" fontAlgn="ctr"/>
                      <a:r>
                        <a:rPr lang="en-US" sz="1200" b="0" i="0" u="none" strike="noStrike" dirty="0">
                          <a:solidFill>
                            <a:schemeClr val="tx1"/>
                          </a:solidFill>
                          <a:effectLst/>
                          <a:latin typeface="+mn-lt"/>
                          <a:cs typeface="Arial" panose="020B0604020202020204" pitchFamily="34" charset="0"/>
                        </a:rPr>
                        <a:t>Current assets</a:t>
                      </a:r>
                    </a:p>
                  </a:txBody>
                  <a:tcPr marT="9525" marB="0" anchor="ctr">
                    <a:lnL>
                      <a:noFill/>
                    </a:lnL>
                    <a:lnR>
                      <a:noFill/>
                    </a:lnR>
                    <a:lnT w="12700" cap="flat" cmpd="sng" algn="ctr">
                      <a:solidFill>
                        <a:schemeClr val="tx2">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0" u="none" strike="noStrike">
                          <a:solidFill>
                            <a:srgbClr val="474647"/>
                          </a:solidFill>
                          <a:effectLst/>
                          <a:latin typeface="Noto Sans" panose="020B0502040504020204" pitchFamily="34" charset="0"/>
                        </a:rPr>
                        <a:t>                              556.8 </a:t>
                      </a:r>
                    </a:p>
                  </a:txBody>
                  <a:tcPr marL="0" marR="0" marT="0" marB="0" anchor="ctr">
                    <a:lnL>
                      <a:noFill/>
                    </a:lnL>
                    <a:lnR>
                      <a:noFill/>
                    </a:lnR>
                    <a:lnT w="12700" cap="flat" cmpd="sng" algn="ctr">
                      <a:solidFill>
                        <a:schemeClr val="tx2">
                          <a:lumMod val="75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b"/>
                      <a:r>
                        <a:rPr lang="en-US" sz="1100" b="0" i="0" u="none" strike="noStrike">
                          <a:solidFill>
                            <a:srgbClr val="474647"/>
                          </a:solidFill>
                          <a:effectLst/>
                          <a:latin typeface="Noto Sans" panose="020B0502040504020204" pitchFamily="34" charset="0"/>
                        </a:rPr>
                        <a:t>                        506.7 </a:t>
                      </a:r>
                    </a:p>
                  </a:txBody>
                  <a:tcPr marL="0" marR="0" marT="0" marB="0" anchor="ctr">
                    <a:lnL>
                      <a:noFill/>
                    </a:lnL>
                    <a:lnR>
                      <a:noFill/>
                    </a:lnR>
                    <a:lnT w="12700" cap="flat" cmpd="sng" algn="ctr">
                      <a:solidFill>
                        <a:schemeClr val="tx2">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1" u="none" strike="noStrike" dirty="0">
                          <a:solidFill>
                            <a:schemeClr val="tx1"/>
                          </a:solidFill>
                          <a:effectLst/>
                          <a:latin typeface="Noto Sans" panose="020B0502040504020204" pitchFamily="34" charset="0"/>
                        </a:rPr>
                        <a:t>                     50 </a:t>
                      </a:r>
                    </a:p>
                  </a:txBody>
                  <a:tcPr marL="0" marR="0" marT="0" marB="0" anchor="ctr">
                    <a:lnL>
                      <a:noFill/>
                    </a:lnL>
                    <a:lnR>
                      <a:noFill/>
                    </a:lnR>
                    <a:lnT w="12700" cap="flat" cmpd="sng" algn="ctr">
                      <a:solidFill>
                        <a:schemeClr val="tx2">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1" u="none" strike="noStrike" dirty="0">
                          <a:solidFill>
                            <a:schemeClr val="tx1"/>
                          </a:solidFill>
                          <a:effectLst/>
                          <a:latin typeface="Noto Sans" panose="020B0502040504020204" pitchFamily="34" charset="0"/>
                        </a:rPr>
                        <a:t>10%</a:t>
                      </a:r>
                    </a:p>
                  </a:txBody>
                  <a:tcPr marL="0" marR="0" marT="0" marB="0" anchor="ctr">
                    <a:lnL>
                      <a:noFill/>
                    </a:lnL>
                    <a:lnR>
                      <a:noFill/>
                    </a:lnR>
                    <a:lnT w="12700" cap="flat" cmpd="sng" algn="ctr">
                      <a:solidFill>
                        <a:schemeClr val="tx2">
                          <a:lumMod val="7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979747397"/>
                  </a:ext>
                </a:extLst>
              </a:tr>
              <a:tr h="439209">
                <a:tc>
                  <a:txBody>
                    <a:bodyPr/>
                    <a:lstStyle/>
                    <a:p>
                      <a:pPr lvl="0" algn="l" rtl="0" fontAlgn="ctr"/>
                      <a:r>
                        <a:rPr lang="en-US" sz="1200" b="0" i="0" u="none" strike="noStrike" dirty="0">
                          <a:solidFill>
                            <a:schemeClr val="tx1"/>
                          </a:solidFill>
                          <a:effectLst/>
                          <a:latin typeface="+mn-lt"/>
                          <a:cs typeface="Arial" panose="020B0604020202020204" pitchFamily="34" charset="0"/>
                        </a:rPr>
                        <a:t>Non-Current assets </a:t>
                      </a:r>
                    </a:p>
                  </a:txBody>
                  <a:tcPr marT="9525"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0" u="none" strike="noStrike" dirty="0">
                          <a:solidFill>
                            <a:srgbClr val="474647"/>
                          </a:solidFill>
                          <a:effectLst/>
                          <a:latin typeface="Noto Sans" panose="020B0502040504020204" pitchFamily="34" charset="0"/>
                        </a:rPr>
                        <a:t>                           3,111.9 </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b"/>
                      <a:r>
                        <a:rPr lang="en-US" sz="1100" b="0" i="0" u="none" strike="noStrike" dirty="0">
                          <a:solidFill>
                            <a:srgbClr val="474647"/>
                          </a:solidFill>
                          <a:effectLst/>
                          <a:latin typeface="Noto Sans" panose="020B0502040504020204" pitchFamily="34" charset="0"/>
                        </a:rPr>
                        <a:t>                     2,600.0 </a:t>
                      </a:r>
                    </a:p>
                  </a:txBody>
                  <a:tcPr marL="0" marR="0" marT="0"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1" u="none" strike="noStrike" dirty="0">
                          <a:solidFill>
                            <a:srgbClr val="474647"/>
                          </a:solidFill>
                          <a:effectLst/>
                          <a:latin typeface="Noto Sans" panose="020B0502040504020204" pitchFamily="34" charset="0"/>
                        </a:rPr>
                        <a:t>                   512 </a:t>
                      </a:r>
                    </a:p>
                  </a:txBody>
                  <a:tcPr marL="0" marR="0" marT="0"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1" u="none" strike="noStrike">
                          <a:solidFill>
                            <a:srgbClr val="474647"/>
                          </a:solidFill>
                          <a:effectLst/>
                          <a:latin typeface="Noto Sans" panose="020B0502040504020204" pitchFamily="34" charset="0"/>
                        </a:rPr>
                        <a:t>20%</a:t>
                      </a:r>
                    </a:p>
                  </a:txBody>
                  <a:tcPr marL="0" marR="0" marT="0"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47244725"/>
                  </a:ext>
                </a:extLst>
              </a:tr>
              <a:tr h="426766">
                <a:tc>
                  <a:txBody>
                    <a:bodyPr/>
                    <a:lstStyle/>
                    <a:p>
                      <a:pPr lvl="0" algn="l" rtl="0" fontAlgn="ctr"/>
                      <a:r>
                        <a:rPr lang="en-US" sz="1200" b="1" i="0" u="none" strike="noStrike" dirty="0">
                          <a:solidFill>
                            <a:schemeClr val="tx1"/>
                          </a:solidFill>
                          <a:effectLst/>
                          <a:latin typeface="+mn-lt"/>
                          <a:cs typeface="Arial" panose="020B0604020202020204" pitchFamily="34" charset="0"/>
                        </a:rPr>
                        <a:t>Total assets</a:t>
                      </a:r>
                    </a:p>
                  </a:txBody>
                  <a:tcPr marT="9525"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1" i="0" u="none" strike="noStrike" dirty="0">
                          <a:solidFill>
                            <a:srgbClr val="474647"/>
                          </a:solidFill>
                          <a:effectLst/>
                          <a:latin typeface="Noto Sans" panose="020B0502040504020204" pitchFamily="34" charset="0"/>
                        </a:rPr>
                        <a:t>                           3,668.7 </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b"/>
                      <a:r>
                        <a:rPr lang="en-US" sz="1100" b="1" i="0" u="none" strike="noStrike" dirty="0">
                          <a:solidFill>
                            <a:srgbClr val="474647"/>
                          </a:solidFill>
                          <a:effectLst/>
                          <a:latin typeface="Noto Sans" panose="020B0502040504020204" pitchFamily="34" charset="0"/>
                        </a:rPr>
                        <a:t>                     3,106.5 </a:t>
                      </a:r>
                    </a:p>
                  </a:txBody>
                  <a:tcPr marL="0" marR="0" marT="0"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1" u="none" strike="noStrike" dirty="0">
                          <a:solidFill>
                            <a:srgbClr val="474647"/>
                          </a:solidFill>
                          <a:effectLst/>
                          <a:latin typeface="Noto Sans" panose="020B0502040504020204" pitchFamily="34" charset="0"/>
                        </a:rPr>
                        <a:t>                   561</a:t>
                      </a:r>
                    </a:p>
                  </a:txBody>
                  <a:tcPr marL="0" marR="0" marT="0"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1" u="none" strike="noStrike">
                          <a:solidFill>
                            <a:srgbClr val="474647"/>
                          </a:solidFill>
                          <a:effectLst/>
                          <a:latin typeface="Noto Sans" panose="020B0502040504020204" pitchFamily="34" charset="0"/>
                        </a:rPr>
                        <a:t>18%</a:t>
                      </a:r>
                    </a:p>
                  </a:txBody>
                  <a:tcPr marL="0" marR="0" marT="0"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72430313"/>
                  </a:ext>
                </a:extLst>
              </a:tr>
              <a:tr h="426766">
                <a:tc>
                  <a:txBody>
                    <a:bodyPr/>
                    <a:lstStyle/>
                    <a:p>
                      <a:pPr lvl="0" algn="l" rtl="0" fontAlgn="ctr"/>
                      <a:r>
                        <a:rPr lang="en-US" sz="1200" b="0" i="0" u="none" strike="noStrike" dirty="0">
                          <a:solidFill>
                            <a:schemeClr val="tx1"/>
                          </a:solidFill>
                          <a:effectLst/>
                          <a:latin typeface="+mn-lt"/>
                          <a:cs typeface="Arial" panose="020B0604020202020204" pitchFamily="34" charset="0"/>
                        </a:rPr>
                        <a:t>Current liabilities </a:t>
                      </a:r>
                    </a:p>
                  </a:txBody>
                  <a:tcPr marT="9525"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0" u="none" strike="noStrike">
                          <a:solidFill>
                            <a:srgbClr val="474647"/>
                          </a:solidFill>
                          <a:effectLst/>
                          <a:latin typeface="Noto Sans" panose="020B0502040504020204" pitchFamily="34" charset="0"/>
                        </a:rPr>
                        <a:t>                              579.4 </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b"/>
                      <a:r>
                        <a:rPr lang="en-US" sz="1100" b="0" i="0" u="none" strike="noStrike" dirty="0">
                          <a:solidFill>
                            <a:srgbClr val="474647"/>
                          </a:solidFill>
                          <a:effectLst/>
                          <a:latin typeface="Noto Sans" panose="020B0502040504020204" pitchFamily="34" charset="0"/>
                        </a:rPr>
                        <a:t>                        574.2 </a:t>
                      </a:r>
                    </a:p>
                  </a:txBody>
                  <a:tcPr marL="0" marR="0" marT="0"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1" u="none" strike="noStrike" dirty="0">
                          <a:solidFill>
                            <a:srgbClr val="474647"/>
                          </a:solidFill>
                          <a:effectLst/>
                          <a:latin typeface="Noto Sans" panose="020B0502040504020204" pitchFamily="34" charset="0"/>
                        </a:rPr>
                        <a:t>                       5 </a:t>
                      </a:r>
                    </a:p>
                  </a:txBody>
                  <a:tcPr marL="0" marR="0" marT="0"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1" u="none" strike="noStrike">
                          <a:solidFill>
                            <a:srgbClr val="474647"/>
                          </a:solidFill>
                          <a:effectLst/>
                          <a:latin typeface="Noto Sans" panose="020B0502040504020204" pitchFamily="34" charset="0"/>
                        </a:rPr>
                        <a:t>1%</a:t>
                      </a:r>
                    </a:p>
                  </a:txBody>
                  <a:tcPr marL="0" marR="0" marT="0"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06931342"/>
                  </a:ext>
                </a:extLst>
              </a:tr>
              <a:tr h="450190">
                <a:tc>
                  <a:txBody>
                    <a:bodyPr/>
                    <a:lstStyle/>
                    <a:p>
                      <a:pPr lvl="0" algn="l" rtl="0" fontAlgn="ctr"/>
                      <a:r>
                        <a:rPr lang="en-US" sz="1200" b="0" i="0" u="none" strike="noStrike" dirty="0">
                          <a:solidFill>
                            <a:schemeClr val="tx1"/>
                          </a:solidFill>
                          <a:effectLst/>
                          <a:latin typeface="+mn-lt"/>
                          <a:cs typeface="Arial" panose="020B0604020202020204" pitchFamily="34" charset="0"/>
                        </a:rPr>
                        <a:t>Non-current liabilities</a:t>
                      </a:r>
                    </a:p>
                  </a:txBody>
                  <a:tcPr marT="9525"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0" u="none" strike="noStrike">
                          <a:solidFill>
                            <a:srgbClr val="474647"/>
                          </a:solidFill>
                          <a:effectLst/>
                          <a:latin typeface="Noto Sans" panose="020B0502040504020204" pitchFamily="34" charset="0"/>
                        </a:rPr>
                        <a:t>                           1,182.5 </a:t>
                      </a:r>
                    </a:p>
                  </a:txBody>
                  <a:tcPr marL="0" marR="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b"/>
                      <a:r>
                        <a:rPr lang="en-US" sz="1100" b="0" i="0" u="none" strike="noStrike" dirty="0">
                          <a:solidFill>
                            <a:srgbClr val="474647"/>
                          </a:solidFill>
                          <a:effectLst/>
                          <a:latin typeface="Noto Sans" panose="020B0502040504020204" pitchFamily="34" charset="0"/>
                        </a:rPr>
                        <a:t>                     1,030.1 </a:t>
                      </a:r>
                    </a:p>
                  </a:txBody>
                  <a:tcPr marL="0" marR="0" marT="0"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1" u="none" strike="noStrike" dirty="0">
                          <a:solidFill>
                            <a:srgbClr val="474647"/>
                          </a:solidFill>
                          <a:effectLst/>
                          <a:latin typeface="Noto Sans" panose="020B0502040504020204" pitchFamily="34" charset="0"/>
                        </a:rPr>
                        <a:t>                   152 </a:t>
                      </a:r>
                    </a:p>
                  </a:txBody>
                  <a:tcPr marL="0" marR="0" marT="0"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1" u="none" strike="noStrike">
                          <a:solidFill>
                            <a:srgbClr val="474647"/>
                          </a:solidFill>
                          <a:effectLst/>
                          <a:latin typeface="Noto Sans" panose="020B0502040504020204" pitchFamily="34" charset="0"/>
                        </a:rPr>
                        <a:t>15%</a:t>
                      </a:r>
                    </a:p>
                  </a:txBody>
                  <a:tcPr marL="0" marR="0" marT="0"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598776843"/>
                  </a:ext>
                </a:extLst>
              </a:tr>
              <a:tr h="428229">
                <a:tc>
                  <a:txBody>
                    <a:bodyPr/>
                    <a:lstStyle/>
                    <a:p>
                      <a:pPr lvl="0" algn="l" rtl="0" fontAlgn="ctr"/>
                      <a:r>
                        <a:rPr lang="en-US" sz="1200" b="1" i="0" u="none" strike="noStrike" dirty="0">
                          <a:solidFill>
                            <a:schemeClr val="tx1"/>
                          </a:solidFill>
                          <a:effectLst/>
                          <a:latin typeface="+mn-lt"/>
                          <a:cs typeface="Arial" panose="020B0604020202020204" pitchFamily="34" charset="0"/>
                        </a:rPr>
                        <a:t>Total liabilities</a:t>
                      </a:r>
                    </a:p>
                  </a:txBody>
                  <a:tcPr marT="9525"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1" i="0" u="none" strike="noStrike">
                          <a:solidFill>
                            <a:srgbClr val="474647"/>
                          </a:solidFill>
                          <a:effectLst/>
                          <a:latin typeface="Noto Sans" panose="020B0502040504020204" pitchFamily="34" charset="0"/>
                        </a:rPr>
                        <a:t>                           1,761.9 </a:t>
                      </a:r>
                    </a:p>
                  </a:txBody>
                  <a:tcPr marL="0" marR="0" marT="0" marB="0" anchor="ctr">
                    <a:lnL>
                      <a:noFill/>
                    </a:lnL>
                    <a:lnR>
                      <a:noFill/>
                    </a:lnR>
                    <a:lnT w="12700" cap="flat" cmpd="sng" algn="ctr">
                      <a:no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b"/>
                      <a:r>
                        <a:rPr lang="en-US" sz="1100" b="1" i="0" u="none" strike="noStrike">
                          <a:solidFill>
                            <a:srgbClr val="474647"/>
                          </a:solidFill>
                          <a:effectLst/>
                          <a:latin typeface="Noto Sans" panose="020B0502040504020204" pitchFamily="34" charset="0"/>
                        </a:rPr>
                        <a:t>                     1,604.4 </a:t>
                      </a:r>
                    </a:p>
                  </a:txBody>
                  <a:tcPr marL="0" marR="0" marT="0"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1" u="none" strike="noStrike" dirty="0">
                          <a:solidFill>
                            <a:srgbClr val="474647"/>
                          </a:solidFill>
                          <a:effectLst/>
                          <a:latin typeface="Noto Sans" panose="020B0502040504020204" pitchFamily="34" charset="0"/>
                        </a:rPr>
                        <a:t>                   158 </a:t>
                      </a:r>
                    </a:p>
                  </a:txBody>
                  <a:tcPr marL="0" marR="0" marT="0"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1" u="none" strike="noStrike" dirty="0">
                          <a:solidFill>
                            <a:srgbClr val="474647"/>
                          </a:solidFill>
                          <a:effectLst/>
                          <a:latin typeface="Noto Sans" panose="020B0502040504020204" pitchFamily="34" charset="0"/>
                        </a:rPr>
                        <a:t>10%</a:t>
                      </a:r>
                    </a:p>
                  </a:txBody>
                  <a:tcPr marL="0" marR="0" marT="0" marB="0" anchor="ctr">
                    <a:lnL>
                      <a:noFill/>
                    </a:lnL>
                    <a:lnR>
                      <a:noFill/>
                    </a:lnR>
                    <a:lnT w="12700" cap="flat" cmpd="sng" algn="ctr">
                      <a:solidFill>
                        <a:schemeClr val="bg1">
                          <a:lumMod val="95000"/>
                        </a:schemeClr>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58288295"/>
                  </a:ext>
                </a:extLst>
              </a:tr>
              <a:tr h="516071">
                <a:tc>
                  <a:txBody>
                    <a:bodyPr/>
                    <a:lstStyle/>
                    <a:p>
                      <a:pPr lvl="0" algn="l" rtl="0" fontAlgn="ctr"/>
                      <a:r>
                        <a:rPr lang="en-US" sz="1200" b="0" i="0" u="none" strike="noStrike" dirty="0">
                          <a:solidFill>
                            <a:schemeClr val="tx1"/>
                          </a:solidFill>
                          <a:effectLst/>
                          <a:latin typeface="+mn-lt"/>
                          <a:cs typeface="Arial" panose="020B0604020202020204" pitchFamily="34" charset="0"/>
                        </a:rPr>
                        <a:t>Equity attributable to equity holders of the Parent Company</a:t>
                      </a:r>
                    </a:p>
                  </a:txBody>
                  <a:tcPr marT="9525" marB="0" anchor="ctr">
                    <a:lnL w="12700" cap="flat" cmpd="sng" algn="ctr">
                      <a:solidFill>
                        <a:schemeClr val="accent1"/>
                      </a:solidFill>
                      <a:prstDash val="solid"/>
                      <a:round/>
                      <a:headEnd type="none" w="med" len="med"/>
                      <a:tailEnd type="none" w="med" len="med"/>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0" u="none" strike="noStrike" dirty="0">
                          <a:solidFill>
                            <a:srgbClr val="474647"/>
                          </a:solidFill>
                          <a:effectLst/>
                          <a:latin typeface="Noto Sans" panose="020B0502040504020204" pitchFamily="34" charset="0"/>
                        </a:rPr>
                        <a:t>                              1,777.0</a:t>
                      </a:r>
                    </a:p>
                  </a:txBody>
                  <a:tcPr marL="0" marR="0" marT="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fontAlgn="b"/>
                      <a:r>
                        <a:rPr lang="en-US" sz="1100" b="0" i="0" u="none" strike="noStrike" dirty="0">
                          <a:solidFill>
                            <a:srgbClr val="000000"/>
                          </a:solidFill>
                          <a:effectLst/>
                          <a:latin typeface="Calibri" panose="020F0502020204030204" pitchFamily="34" charset="0"/>
                        </a:rPr>
                        <a:t>                           </a:t>
                      </a:r>
                      <a:r>
                        <a:rPr lang="en-US" sz="1100" b="0" i="0" u="none" strike="noStrike" dirty="0">
                          <a:solidFill>
                            <a:srgbClr val="474647"/>
                          </a:solidFill>
                          <a:effectLst/>
                          <a:latin typeface="Noto Sans" panose="020B0502040504020204" pitchFamily="34" charset="0"/>
                          <a:ea typeface="+mn-ea"/>
                          <a:cs typeface="+mn-cs"/>
                        </a:rPr>
                        <a:t>1,380.3</a:t>
                      </a:r>
                    </a:p>
                  </a:txBody>
                  <a:tcPr marL="0" marR="0" marT="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1" u="none" strike="noStrike" dirty="0">
                          <a:solidFill>
                            <a:srgbClr val="474647"/>
                          </a:solidFill>
                          <a:effectLst/>
                          <a:latin typeface="Noto Sans" panose="020B0502040504020204" pitchFamily="34" charset="0"/>
                        </a:rPr>
                        <a:t>                       397 </a:t>
                      </a:r>
                    </a:p>
                  </a:txBody>
                  <a:tcPr marL="0" marR="0" marT="0" marB="0" anchor="ctr">
                    <a:lnL>
                      <a:noFill/>
                    </a:lnL>
                    <a:lnR>
                      <a:noFill/>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b"/>
                      <a:r>
                        <a:rPr lang="en-US" sz="1100" b="0" i="1" u="none" strike="noStrike" dirty="0">
                          <a:solidFill>
                            <a:srgbClr val="474647"/>
                          </a:solidFill>
                          <a:effectLst/>
                          <a:latin typeface="Noto Sans" panose="020B0502040504020204" pitchFamily="34" charset="0"/>
                        </a:rPr>
                        <a:t>29%</a:t>
                      </a:r>
                    </a:p>
                  </a:txBody>
                  <a:tcPr marL="0" marR="0" marT="0" marB="0" anchor="ctr">
                    <a:lnL>
                      <a:noFill/>
                    </a:lnL>
                    <a:lnR w="12700" cap="flat" cmpd="sng" algn="ctr">
                      <a:solidFill>
                        <a:schemeClr val="accent1"/>
                      </a:solidFill>
                      <a:prstDash val="solid"/>
                      <a:round/>
                      <a:headEnd type="none" w="med" len="med"/>
                      <a:tailEnd type="none" w="med" len="med"/>
                    </a:lnR>
                    <a:lnT w="12700" cap="flat" cmpd="sng" algn="ctr">
                      <a:solidFill>
                        <a:schemeClr val="accent1"/>
                      </a:solidFill>
                      <a:prstDash val="solid"/>
                      <a:round/>
                      <a:headEnd type="none" w="med" len="med"/>
                      <a:tailEnd type="none" w="med" len="med"/>
                    </a:lnT>
                    <a:lnB w="12700" cap="flat" cmpd="sng" algn="ctr">
                      <a:solidFill>
                        <a:schemeClr val="accent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46764976"/>
                  </a:ext>
                </a:extLst>
              </a:tr>
            </a:tbl>
          </a:graphicData>
        </a:graphic>
      </p:graphicFrame>
      <p:sp>
        <p:nvSpPr>
          <p:cNvPr id="73" name="Rectangle 72">
            <a:extLst>
              <a:ext uri="{FF2B5EF4-FFF2-40B4-BE49-F238E27FC236}">
                <a16:creationId xmlns:a16="http://schemas.microsoft.com/office/drawing/2014/main" id="{FF20ED3A-B3A2-4C76-AF6D-4468BA06A480}"/>
              </a:ext>
            </a:extLst>
          </p:cNvPr>
          <p:cNvSpPr/>
          <p:nvPr/>
        </p:nvSpPr>
        <p:spPr>
          <a:xfrm>
            <a:off x="9036834" y="1423102"/>
            <a:ext cx="2960843" cy="4806248"/>
          </a:xfrm>
          <a:prstGeom prst="rect">
            <a:avLst/>
          </a:prstGeom>
          <a:noFill/>
          <a:ln w="19050" cap="rnd">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Noto Sans"/>
              <a:ea typeface="+mn-ea"/>
              <a:cs typeface="+mn-cs"/>
            </a:endParaRPr>
          </a:p>
        </p:txBody>
      </p:sp>
      <p:sp>
        <p:nvSpPr>
          <p:cNvPr id="80" name="TextBox 79"/>
          <p:cNvSpPr txBox="1"/>
          <p:nvPr/>
        </p:nvSpPr>
        <p:spPr>
          <a:xfrm>
            <a:off x="9171939" y="1813303"/>
            <a:ext cx="1188720" cy="123111"/>
          </a:xfrm>
          <a:prstGeom prst="rect">
            <a:avLst/>
          </a:prstGeom>
          <a:noFill/>
          <a:ln>
            <a:noFill/>
          </a:ln>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Noto Sans"/>
                <a:ea typeface="+mn-ea"/>
                <a:cs typeface="Arial" panose="020B0604020202020204" pitchFamily="34" charset="0"/>
              </a:rPr>
              <a:t>Current Assets </a:t>
            </a:r>
          </a:p>
        </p:txBody>
      </p:sp>
      <p:sp>
        <p:nvSpPr>
          <p:cNvPr id="81" name="TextBox 80"/>
          <p:cNvSpPr txBox="1"/>
          <p:nvPr/>
        </p:nvSpPr>
        <p:spPr>
          <a:xfrm>
            <a:off x="9055100" y="2474409"/>
            <a:ext cx="1393825" cy="369332"/>
          </a:xfrm>
          <a:prstGeom prst="rect">
            <a:avLst/>
          </a:prstGeom>
          <a:noFill/>
          <a:ln>
            <a:noFill/>
          </a:ln>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74647"/>
                </a:solidFill>
                <a:effectLst/>
                <a:uLnTx/>
                <a:uFillTx/>
                <a:latin typeface="Noto Sans"/>
                <a:ea typeface="+mn-ea"/>
                <a:cs typeface="Arial" panose="020B0604020202020204" pitchFamily="34" charset="0"/>
              </a:rPr>
              <a:t>Non-Current Asset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74647"/>
                </a:solidFill>
                <a:effectLst/>
                <a:uLnTx/>
                <a:uFillTx/>
                <a:latin typeface="Noto Sans"/>
                <a:ea typeface="+mn-ea"/>
                <a:cs typeface="Arial" panose="020B0604020202020204" pitchFamily="34" charset="0"/>
              </a:rPr>
              <a:t>Financial Assets at fair value  through </a:t>
            </a:r>
            <a:r>
              <a:rPr lang="en-US" sz="800" dirty="0">
                <a:solidFill>
                  <a:srgbClr val="474647"/>
                </a:solidFill>
                <a:latin typeface="Noto Sans"/>
                <a:cs typeface="Arial" panose="020B0604020202020204" pitchFamily="34" charset="0"/>
              </a:rPr>
              <a:t>OCI </a:t>
            </a:r>
            <a:endParaRPr kumimoji="0" lang="en-US" sz="800" b="0" i="0" u="none" strike="noStrike" kern="1200" cap="none" spc="0" normalizeH="0" baseline="0" noProof="0" dirty="0">
              <a:ln>
                <a:noFill/>
              </a:ln>
              <a:solidFill>
                <a:srgbClr val="474647"/>
              </a:solidFill>
              <a:effectLst/>
              <a:uLnTx/>
              <a:uFillTx/>
              <a:latin typeface="Noto Sans"/>
              <a:ea typeface="+mn-ea"/>
              <a:cs typeface="Arial" panose="020B0604020202020204" pitchFamily="34" charset="0"/>
            </a:endParaRPr>
          </a:p>
        </p:txBody>
      </p:sp>
      <p:sp>
        <p:nvSpPr>
          <p:cNvPr id="40" name="TextBox 39"/>
          <p:cNvSpPr txBox="1"/>
          <p:nvPr/>
        </p:nvSpPr>
        <p:spPr>
          <a:xfrm>
            <a:off x="9176702" y="4478808"/>
            <a:ext cx="1300797" cy="230832"/>
          </a:xfrm>
          <a:prstGeom prst="rect">
            <a:avLst/>
          </a:prstGeom>
          <a:noFill/>
          <a:ln>
            <a:noFill/>
          </a:ln>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74647"/>
                </a:solidFill>
                <a:effectLst/>
                <a:uLnTx/>
                <a:uFillTx/>
                <a:latin typeface="Noto Sans"/>
                <a:ea typeface="+mn-ea"/>
                <a:cs typeface="Arial" panose="020B0604020202020204" pitchFamily="34" charset="0"/>
              </a:rPr>
              <a:t>Non- Current Assets </a:t>
            </a:r>
            <a:r>
              <a:rPr kumimoji="0" lang="en-US" sz="700" b="0" i="0" u="none" strike="noStrike" kern="1200" cap="none" spc="0" normalizeH="0" baseline="0" noProof="0" dirty="0">
                <a:ln>
                  <a:noFill/>
                </a:ln>
                <a:solidFill>
                  <a:srgbClr val="474647"/>
                </a:solidFill>
                <a:effectLst/>
                <a:uLnTx/>
                <a:uFillTx/>
                <a:latin typeface="Noto Sans"/>
                <a:ea typeface="+mn-ea"/>
                <a:cs typeface="Arial" panose="020B0604020202020204" pitchFamily="34" charset="0"/>
              </a:rPr>
              <a:t>Excluding FA-OCI </a:t>
            </a:r>
          </a:p>
        </p:txBody>
      </p:sp>
      <p:sp>
        <p:nvSpPr>
          <p:cNvPr id="41" name="TextBox 40"/>
          <p:cNvSpPr txBox="1"/>
          <p:nvPr/>
        </p:nvSpPr>
        <p:spPr>
          <a:xfrm>
            <a:off x="10564496" y="4783496"/>
            <a:ext cx="1300797" cy="123111"/>
          </a:xfrm>
          <a:prstGeom prst="rect">
            <a:avLst/>
          </a:prstGeom>
          <a:noFill/>
          <a:ln>
            <a:noFill/>
          </a:ln>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474647"/>
                </a:solidFill>
                <a:effectLst/>
                <a:uLnTx/>
                <a:uFillTx/>
                <a:latin typeface="Noto Sans"/>
                <a:ea typeface="+mn-ea"/>
                <a:cs typeface="Arial" panose="020B0604020202020204" pitchFamily="34" charset="0"/>
              </a:rPr>
              <a:t>Total Equity</a:t>
            </a:r>
          </a:p>
        </p:txBody>
      </p:sp>
      <p:sp>
        <p:nvSpPr>
          <p:cNvPr id="11" name="TextBox 10"/>
          <p:cNvSpPr txBox="1"/>
          <p:nvPr/>
        </p:nvSpPr>
        <p:spPr>
          <a:xfrm>
            <a:off x="8090635" y="1240834"/>
            <a:ext cx="914400" cy="914400"/>
          </a:xfrm>
          <a:prstGeom prst="rect">
            <a:avLst/>
          </a:prstGeom>
          <a:noFill/>
          <a:ln>
            <a:noFill/>
          </a:ln>
        </p:spPr>
        <p:txBody>
          <a:bodyPr wrap="none" lIns="0" tIns="0" rIns="0" bIns="0" rtlCol="0" anchor="t" anchorCtr="0">
            <a:noAutofit/>
          </a:bodyPr>
          <a:lstStyle/>
          <a:p>
            <a:pPr marL="0" marR="0" lvl="0" indent="0" algn="l" defTabSz="914400" rtl="0" eaLnBrk="1" fontAlgn="auto" latinLnBrk="0" hangingPunct="1">
              <a:lnSpc>
                <a:spcPts val="35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74647"/>
                </a:solidFill>
                <a:effectLst/>
                <a:uLnTx/>
                <a:uFillTx/>
                <a:latin typeface="Noto Sans"/>
                <a:ea typeface="+mn-ea"/>
                <a:cs typeface="Etelka Text Pro"/>
              </a:rPr>
              <a:t>Assets </a:t>
            </a:r>
          </a:p>
        </p:txBody>
      </p:sp>
      <p:sp>
        <p:nvSpPr>
          <p:cNvPr id="43" name="TextBox 42"/>
          <p:cNvSpPr txBox="1"/>
          <p:nvPr/>
        </p:nvSpPr>
        <p:spPr>
          <a:xfrm>
            <a:off x="10590142" y="1250752"/>
            <a:ext cx="1398658" cy="600909"/>
          </a:xfrm>
          <a:prstGeom prst="rect">
            <a:avLst/>
          </a:prstGeom>
          <a:noFill/>
          <a:ln>
            <a:noFill/>
          </a:ln>
        </p:spPr>
        <p:txBody>
          <a:bodyPr wrap="none" lIns="0" tIns="0" rIns="0" bIns="0" rtlCol="0" anchor="t" anchorCtr="0">
            <a:noAutofit/>
          </a:bodyPr>
          <a:lstStyle/>
          <a:p>
            <a:pPr marL="0" marR="0" lvl="0" indent="0" algn="l" defTabSz="914400" rtl="0" eaLnBrk="1" fontAlgn="auto" latinLnBrk="0" hangingPunct="1">
              <a:lnSpc>
                <a:spcPts val="35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474647"/>
                </a:solidFill>
                <a:effectLst/>
                <a:uLnTx/>
                <a:uFillTx/>
                <a:latin typeface="Noto Sans"/>
                <a:ea typeface="+mn-ea"/>
                <a:cs typeface="Etelka Text Pro"/>
              </a:rPr>
              <a:t>Equity&amp;Liabilities </a:t>
            </a:r>
          </a:p>
        </p:txBody>
      </p:sp>
      <p:graphicFrame>
        <p:nvGraphicFramePr>
          <p:cNvPr id="7" name="Table 6">
            <a:extLst>
              <a:ext uri="{FF2B5EF4-FFF2-40B4-BE49-F238E27FC236}">
                <a16:creationId xmlns:a16="http://schemas.microsoft.com/office/drawing/2014/main" id="{F7D43A1F-3BC3-ACF0-0D8E-7A8EF7E10F17}"/>
              </a:ext>
            </a:extLst>
          </p:cNvPr>
          <p:cNvGraphicFramePr>
            <a:graphicFrameLocks noGrp="1"/>
          </p:cNvGraphicFramePr>
          <p:nvPr>
            <p:extLst>
              <p:ext uri="{D42A27DB-BD31-4B8C-83A1-F6EECF244321}">
                <p14:modId xmlns:p14="http://schemas.microsoft.com/office/powerpoint/2010/main" val="2850146238"/>
              </p:ext>
            </p:extLst>
          </p:nvPr>
        </p:nvGraphicFramePr>
        <p:xfrm>
          <a:off x="357735" y="5169299"/>
          <a:ext cx="6712545" cy="1049382"/>
        </p:xfrm>
        <a:graphic>
          <a:graphicData uri="http://schemas.openxmlformats.org/drawingml/2006/table">
            <a:tbl>
              <a:tblPr firstRow="1" bandRow="1">
                <a:tableStyleId>{5C22544A-7EE6-4342-B048-85BDC9FD1C3A}</a:tableStyleId>
              </a:tblPr>
              <a:tblGrid>
                <a:gridCol w="3000968">
                  <a:extLst>
                    <a:ext uri="{9D8B030D-6E8A-4147-A177-3AD203B41FA5}">
                      <a16:colId xmlns:a16="http://schemas.microsoft.com/office/drawing/2014/main" val="1328164858"/>
                    </a:ext>
                  </a:extLst>
                </a:gridCol>
                <a:gridCol w="1003300">
                  <a:extLst>
                    <a:ext uri="{9D8B030D-6E8A-4147-A177-3AD203B41FA5}">
                      <a16:colId xmlns:a16="http://schemas.microsoft.com/office/drawing/2014/main" val="1327735965"/>
                    </a:ext>
                  </a:extLst>
                </a:gridCol>
                <a:gridCol w="902759">
                  <a:extLst>
                    <a:ext uri="{9D8B030D-6E8A-4147-A177-3AD203B41FA5}">
                      <a16:colId xmlns:a16="http://schemas.microsoft.com/office/drawing/2014/main" val="2035288430"/>
                    </a:ext>
                  </a:extLst>
                </a:gridCol>
                <a:gridCol w="936996">
                  <a:extLst>
                    <a:ext uri="{9D8B030D-6E8A-4147-A177-3AD203B41FA5}">
                      <a16:colId xmlns:a16="http://schemas.microsoft.com/office/drawing/2014/main" val="3100470257"/>
                    </a:ext>
                  </a:extLst>
                </a:gridCol>
                <a:gridCol w="868522">
                  <a:extLst>
                    <a:ext uri="{9D8B030D-6E8A-4147-A177-3AD203B41FA5}">
                      <a16:colId xmlns:a16="http://schemas.microsoft.com/office/drawing/2014/main" val="2377822917"/>
                    </a:ext>
                  </a:extLst>
                </a:gridCol>
              </a:tblGrid>
              <a:tr h="276308">
                <a:tc>
                  <a:txBody>
                    <a:bodyPr/>
                    <a:lstStyle/>
                    <a:p>
                      <a:endParaRPr lang="en-US" sz="1200" b="1" u="sng"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i="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1" i="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70606844"/>
                  </a:ext>
                </a:extLst>
              </a:tr>
              <a:tr h="45389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mn-lt"/>
                          <a:cs typeface="Arial" panose="020B0604020202020204" pitchFamily="34" charset="0"/>
                        </a:rPr>
                        <a:t>Net Debt</a:t>
                      </a:r>
                      <a:endParaRPr lang="en-US" sz="1200" b="0" baseline="30000" dirty="0">
                        <a:solidFill>
                          <a:schemeClr val="tx1"/>
                        </a:solidFill>
                        <a:latin typeface="+mn-lt"/>
                        <a:cs typeface="Arial" panose="020B0604020202020204" pitchFamily="34" charset="0"/>
                      </a:endParaRPr>
                    </a:p>
                  </a:txBody>
                  <a:tcPr marR="0" marT="0"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t"/>
                      <a:r>
                        <a:rPr lang="en-US" sz="1200" b="0" baseline="0" dirty="0">
                          <a:solidFill>
                            <a:schemeClr val="tx1"/>
                          </a:solidFill>
                          <a:latin typeface="+mn-lt"/>
                          <a:ea typeface="+mn-ea"/>
                          <a:cs typeface="Arial" panose="020B0604020202020204" pitchFamily="34" charset="0"/>
                        </a:rPr>
                        <a:t>874.1</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t"/>
                      <a:r>
                        <a:rPr lang="en-US" sz="1200" b="0" baseline="0" dirty="0">
                          <a:solidFill>
                            <a:schemeClr val="tx1"/>
                          </a:solidFill>
                          <a:latin typeface="+mn-lt"/>
                          <a:ea typeface="+mn-ea"/>
                          <a:cs typeface="Arial" panose="020B0604020202020204" pitchFamily="34" charset="0"/>
                        </a:rPr>
                        <a:t>794.8</a:t>
                      </a: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i="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i="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noFill/>
                      <a:prstDash val="solid"/>
                      <a:round/>
                      <a:headEnd type="none" w="med" len="med"/>
                      <a:tailEnd type="none" w="med" len="med"/>
                    </a:lnT>
                    <a:lnB w="12700" cap="flat" cmpd="sng" algn="ctr">
                      <a:solidFill>
                        <a:schemeClr val="bg1">
                          <a:lumMod val="95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81246071"/>
                  </a:ext>
                </a:extLst>
              </a:tr>
              <a:tr h="31917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b="0" dirty="0">
                          <a:solidFill>
                            <a:schemeClr val="tx1"/>
                          </a:solidFill>
                          <a:latin typeface="+mn-lt"/>
                          <a:cs typeface="Arial" panose="020B0604020202020204" pitchFamily="34" charset="0"/>
                        </a:rPr>
                        <a:t>Net Debt / EBITDA</a:t>
                      </a:r>
                      <a:r>
                        <a:rPr lang="en-US" sz="1200" b="0" baseline="30000" dirty="0">
                          <a:solidFill>
                            <a:schemeClr val="tx1"/>
                          </a:solidFill>
                          <a:latin typeface="+mn-lt"/>
                          <a:cs typeface="Arial" panose="020B0604020202020204" pitchFamily="34" charset="0"/>
                        </a:rPr>
                        <a:t>1</a:t>
                      </a:r>
                      <a:r>
                        <a:rPr lang="en-US" sz="1200" b="0" dirty="0">
                          <a:solidFill>
                            <a:schemeClr val="tx1"/>
                          </a:solidFill>
                          <a:latin typeface="+mn-lt"/>
                          <a:cs typeface="Arial" panose="020B0604020202020204" pitchFamily="34" charset="0"/>
                        </a:rPr>
                        <a:t> </a:t>
                      </a:r>
                      <a:endParaRPr lang="en-US" sz="1200" b="0" baseline="30000" dirty="0">
                        <a:solidFill>
                          <a:schemeClr val="tx1"/>
                        </a:solidFill>
                        <a:latin typeface="+mn-lt"/>
                        <a:cs typeface="Arial" panose="020B0604020202020204" pitchFamily="34" charset="0"/>
                      </a:endParaRPr>
                    </a:p>
                  </a:txBody>
                  <a:tcPr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rtl="0" fontAlgn="t"/>
                      <a:r>
                        <a:rPr lang="en-US" sz="1200" b="0" baseline="0" dirty="0">
                          <a:solidFill>
                            <a:schemeClr val="tx1"/>
                          </a:solidFill>
                          <a:latin typeface="+mn-lt"/>
                          <a:ea typeface="+mn-ea"/>
                          <a:cs typeface="Arial" panose="020B0604020202020204" pitchFamily="34" charset="0"/>
                        </a:rPr>
                        <a:t>3.7X</a:t>
                      </a:r>
                    </a:p>
                  </a:txBody>
                  <a:tcPr marL="0" marR="0" marT="0" marB="0" anchor="ctr">
                    <a:lnL w="12700" cmpd="sng">
                      <a:noFill/>
                    </a:lnL>
                    <a:lnR w="12700" cmpd="sng">
                      <a:noFill/>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a:txBody>
                    <a:bodyPr/>
                    <a:lstStyle/>
                    <a:p>
                      <a:pPr algn="ctr" rtl="0" fontAlgn="t"/>
                      <a:r>
                        <a:rPr lang="en-US" sz="1200" b="0" baseline="0" dirty="0">
                          <a:solidFill>
                            <a:schemeClr val="tx1"/>
                          </a:solidFill>
                          <a:latin typeface="+mn-lt"/>
                          <a:ea typeface="+mn-ea"/>
                          <a:cs typeface="Arial" panose="020B0604020202020204" pitchFamily="34" charset="0"/>
                        </a:rPr>
                        <a:t>4.3X</a:t>
                      </a:r>
                      <a:endParaRPr lang="en-US" sz="1200" b="0" baseline="30000" dirty="0">
                        <a:solidFill>
                          <a:schemeClr val="tx1"/>
                        </a:solidFill>
                        <a:latin typeface="+mn-lt"/>
                        <a:ea typeface="+mn-ea"/>
                        <a:cs typeface="Arial" panose="020B0604020202020204" pitchFamily="34" charset="0"/>
                      </a:endParaRP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14400" rtl="0" eaLnBrk="1" fontAlgn="t" latinLnBrk="0" hangingPunct="1"/>
                      <a:endParaRPr lang="en-US" sz="1200" b="0" i="0" u="none" strike="noStrike" kern="1200" dirty="0">
                        <a:solidFill>
                          <a:schemeClr val="tx1"/>
                        </a:solidFill>
                        <a:effectLst/>
                        <a:latin typeface="+mn-lt"/>
                        <a:ea typeface="+mn-ea"/>
                        <a:cs typeface="Arial" panose="020B0604020202020204" pitchFamily="34" charset="0"/>
                      </a:endParaRP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US" sz="1200" b="0" i="1" dirty="0">
                        <a:solidFill>
                          <a:schemeClr val="tx1"/>
                        </a:solidFill>
                        <a:latin typeface="+mn-lt"/>
                        <a:cs typeface="Arial" panose="020B0604020202020204" pitchFamily="34" charset="0"/>
                      </a:endParaRPr>
                    </a:p>
                  </a:txBody>
                  <a:tcPr marL="0" marR="0" marT="0" marB="0" anchor="ctr">
                    <a:lnL w="12700" cmpd="sng">
                      <a:noFill/>
                    </a:lnL>
                    <a:lnR w="12700" cmpd="sng">
                      <a:noFill/>
                    </a:lnR>
                    <a:lnT w="12700" cap="flat" cmpd="sng" algn="ctr">
                      <a:solidFill>
                        <a:schemeClr val="bg1">
                          <a:lumMod val="95000"/>
                        </a:schemeClr>
                      </a:solid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4347312"/>
                  </a:ext>
                </a:extLst>
              </a:tr>
            </a:tbl>
          </a:graphicData>
        </a:graphic>
      </p:graphicFrame>
      <p:sp>
        <p:nvSpPr>
          <p:cNvPr id="8" name="TextBox 7">
            <a:extLst>
              <a:ext uri="{FF2B5EF4-FFF2-40B4-BE49-F238E27FC236}">
                <a16:creationId xmlns:a16="http://schemas.microsoft.com/office/drawing/2014/main" id="{488BEDFF-9E12-71EC-2204-9FA5FAA4DA1D}"/>
              </a:ext>
            </a:extLst>
          </p:cNvPr>
          <p:cNvSpPr txBox="1"/>
          <p:nvPr/>
        </p:nvSpPr>
        <p:spPr>
          <a:xfrm>
            <a:off x="324962" y="5222790"/>
            <a:ext cx="1688634" cy="287994"/>
          </a:xfrm>
          <a:prstGeom prst="rect">
            <a:avLst/>
          </a:prstGeom>
          <a:solidFill>
            <a:schemeClr val="bg1"/>
          </a:solidFill>
          <a:ln>
            <a:noFill/>
          </a:ln>
        </p:spPr>
        <p:txBody>
          <a:bodyPr wrap="square" lIns="91440" tIns="0" rIns="0" bIns="0" rtlCol="0" anchor="ctr" anchorCtr="0">
            <a:noAutofit/>
          </a:bodyPr>
          <a:lstStyle/>
          <a:p>
            <a:pPr marL="0" marR="0" lvl="0" indent="0" algn="l" defTabSz="457109" rtl="0" eaLnBrk="1" fontAlgn="base" latinLnBrk="0" hangingPunct="1">
              <a:lnSpc>
                <a:spcPts val="1750"/>
              </a:lnSpc>
              <a:spcBef>
                <a:spcPct val="0"/>
              </a:spcBef>
              <a:spcAft>
                <a:spcPct val="0"/>
              </a:spcAft>
              <a:buClrTx/>
              <a:buSzTx/>
              <a:buFontTx/>
              <a:buNone/>
              <a:tabLst/>
              <a:defRPr/>
            </a:pPr>
            <a:r>
              <a:rPr lang="en-SG" sz="1200" b="1" u="sng" dirty="0">
                <a:cs typeface="Arial" panose="020B0604020202020204" pitchFamily="34" charset="0"/>
              </a:rPr>
              <a:t>Financial Metrices</a:t>
            </a:r>
            <a:endParaRPr lang="en-US" sz="1200" b="1" u="sng" dirty="0">
              <a:cs typeface="Arial" panose="020B0604020202020204" pitchFamily="34" charset="0"/>
            </a:endParaRPr>
          </a:p>
        </p:txBody>
      </p:sp>
      <p:sp>
        <p:nvSpPr>
          <p:cNvPr id="2" name="Rectangle 1">
            <a:extLst>
              <a:ext uri="{FF2B5EF4-FFF2-40B4-BE49-F238E27FC236}">
                <a16:creationId xmlns:a16="http://schemas.microsoft.com/office/drawing/2014/main" id="{AA7D6DA4-4C7E-1443-0061-A4A1C316FD55}"/>
              </a:ext>
            </a:extLst>
          </p:cNvPr>
          <p:cNvSpPr/>
          <p:nvPr/>
        </p:nvSpPr>
        <p:spPr>
          <a:xfrm>
            <a:off x="312358" y="6506420"/>
            <a:ext cx="3016898" cy="215444"/>
          </a:xfrm>
          <a:prstGeom prst="rect">
            <a:avLst/>
          </a:prstGeom>
        </p:spPr>
        <p:txBody>
          <a:bodyPr wrap="square">
            <a:spAutoFit/>
          </a:bodyPr>
          <a:lstStyle/>
          <a:p>
            <a:pPr marR="0" lvl="0" algn="l" defTabSz="914217" rtl="0" eaLnBrk="1" fontAlgn="auto" latinLnBrk="0" hangingPunct="1">
              <a:lnSpc>
                <a:spcPct val="100000"/>
              </a:lnSpc>
              <a:spcBef>
                <a:spcPts val="0"/>
              </a:spcBef>
              <a:spcAft>
                <a:spcPts val="0"/>
              </a:spcAft>
              <a:buClrTx/>
              <a:buSzTx/>
              <a:tabLst/>
              <a:defRPr/>
            </a:pPr>
            <a:r>
              <a:rPr lang="en-US" sz="800" baseline="30000" dirty="0">
                <a:solidFill>
                  <a:srgbClr val="4B4B4B"/>
                </a:solidFill>
                <a:latin typeface="Noto Sans"/>
                <a:ea typeface="ＭＳ Ｐゴシック" charset="0"/>
                <a:cs typeface="Arial" panose="020B0604020202020204" pitchFamily="34" charset="0"/>
              </a:rPr>
              <a:t>1</a:t>
            </a:r>
            <a:r>
              <a:rPr kumimoji="0" lang="en-US" sz="800" b="0" i="0" u="none" strike="noStrike" kern="1200" cap="none" spc="0" normalizeH="0" baseline="0" noProof="0" dirty="0">
                <a:ln>
                  <a:noFill/>
                </a:ln>
                <a:solidFill>
                  <a:srgbClr val="4B4B4B"/>
                </a:solidFill>
                <a:effectLst/>
                <a:uLnTx/>
                <a:uFillTx/>
                <a:latin typeface="Noto Sans"/>
                <a:ea typeface="ＭＳ Ｐゴシック" charset="0"/>
                <a:cs typeface="Arial" panose="020B0604020202020204" pitchFamily="34" charset="0"/>
              </a:rPr>
              <a:t> </a:t>
            </a:r>
            <a:r>
              <a:rPr lang="en-US" sz="800" dirty="0">
                <a:solidFill>
                  <a:srgbClr val="4B4B4B"/>
                </a:solidFill>
                <a:latin typeface="Noto Sans"/>
                <a:ea typeface="ＭＳ Ｐゴシック" charset="0"/>
                <a:cs typeface="Arial" panose="020B0604020202020204" pitchFamily="34" charset="0"/>
              </a:rPr>
              <a:t>Quarter EBITDA is annualized </a:t>
            </a:r>
            <a:endParaRPr kumimoji="0" lang="en-US" sz="800" b="0" i="0" u="none" strike="noStrike" kern="1200" cap="none" spc="0" normalizeH="0" baseline="0" noProof="0" dirty="0">
              <a:ln>
                <a:noFill/>
              </a:ln>
              <a:solidFill>
                <a:srgbClr val="474647"/>
              </a:solidFill>
              <a:effectLst/>
              <a:uLnTx/>
              <a:uFillTx/>
              <a:latin typeface="Noto Sans"/>
              <a:ea typeface="ＭＳ Ｐゴシック" charset="0"/>
              <a:cs typeface="Arial" panose="020B0604020202020204" pitchFamily="34" charset="0"/>
            </a:endParaRPr>
          </a:p>
        </p:txBody>
      </p:sp>
    </p:spTree>
    <p:extLst>
      <p:ext uri="{BB962C8B-B14F-4D97-AF65-F5344CB8AC3E}">
        <p14:creationId xmlns:p14="http://schemas.microsoft.com/office/powerpoint/2010/main" val="28516075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23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d.&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21&quot;&gt;&lt;elem m_fUsage=&quot;3.29933203408681263724E+00&quot;&gt;&lt;m_msothmcolidx val=&quot;0&quot;/&gt;&lt;m_rgb r=&quot;EC&quot; g=&quot;93&quot; b=&quot;51&quot;/&gt;&lt;/elem&gt;&lt;elem m_fUsage=&quot;2.70480608920103460235E+00&quot;&gt;&lt;m_msothmcolidx val=&quot;0&quot;/&gt;&lt;m_rgb r=&quot;FA&quot; g=&quot;DF&quot; b=&quot;CE&quot;/&gt;&lt;/elem&gt;&lt;elem m_fUsage=&quot;1.00499219499603476002E+00&quot;&gt;&lt;m_msothmcolidx val=&quot;0&quot;/&gt;&lt;m_rgb r=&quot;FA&quot; g=&quot;CF&quot; b=&quot;6B&quot;/&gt;&lt;/elem&gt;&lt;elem m_fUsage=&quot;9.30683274781411218335E-01&quot;&gt;&lt;m_msothmcolidx val=&quot;0&quot;/&gt;&lt;m_rgb r=&quot;F5&quot; g=&quot;BD&quot; b=&quot;47&quot;/&gt;&lt;/elem&gt;&lt;elem m_fUsage=&quot;8.87725028271936555946E-01&quot;&gt;&lt;m_msothmcolidx val=&quot;0&quot;/&gt;&lt;m_rgb r=&quot;F3&quot; g=&quot;BD&quot; b=&quot;96&quot;/&gt;&lt;/elem&gt;&lt;elem m_fUsage=&quot;4.58097429231512531800E-01&quot;&gt;&lt;m_msothmcolidx val=&quot;0&quot;/&gt;&lt;m_rgb r=&quot;B3&quot; g=&quot;0D&quot; b=&quot;04&quot;/&gt;&lt;/elem&gt;&lt;elem m_fUsage=&quot;2.56580763493979568945E-01&quot;&gt;&lt;m_msothmcolidx val=&quot;0&quot;/&gt;&lt;m_rgb r=&quot;E5&quot; g=&quot;E3&quot; b=&quot;DD&quot;/&gt;&lt;/elem&gt;&lt;elem m_fUsage=&quot;2.54189692646922982266E-01&quot;&gt;&lt;m_msothmcolidx val=&quot;0&quot;/&gt;&lt;m_rgb r=&quot;F0&quot; g=&quot;86&quot; b=&quot;1C&quot;/&gt;&lt;/elem&gt;&lt;elem m_fUsage=&quot;8.06781365479792705875E-02&quot;&gt;&lt;m_msothmcolidx val=&quot;0&quot;/&gt;&lt;m_rgb r=&quot;48&quot; g=&quot;94&quot; b=&quot;62&quot;/&gt;&lt;/elem&gt;&lt;elem m_fUsage=&quot;2.50315550499324440681E-02&quot;&gt;&lt;m_msothmcolidx val=&quot;0&quot;/&gt;&lt;m_rgb r=&quot;7C&quot; g=&quot;9F&quot; b=&quot;C3&quot;/&gt;&lt;/elem&gt;&lt;elem m_fUsage=&quot;2.02755595904452780298E-02&quot;&gt;&lt;m_msothmcolidx val=&quot;0&quot;/&gt;&lt;m_rgb r=&quot;C4&quot; g=&quot;BF&quot; b=&quot;B6&quot;/&gt;&lt;/elem&gt;&lt;elem m_fUsage=&quot;1.82480036314007498799E-02&quot;&gt;&lt;m_msothmcolidx val=&quot;0&quot;/&gt;&lt;m_rgb r=&quot;D8&quot; g=&quot;60&quot; b=&quot;18&quot;/&gt;&lt;/elem&gt;&lt;elem m_fUsage=&quot;1.64232032682606748919E-02&quot;&gt;&lt;m_msothmcolidx val=&quot;0&quot;/&gt;&lt;m_rgb r=&quot;ED&quot; g=&quot;8B&quot; b=&quot;00&quot;/&gt;&lt;/elem&gt;&lt;elem m_fUsage=&quot;1.47808829414346077497E-02&quot;&gt;&lt;m_msothmcolidx val=&quot;0&quot;/&gt;&lt;m_rgb r=&quot;DD&quot; g=&quot;CB&quot; b=&quot;A4&quot;/&gt;&lt;/elem&gt;&lt;elem m_fUsage=&quot;1.33027946472911474951E-02&quot;&gt;&lt;m_msothmcolidx val=&quot;0&quot;/&gt;&lt;m_rgb r=&quot;80&quot; g=&quot;54&quot; b=&quot;75&quot;/&gt;&lt;/elem&gt;&lt;elem m_fUsage=&quot;6.83377385470027975262E-03&quot;&gt;&lt;m_msothmcolidx val=&quot;0&quot;/&gt;&lt;m_rgb r=&quot;A6&quot; g=&quot;9D&quot; b=&quot;79&quot;/&gt;&lt;/elem&gt;&lt;elem m_fUsage=&quot;6.36268544113594968631E-03&quot;&gt;&lt;m_msothmcolidx val=&quot;0&quot;/&gt;&lt;m_rgb r=&quot;46&quot; g=&quot;74&quot; b=&quot;01&quot;/&gt;&lt;/elem&gt;&lt;elem m_fUsage=&quot;9.12428602945128354104E-04&quot;&gt;&lt;m_msothmcolidx val=&quot;0&quot;/&gt;&lt;m_rgb r=&quot;92&quot; g=&quot;00&quot; b=&quot;00&quot;/&gt;&lt;/elem&gt;&lt;elem m_fUsage=&quot;4.11098316705697298425E-04&quot;&gt;&lt;m_msothmcolidx val=&quot;0&quot;/&gt;&lt;m_rgb r=&quot;C4&quot; g=&quot;00&quot; b=&quot;00&quot;/&gt;&lt;/elem&gt;&lt;elem m_fUsage=&quot;3.32989636531614858345E-04&quot;&gt;&lt;m_msothmcolidx val=&quot;0&quot;/&gt;&lt;m_rgb r=&quot;86&quot; g=&quot;0D&quot; b=&quot;10&quot;/&gt;&lt;/elem&gt;&lt;elem m_fUsage=&quot;3.56781632662988609366E-07&quot;&gt;&lt;m_msothmcolidx val=&quot;0&quot;/&gt;&lt;m_rgb r=&quot;D8&quot; g=&quot;B7&quot; b=&quot;78&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VPHmj4h_35wmWATrYgvtD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ZcAp.8MJz6hrCCkImdQz6g"/>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v_o7fhRhgwo2iD2gCJiWT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CrgWOla0AIceW7Fu3gDY4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n55wbxBTXSAmHFgb4d0UE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sD_Pj4n8rCd9VfB66kT4t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BsJ9fya1Q2vTY7tIKHNPt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sVQ.2IRwlGCX776HsQWskw"/>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gBC7qFyzkx5r0ujFfPF.S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_dkXI9h8OFs3zUk7xZljO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ENAME" val="SLIDEDRAFT"/>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pFkbAdoJTCCRa7hf7fWfx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8wPpExjZfMCFw5GQVqNb1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fn6wlk_USJ1pertzI0EAC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e9MbwgABgwF6sd2pSqutj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Tj8HPhcOb52bjJvs.cRsx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fXxhUnNcY_2WC521hHJpf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NDZ9QMqgRLQe9T3CHyMWo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rpRg8Vlt5ggp_XRnkZOd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J2VWUQIRXf.wlT9YZKp3R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c3aiw23oYGd8FxPN7CHgjg"/>
</p:tagLst>
</file>

<file path=ppt/tags/tag12.xml><?xml version="1.0" encoding="utf-8"?>
<p:tagLst xmlns:a="http://schemas.openxmlformats.org/drawingml/2006/main" xmlns:r="http://schemas.openxmlformats.org/officeDocument/2006/relationships" xmlns:p="http://schemas.openxmlformats.org/presentationml/2006/main">
  <p:tag name="ENAME" val="SLIDEDRAFT"/>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c210vDT_raEGLEzO6pVhT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AS0AuvAW85iAlhKVenvtE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yZKpjtS7DWXFv.iQ_C9W.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38gpxHgPpxigTYH8AuhNt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nehuphFIKFsJPfpXyd2W9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Wa.i3Nttqugqeqs4tElqQ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DzoH4bB9s03Zeo5_EmsQcw"/>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TUlVDmrJbTv76lNLIYnyU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DTQqAiiOcU2eDNnFa_r_A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m4YRxBKYaRO5aezV9yAVg"/>
</p:tagLst>
</file>

<file path=ppt/tags/tag13.xml><?xml version="1.0" encoding="utf-8"?>
<p:tagLst xmlns:a="http://schemas.openxmlformats.org/drawingml/2006/main" xmlns:r="http://schemas.openxmlformats.org/officeDocument/2006/relationships" xmlns:p="http://schemas.openxmlformats.org/presentationml/2006/main">
  <p:tag name="ENAME" val="COVERLOGO"/>
  <p:tag name="IGNOREFONTNONCOMPLIANCE" val="0"/>
  <p:tag name="FONTNAME" val="Arial"/>
  <p:tag name="FONTSIZE" val="13"/>
  <p:tag name="FONTBOLD" val="0"/>
  <p:tag name="FONTITALIC" val="0"/>
  <p:tag name="FONTULINE" val="0"/>
  <p:tag name="FONTSHADOW" val="0"/>
  <p:tag name="FONTALIGNMENT" val="2"/>
  <p:tag name="FONTCOLOR" val="0"/>
  <p:tag name="FONT_COLOR_TYPE" val="1"/>
  <p:tag name="FONT_COLOR_SCHEME_INDEX" val="0"/>
  <p:tag name="IGNORECOLORLINESNONCOMPLIANCE" val="0"/>
  <p:tag name="FILLVISIBLE" val="0"/>
  <p:tag name="FILLCOLOR" val="16777215"/>
  <p:tag name="FILL_COLOR_SCHEME_INDEX" val="0"/>
  <p:tag name="FILL_COLOR_TYPE" val="1"/>
  <p:tag name="FILLCOLORING" val="No Fill"/>
  <p:tag name="LINEVISIBLE" val="-1"/>
  <p:tag name="LINECOLOR" val="15707648"/>
  <p:tag name="LINE_COLOR_SCHEME_INDEX" val="0"/>
  <p:tag name="LINE_COLOR_TYPE" val="1"/>
  <p:tag name="IGNOREPOSITIONNONCOMPLIANCE" val="0"/>
  <p:tag name="POSITIONTOP" val="79.625"/>
  <p:tag name="POSITIONLEFT" val="521.496"/>
  <p:tag name="IGNORESIZENONCOMPLIANCE" val="0"/>
  <p:tag name="SIZEWIDTH" val="216"/>
  <p:tag name="SIZEHEIGHT" val="72"/>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ZcAp.8MJz6hrCCkImdQz6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v_o7fhRhgwo2iD2gCJiWT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CrgWOla0AIceW7Fu3gDY4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n55wbxBTXSAmHFgb4d0UE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sD_Pj4n8rCd9VfB66kT4t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BsJ9fya1Q2vTY7tIKHNPt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sVQ.2IRwlGCX776HsQWsk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gBC7qFyzkx5r0ujFfPF.Sg"/>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_dkXI9h8OFs3zUk7xZljO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ENAME" val="SLIDEDRAFT"/>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pFkbAdoJTCCRa7hf7fWfxg"/>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pFkbAdoJTCCRa7hf7fWfx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Nskts46by3dxKZFBIwWQc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66J5JQ0gcfACdGZEowZ83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EU.MaqHDji3x8E_Rbrmh8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XPYKkvfhDY.KXPE6216ow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y2Bmfmi4c1xn9ZTkoraHV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thtFzW.uYa795fjR8gidl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Wcxc4EJUOe74.WoTkgU8FQ"/>
</p:tagLst>
</file>

<file path=ppt/tags/tag15.xml><?xml version="1.0" encoding="utf-8"?>
<p:tagLst xmlns:a="http://schemas.openxmlformats.org/drawingml/2006/main" xmlns:r="http://schemas.openxmlformats.org/officeDocument/2006/relationships" xmlns:p="http://schemas.openxmlformats.org/presentationml/2006/main">
  <p:tag name="ENAME" val="SLIDEDRAFT"/>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fe90TOOtoI2uWAg8PVHNPg"/>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z63gzbX7B.9Bkpt3vc41X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1mjJ_dSf5pyeCMiyhbZSo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4l3eaYazeLbtoHWIttM.N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6TdNaj3I8VYsYYZM6H6Wd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aaUlQl7E8D04iBXQXZaos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fMcAzWgEFIia5yUXmRbEUA"/>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aHAE3j.92EZ6mr31t.lPg"/>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i624DE.KwlDtr6pSi.PFWw"/>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iscCAt4t8TMOGvDVQqYZ.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OYfZzJYXLpKWbplccrIG7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ZCyszHaDGRZzVLFpzThIVQ"/>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wUogOCNi.OiDFH6oG10ifg"/>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WMAvhzO1JZIY5QJyc2Y8C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7wO7aepJknyDCu6iWBxC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6xW0HIrH5nLc_u0Fo6iKtg"/>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jhgDMNY7pp_Pbi98_HYal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yNZjv2noQVzBYwYrQPL8w"/>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pFkbAdoJTCCRa7hf7fWfx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jCJpybKttOfU45Tn.sg71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du.tnoY_c70EEG6p2obcV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WdWYse4Epdgxg1Lj4GxonQ"/>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VaupGT47kuqrGtTYYan3v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TwT7gDDUYyUqIXUgL4J0J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jU3NGsk6ijv9RdVlLJm8Q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cVXvoHt1nGiZm3U9RS8_v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xKL_TpuIhMzkMRZXv6ziKQ"/>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8xtqaFDYBY5s3fnCkPjY.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boBQ6OaIh_ThPlOwwJ7zW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UJw6xZ_VooRj9StmpqBtjg"/>
</p:tagLst>
</file>

<file path=ppt/tags/tag18.xml><?xml version="1.0" encoding="utf-8"?>
<p:tagLst xmlns:a="http://schemas.openxmlformats.org/drawingml/2006/main" xmlns:r="http://schemas.openxmlformats.org/officeDocument/2006/relationships" xmlns:p="http://schemas.openxmlformats.org/presentationml/2006/main">
  <p:tag name="ENAME" val="SLIDEDRAFT"/>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gxBpbAuXNcu0yWRPuM3OpQ"/>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6uva4CEBjnSAbbEsMChZe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Z04IJymkLgTOGzR_rkOo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kK9q8vwmPReTBD0oXX33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Q2Si5cvBZOqzRw7ktcdtxg"/>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X_KJ6QePR4XeFL8mHlagH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ShrrWv581A2aL1RDIhnGyg"/>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alXTHFaHV8DqC_V.e9g8Aw"/>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Jafi7NuYDF6vR4Qpot5X2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k560tA.a0DxBbcISWcBL0g"/>
</p:tagLst>
</file>

<file path=ppt/tags/tag19.xml><?xml version="1.0" encoding="utf-8"?>
<p:tagLst xmlns:a="http://schemas.openxmlformats.org/drawingml/2006/main" xmlns:r="http://schemas.openxmlformats.org/officeDocument/2006/relationships" xmlns:p="http://schemas.openxmlformats.org/presentationml/2006/main">
  <p:tag name="ENAME" val="SLIDEDRAFT"/>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FYQxHxjGmUioX0cAzFYBf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5pyuCM6otrOz1bRhbQWbx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KLjAId4fu179tEm0VcPG5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f67dHpSj.nv9g0Lr3Aouq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dIGbQ0ox6AJLsh9e5TNnT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aMuTSXgZkYnLL8QkC_4OW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dHclFCNnr5i0J1f1yOenw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pFkbAdoJTCCRa7hf7fWfx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tbLtuZPqQXbfNrUhsT6y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NAME" val="COVERLOGO"/>
  <p:tag name="IGNOREFONTNONCOMPLIANCE" val="0"/>
  <p:tag name="FONTNAME" val="Arial"/>
  <p:tag name="FONTSIZE" val="13"/>
  <p:tag name="FONTBOLD" val="0"/>
  <p:tag name="FONTITALIC" val="0"/>
  <p:tag name="FONTULINE" val="0"/>
  <p:tag name="FONTSHADOW" val="0"/>
  <p:tag name="FONTALIGNMENT" val="2"/>
  <p:tag name="FONTCOLOR" val="0"/>
  <p:tag name="FONT_COLOR_TYPE" val="1"/>
  <p:tag name="FONT_COLOR_SCHEME_INDEX" val="0"/>
  <p:tag name="IGNORECOLORLINESNONCOMPLIANCE" val="0"/>
  <p:tag name="FILLVISIBLE" val="0"/>
  <p:tag name="FILLCOLOR" val="16777215"/>
  <p:tag name="FILL_COLOR_SCHEME_INDEX" val="0"/>
  <p:tag name="FILL_COLOR_TYPE" val="1"/>
  <p:tag name="FILLCOLORING" val="No Fill"/>
  <p:tag name="LINEVISIBLE" val="-1"/>
  <p:tag name="LINECOLOR" val="15707648"/>
  <p:tag name="LINE_COLOR_SCHEME_INDEX" val="0"/>
  <p:tag name="LINE_COLOR_TYPE" val="1"/>
  <p:tag name="IGNOREPOSITIONNONCOMPLIANCE" val="0"/>
  <p:tag name="POSITIONTOP" val="79.625"/>
  <p:tag name="POSITIONLEFT" val="521.496"/>
  <p:tag name="IGNORESIZENONCOMPLIANCE" val="0"/>
  <p:tag name="SIZEWIDTH" val="216"/>
  <p:tag name="SIZEHEIGHT" val="72"/>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22Qpk2I82sU6N1iCffwKl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600fiDMHrIDLafcM_nk_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5cxYkVZe6XIaylErMsR_u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vAo14DIczLVnA63wd.dg5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6G3tS3hwxE2xnmYBp9.DSQ"/>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FoNT6Uzd2ITfLCZ0IeZ8z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jZfFJJ1eGKUzAsKMpqNZt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pZSCZVXQcLRW_QD7BrI.e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IHRs6UEFKbzikJGHyWanv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kkig0eeX4HB7wbot6Oc7wA"/>
</p:tagLst>
</file>

<file path=ppt/tags/tag21.xml><?xml version="1.0" encoding="utf-8"?>
<p:tagLst xmlns:a="http://schemas.openxmlformats.org/drawingml/2006/main" xmlns:r="http://schemas.openxmlformats.org/officeDocument/2006/relationships" xmlns:p="http://schemas.openxmlformats.org/presentationml/2006/main">
  <p:tag name="ENAME" val="SLIDEDRAFT"/>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Ozbfl.JG0UZymmUy1Osuhw"/>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K_c10B7om3hUuzcvcBccDg"/>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P2xVuKMAwwqCf1VWxv3odQ"/>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6xDbCwFPwrPKJC4jnAfvA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NOTlhER3SXn_xfXMI6mVFw"/>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QAlrWtc2CmT9nQibAFue6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NAME" val="SLIDEDRAFT"/>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J0ZPCoTGzsRifBD4gHI73g"/>
</p:tagLst>
</file>

<file path=ppt/tags/tag25.xml><?xml version="1.0" encoding="utf-8"?>
<p:tagLst xmlns:a="http://schemas.openxmlformats.org/drawingml/2006/main" xmlns:r="http://schemas.openxmlformats.org/officeDocument/2006/relationships" xmlns:p="http://schemas.openxmlformats.org/presentationml/2006/main">
  <p:tag name="ENAME" val="SLIDEDRAFT"/>
</p:tagLst>
</file>

<file path=ppt/tags/tag26.xml><?xml version="1.0" encoding="utf-8"?>
<p:tagLst xmlns:a="http://schemas.openxmlformats.org/drawingml/2006/main" xmlns:r="http://schemas.openxmlformats.org/officeDocument/2006/relationships" xmlns:p="http://schemas.openxmlformats.org/presentationml/2006/main">
  <p:tag name="ENAME" val="SLIDEDRAFT"/>
</p:tagLst>
</file>

<file path=ppt/tags/tag27.xml><?xml version="1.0" encoding="utf-8"?>
<p:tagLst xmlns:a="http://schemas.openxmlformats.org/drawingml/2006/main" xmlns:r="http://schemas.openxmlformats.org/officeDocument/2006/relationships" xmlns:p="http://schemas.openxmlformats.org/presentationml/2006/main">
  <p:tag name="ENAME" val="COVERLOGO"/>
  <p:tag name="IGNOREFONTNONCOMPLIANCE" val="0"/>
  <p:tag name="FONTNAME" val="Arial"/>
  <p:tag name="FONTSIZE" val="13"/>
  <p:tag name="FONTBOLD" val="0"/>
  <p:tag name="FONTITALIC" val="0"/>
  <p:tag name="FONTULINE" val="0"/>
  <p:tag name="FONTSHADOW" val="0"/>
  <p:tag name="FONTALIGNMENT" val="2"/>
  <p:tag name="FONTCOLOR" val="0"/>
  <p:tag name="FONT_COLOR_TYPE" val="1"/>
  <p:tag name="FONT_COLOR_SCHEME_INDEX" val="0"/>
  <p:tag name="IGNORECOLORLINESNONCOMPLIANCE" val="0"/>
  <p:tag name="FILLVISIBLE" val="0"/>
  <p:tag name="FILLCOLOR" val="16777215"/>
  <p:tag name="FILL_COLOR_SCHEME_INDEX" val="0"/>
  <p:tag name="FILL_COLOR_TYPE" val="1"/>
  <p:tag name="FILLCOLORING" val="No Fill"/>
  <p:tag name="LINEVISIBLE" val="-1"/>
  <p:tag name="LINECOLOR" val="15707648"/>
  <p:tag name="LINE_COLOR_SCHEME_INDEX" val="0"/>
  <p:tag name="LINE_COLOR_TYPE" val="1"/>
  <p:tag name="IGNOREPOSITIONNONCOMPLIANCE" val="0"/>
  <p:tag name="POSITIONTOP" val="79.625"/>
  <p:tag name="POSITIONLEFT" val="521.496"/>
  <p:tag name="IGNORESIZENONCOMPLIANCE" val="0"/>
  <p:tag name="SIZEWIDTH" val="216"/>
  <p:tag name="SIZEHEIGHT" val="72"/>
</p:tagLst>
</file>

<file path=ppt/tags/tag28.xml><?xml version="1.0" encoding="utf-8"?>
<p:tagLst xmlns:a="http://schemas.openxmlformats.org/drawingml/2006/main" xmlns:r="http://schemas.openxmlformats.org/officeDocument/2006/relationships" xmlns:p="http://schemas.openxmlformats.org/presentationml/2006/main">
  <p:tag name="ENAME" val="SLIDEDRAFT"/>
</p:tagLst>
</file>

<file path=ppt/tags/tag29.xml><?xml version="1.0" encoding="utf-8"?>
<p:tagLst xmlns:a="http://schemas.openxmlformats.org/drawingml/2006/main" xmlns:r="http://schemas.openxmlformats.org/officeDocument/2006/relationships" xmlns:p="http://schemas.openxmlformats.org/presentationml/2006/main">
  <p:tag name="ENAME" val="SLIDEDRAF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T2KU_grlBEdueRJmJiA1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d5YltSYFKeIFhFFTPE_OQg"/>
</p:tagLst>
</file>

<file path=ppt/tags/tag32.xml><?xml version="1.0" encoding="utf-8"?>
<p:tagLst xmlns:a="http://schemas.openxmlformats.org/drawingml/2006/main" xmlns:r="http://schemas.openxmlformats.org/officeDocument/2006/relationships" xmlns:p="http://schemas.openxmlformats.org/presentationml/2006/main">
  <p:tag name="ENAME" val="SLIDEDRAFT"/>
</p:tagLst>
</file>

<file path=ppt/tags/tag33.xml><?xml version="1.0" encoding="utf-8"?>
<p:tagLst xmlns:a="http://schemas.openxmlformats.org/drawingml/2006/main" xmlns:r="http://schemas.openxmlformats.org/officeDocument/2006/relationships" xmlns:p="http://schemas.openxmlformats.org/presentationml/2006/main">
  <p:tag name="ENAME" val="SLIDEDRAFT"/>
</p:tagLst>
</file>

<file path=ppt/tags/tag34.xml><?xml version="1.0" encoding="utf-8"?>
<p:tagLst xmlns:a="http://schemas.openxmlformats.org/drawingml/2006/main" xmlns:r="http://schemas.openxmlformats.org/officeDocument/2006/relationships" xmlns:p="http://schemas.openxmlformats.org/presentationml/2006/main">
  <p:tag name="ENAME" val="COVERLOGO"/>
  <p:tag name="IGNOREFONTNONCOMPLIANCE" val="0"/>
  <p:tag name="FONTNAME" val="Arial"/>
  <p:tag name="FONTSIZE" val="13"/>
  <p:tag name="FONTBOLD" val="0"/>
  <p:tag name="FONTITALIC" val="0"/>
  <p:tag name="FONTULINE" val="0"/>
  <p:tag name="FONTSHADOW" val="0"/>
  <p:tag name="FONTALIGNMENT" val="2"/>
  <p:tag name="FONTCOLOR" val="0"/>
  <p:tag name="FONT_COLOR_TYPE" val="1"/>
  <p:tag name="FONT_COLOR_SCHEME_INDEX" val="0"/>
  <p:tag name="IGNORECOLORLINESNONCOMPLIANCE" val="0"/>
  <p:tag name="FILLVISIBLE" val="0"/>
  <p:tag name="FILLCOLOR" val="16777215"/>
  <p:tag name="FILL_COLOR_SCHEME_INDEX" val="0"/>
  <p:tag name="FILL_COLOR_TYPE" val="1"/>
  <p:tag name="FILLCOLORING" val="No Fill"/>
  <p:tag name="LINEVISIBLE" val="-1"/>
  <p:tag name="LINECOLOR" val="15707648"/>
  <p:tag name="LINE_COLOR_SCHEME_INDEX" val="0"/>
  <p:tag name="LINE_COLOR_TYPE" val="1"/>
  <p:tag name="IGNOREPOSITIONNONCOMPLIANCE" val="0"/>
  <p:tag name="POSITIONTOP" val="79.625"/>
  <p:tag name="POSITIONLEFT" val="521.496"/>
  <p:tag name="IGNORESIZENONCOMPLIANCE" val="0"/>
  <p:tag name="SIZEWIDTH" val="216"/>
  <p:tag name="SIZEHEIGHT" val="72"/>
</p:tagLst>
</file>

<file path=ppt/tags/tag35.xml><?xml version="1.0" encoding="utf-8"?>
<p:tagLst xmlns:a="http://schemas.openxmlformats.org/drawingml/2006/main" xmlns:r="http://schemas.openxmlformats.org/officeDocument/2006/relationships" xmlns:p="http://schemas.openxmlformats.org/presentationml/2006/main">
  <p:tag name="ENAME" val="SLIDEDRAFT"/>
</p:tagLst>
</file>

<file path=ppt/tags/tag36.xml><?xml version="1.0" encoding="utf-8"?>
<p:tagLst xmlns:a="http://schemas.openxmlformats.org/drawingml/2006/main" xmlns:r="http://schemas.openxmlformats.org/officeDocument/2006/relationships" xmlns:p="http://schemas.openxmlformats.org/presentationml/2006/main">
  <p:tag name="ENAME" val="SLIDEDRAFT"/>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74JJ7tSWejE24n7M_nfrhA"/>
</p:tagLst>
</file>

<file path=ppt/tags/tag39.xml><?xml version="1.0" encoding="utf-8"?>
<p:tagLst xmlns:a="http://schemas.openxmlformats.org/drawingml/2006/main" xmlns:r="http://schemas.openxmlformats.org/officeDocument/2006/relationships" xmlns:p="http://schemas.openxmlformats.org/presentationml/2006/main">
  <p:tag name="ENAME" val="SLIDEDRAFT"/>
</p:tagLst>
</file>

<file path=ppt/tags/tag4.xml><?xml version="1.0" encoding="utf-8"?>
<p:tagLst xmlns:a="http://schemas.openxmlformats.org/drawingml/2006/main" xmlns:r="http://schemas.openxmlformats.org/officeDocument/2006/relationships" xmlns:p="http://schemas.openxmlformats.org/presentationml/2006/main">
  <p:tag name="ENAME" val="SLIDEDRAFT"/>
</p:tagLst>
</file>

<file path=ppt/tags/tag40.xml><?xml version="1.0" encoding="utf-8"?>
<p:tagLst xmlns:a="http://schemas.openxmlformats.org/drawingml/2006/main" xmlns:r="http://schemas.openxmlformats.org/officeDocument/2006/relationships" xmlns:p="http://schemas.openxmlformats.org/presentationml/2006/main">
  <p:tag name="ENAME" val="SLIDEDRAFT"/>
</p:tagLst>
</file>

<file path=ppt/tags/tag41.xml><?xml version="1.0" encoding="utf-8"?>
<p:tagLst xmlns:a="http://schemas.openxmlformats.org/drawingml/2006/main" xmlns:r="http://schemas.openxmlformats.org/officeDocument/2006/relationships" xmlns:p="http://schemas.openxmlformats.org/presentationml/2006/main">
  <p:tag name="ENAME" val="COVERLOGO"/>
  <p:tag name="IGNOREFONTNONCOMPLIANCE" val="0"/>
  <p:tag name="FONTNAME" val="Arial"/>
  <p:tag name="FONTSIZE" val="13"/>
  <p:tag name="FONTBOLD" val="0"/>
  <p:tag name="FONTITALIC" val="0"/>
  <p:tag name="FONTULINE" val="0"/>
  <p:tag name="FONTSHADOW" val="0"/>
  <p:tag name="FONTALIGNMENT" val="2"/>
  <p:tag name="FONTCOLOR" val="0"/>
  <p:tag name="FONT_COLOR_TYPE" val="1"/>
  <p:tag name="FONT_COLOR_SCHEME_INDEX" val="0"/>
  <p:tag name="IGNORECOLORLINESNONCOMPLIANCE" val="0"/>
  <p:tag name="FILLVISIBLE" val="0"/>
  <p:tag name="FILLCOLOR" val="16777215"/>
  <p:tag name="FILL_COLOR_SCHEME_INDEX" val="0"/>
  <p:tag name="FILL_COLOR_TYPE" val="1"/>
  <p:tag name="FILLCOLORING" val="No Fill"/>
  <p:tag name="LINEVISIBLE" val="-1"/>
  <p:tag name="LINECOLOR" val="15707648"/>
  <p:tag name="LINE_COLOR_SCHEME_INDEX" val="0"/>
  <p:tag name="LINE_COLOR_TYPE" val="1"/>
  <p:tag name="IGNOREPOSITIONNONCOMPLIANCE" val="0"/>
  <p:tag name="POSITIONTOP" val="79.625"/>
  <p:tag name="POSITIONLEFT" val="521.496"/>
  <p:tag name="IGNORESIZENONCOMPLIANCE" val="0"/>
  <p:tag name="SIZEWIDTH" val="216"/>
  <p:tag name="SIZEHEIGHT" val="72"/>
</p:tagLst>
</file>

<file path=ppt/tags/tag42.xml><?xml version="1.0" encoding="utf-8"?>
<p:tagLst xmlns:a="http://schemas.openxmlformats.org/drawingml/2006/main" xmlns:r="http://schemas.openxmlformats.org/officeDocument/2006/relationships" xmlns:p="http://schemas.openxmlformats.org/presentationml/2006/main">
  <p:tag name="ENAME" val="SLIDEDRAFT"/>
</p:tagLst>
</file>

<file path=ppt/tags/tag43.xml><?xml version="1.0" encoding="utf-8"?>
<p:tagLst xmlns:a="http://schemas.openxmlformats.org/drawingml/2006/main" xmlns:r="http://schemas.openxmlformats.org/officeDocument/2006/relationships" xmlns:p="http://schemas.openxmlformats.org/presentationml/2006/main">
  <p:tag name="ENAME" val="SLIDEDRAFT"/>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9QZPlOKJrG8Xc7w6vIANFw"/>
</p:tagLst>
</file>

<file path=ppt/tags/tag46.xml><?xml version="1.0" encoding="utf-8"?>
<p:tagLst xmlns:a="http://schemas.openxmlformats.org/drawingml/2006/main" xmlns:r="http://schemas.openxmlformats.org/officeDocument/2006/relationships" xmlns:p="http://schemas.openxmlformats.org/presentationml/2006/main">
  <p:tag name="ENAME" val="SLIDEDRAFT"/>
</p:tagLst>
</file>

<file path=ppt/tags/tag47.xml><?xml version="1.0" encoding="utf-8"?>
<p:tagLst xmlns:a="http://schemas.openxmlformats.org/drawingml/2006/main" xmlns:r="http://schemas.openxmlformats.org/officeDocument/2006/relationships" xmlns:p="http://schemas.openxmlformats.org/presentationml/2006/main">
  <p:tag name="ENAME" val="SLIDEDRAFT"/>
</p:tagLst>
</file>

<file path=ppt/tags/tag48.xml><?xml version="1.0" encoding="utf-8"?>
<p:tagLst xmlns:a="http://schemas.openxmlformats.org/drawingml/2006/main" xmlns:r="http://schemas.openxmlformats.org/officeDocument/2006/relationships" xmlns:p="http://schemas.openxmlformats.org/presentationml/2006/main">
  <p:tag name="ENAME" val="COVERLOGO"/>
  <p:tag name="IGNOREFONTNONCOMPLIANCE" val="0"/>
  <p:tag name="FONTNAME" val="Arial"/>
  <p:tag name="FONTSIZE" val="13"/>
  <p:tag name="FONTBOLD" val="0"/>
  <p:tag name="FONTITALIC" val="0"/>
  <p:tag name="FONTULINE" val="0"/>
  <p:tag name="FONTSHADOW" val="0"/>
  <p:tag name="FONTALIGNMENT" val="2"/>
  <p:tag name="FONTCOLOR" val="0"/>
  <p:tag name="FONT_COLOR_TYPE" val="1"/>
  <p:tag name="FONT_COLOR_SCHEME_INDEX" val="0"/>
  <p:tag name="IGNORECOLORLINESNONCOMPLIANCE" val="0"/>
  <p:tag name="FILLVISIBLE" val="0"/>
  <p:tag name="FILLCOLOR" val="16777215"/>
  <p:tag name="FILL_COLOR_SCHEME_INDEX" val="0"/>
  <p:tag name="FILL_COLOR_TYPE" val="1"/>
  <p:tag name="FILLCOLORING" val="No Fill"/>
  <p:tag name="LINEVISIBLE" val="-1"/>
  <p:tag name="LINECOLOR" val="15707648"/>
  <p:tag name="LINE_COLOR_SCHEME_INDEX" val="0"/>
  <p:tag name="LINE_COLOR_TYPE" val="1"/>
  <p:tag name="IGNOREPOSITIONNONCOMPLIANCE" val="0"/>
  <p:tag name="POSITIONTOP" val="79.625"/>
  <p:tag name="POSITIONLEFT" val="521.496"/>
  <p:tag name="IGNORESIZENONCOMPLIANCE" val="0"/>
  <p:tag name="SIZEWIDTH" val="216"/>
  <p:tag name="SIZEHEIGHT" val="72"/>
</p:tagLst>
</file>

<file path=ppt/tags/tag49.xml><?xml version="1.0" encoding="utf-8"?>
<p:tagLst xmlns:a="http://schemas.openxmlformats.org/drawingml/2006/main" xmlns:r="http://schemas.openxmlformats.org/officeDocument/2006/relationships" xmlns:p="http://schemas.openxmlformats.org/presentationml/2006/main">
  <p:tag name="ENAME" val="SLIDEDRAFT"/>
</p:tagLst>
</file>

<file path=ppt/tags/tag5.xml><?xml version="1.0" encoding="utf-8"?>
<p:tagLst xmlns:a="http://schemas.openxmlformats.org/drawingml/2006/main" xmlns:r="http://schemas.openxmlformats.org/officeDocument/2006/relationships" xmlns:p="http://schemas.openxmlformats.org/presentationml/2006/main">
  <p:tag name="ENAME" val="SLIDEDRAFT"/>
</p:tagLst>
</file>

<file path=ppt/tags/tag50.xml><?xml version="1.0" encoding="utf-8"?>
<p:tagLst xmlns:a="http://schemas.openxmlformats.org/drawingml/2006/main" xmlns:r="http://schemas.openxmlformats.org/officeDocument/2006/relationships" xmlns:p="http://schemas.openxmlformats.org/presentationml/2006/main">
  <p:tag name="ENAME" val="SLIDEDRAFT"/>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6DJFJoMzlJ5KySHC7XnByQ"/>
</p:tagLst>
</file>

<file path=ppt/tags/tag53.xml><?xml version="1.0" encoding="utf-8"?>
<p:tagLst xmlns:a="http://schemas.openxmlformats.org/drawingml/2006/main" xmlns:r="http://schemas.openxmlformats.org/officeDocument/2006/relationships" xmlns:p="http://schemas.openxmlformats.org/presentationml/2006/main">
  <p:tag name="ENAME" val="SLIDEDRAFT"/>
</p:tagLst>
</file>

<file path=ppt/tags/tag54.xml><?xml version="1.0" encoding="utf-8"?>
<p:tagLst xmlns:a="http://schemas.openxmlformats.org/drawingml/2006/main" xmlns:r="http://schemas.openxmlformats.org/officeDocument/2006/relationships" xmlns:p="http://schemas.openxmlformats.org/presentationml/2006/main">
  <p:tag name="ENAME" val="SLIDEDRAFT"/>
</p:tagLst>
</file>

<file path=ppt/tags/tag55.xml><?xml version="1.0" encoding="utf-8"?>
<p:tagLst xmlns:a="http://schemas.openxmlformats.org/drawingml/2006/main" xmlns:r="http://schemas.openxmlformats.org/officeDocument/2006/relationships" xmlns:p="http://schemas.openxmlformats.org/presentationml/2006/main">
  <p:tag name="ENAME" val="COVERLOGO"/>
  <p:tag name="IGNOREFONTNONCOMPLIANCE" val="0"/>
  <p:tag name="FONTNAME" val="Arial"/>
  <p:tag name="FONTSIZE" val="13"/>
  <p:tag name="FONTBOLD" val="0"/>
  <p:tag name="FONTITALIC" val="0"/>
  <p:tag name="FONTULINE" val="0"/>
  <p:tag name="FONTSHADOW" val="0"/>
  <p:tag name="FONTALIGNMENT" val="2"/>
  <p:tag name="FONTCOLOR" val="0"/>
  <p:tag name="FONT_COLOR_TYPE" val="1"/>
  <p:tag name="FONT_COLOR_SCHEME_INDEX" val="0"/>
  <p:tag name="IGNORECOLORLINESNONCOMPLIANCE" val="0"/>
  <p:tag name="FILLVISIBLE" val="0"/>
  <p:tag name="FILLCOLOR" val="16777215"/>
  <p:tag name="FILL_COLOR_SCHEME_INDEX" val="0"/>
  <p:tag name="FILL_COLOR_TYPE" val="1"/>
  <p:tag name="FILLCOLORING" val="No Fill"/>
  <p:tag name="LINEVISIBLE" val="-1"/>
  <p:tag name="LINECOLOR" val="15707648"/>
  <p:tag name="LINE_COLOR_SCHEME_INDEX" val="0"/>
  <p:tag name="LINE_COLOR_TYPE" val="1"/>
  <p:tag name="IGNOREPOSITIONNONCOMPLIANCE" val="0"/>
  <p:tag name="POSITIONTOP" val="79.625"/>
  <p:tag name="POSITIONLEFT" val="521.496"/>
  <p:tag name="IGNORESIZENONCOMPLIANCE" val="0"/>
  <p:tag name="SIZEWIDTH" val="216"/>
  <p:tag name="SIZEHEIGHT" val="72"/>
</p:tagLst>
</file>

<file path=ppt/tags/tag56.xml><?xml version="1.0" encoding="utf-8"?>
<p:tagLst xmlns:a="http://schemas.openxmlformats.org/drawingml/2006/main" xmlns:r="http://schemas.openxmlformats.org/officeDocument/2006/relationships" xmlns:p="http://schemas.openxmlformats.org/presentationml/2006/main">
  <p:tag name="ENAME" val="SLIDEDRAFT"/>
</p:tagLst>
</file>

<file path=ppt/tags/tag57.xml><?xml version="1.0" encoding="utf-8"?>
<p:tagLst xmlns:a="http://schemas.openxmlformats.org/drawingml/2006/main" xmlns:r="http://schemas.openxmlformats.org/officeDocument/2006/relationships" xmlns:p="http://schemas.openxmlformats.org/presentationml/2006/main">
  <p:tag name="ENAME" val="SLIDEDRAFT"/>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qkSYkJM3ly1MOqQG2xMbPg"/>
</p:tagLst>
</file>

<file path=ppt/tags/tag6.xml><?xml version="1.0" encoding="utf-8"?>
<p:tagLst xmlns:a="http://schemas.openxmlformats.org/drawingml/2006/main" xmlns:r="http://schemas.openxmlformats.org/officeDocument/2006/relationships" xmlns:p="http://schemas.openxmlformats.org/presentationml/2006/main">
  <p:tag name="ENAME" val="COVERLOGO"/>
  <p:tag name="IGNOREFONTNONCOMPLIANCE" val="0"/>
  <p:tag name="FONTNAME" val="Arial"/>
  <p:tag name="FONTSIZE" val="13"/>
  <p:tag name="FONTBOLD" val="0"/>
  <p:tag name="FONTITALIC" val="0"/>
  <p:tag name="FONTULINE" val="0"/>
  <p:tag name="FONTSHADOW" val="0"/>
  <p:tag name="FONTALIGNMENT" val="2"/>
  <p:tag name="FONTCOLOR" val="0"/>
  <p:tag name="FONT_COLOR_TYPE" val="1"/>
  <p:tag name="FONT_COLOR_SCHEME_INDEX" val="0"/>
  <p:tag name="IGNORECOLORLINESNONCOMPLIANCE" val="0"/>
  <p:tag name="FILLVISIBLE" val="0"/>
  <p:tag name="FILLCOLOR" val="16777215"/>
  <p:tag name="FILL_COLOR_SCHEME_INDEX" val="0"/>
  <p:tag name="FILL_COLOR_TYPE" val="1"/>
  <p:tag name="FILLCOLORING" val="No Fill"/>
  <p:tag name="LINEVISIBLE" val="-1"/>
  <p:tag name="LINECOLOR" val="15707648"/>
  <p:tag name="LINE_COLOR_SCHEME_INDEX" val="0"/>
  <p:tag name="LINE_COLOR_TYPE" val="1"/>
  <p:tag name="IGNOREPOSITIONNONCOMPLIANCE" val="0"/>
  <p:tag name="POSITIONTOP" val="79.625"/>
  <p:tag name="POSITIONLEFT" val="521.496"/>
  <p:tag name="IGNORESIZENONCOMPLIANCE" val="0"/>
  <p:tag name="SIZEWIDTH" val="216"/>
  <p:tag name="SIZEHEIGHT" val="72"/>
</p:tagLst>
</file>

<file path=ppt/tags/tag60.xml><?xml version="1.0" encoding="utf-8"?>
<p:tagLst xmlns:a="http://schemas.openxmlformats.org/drawingml/2006/main" xmlns:r="http://schemas.openxmlformats.org/officeDocument/2006/relationships" xmlns:p="http://schemas.openxmlformats.org/presentationml/2006/main">
  <p:tag name="ENAME" val="SLIDEDRAFT"/>
</p:tagLst>
</file>

<file path=ppt/tags/tag61.xml><?xml version="1.0" encoding="utf-8"?>
<p:tagLst xmlns:a="http://schemas.openxmlformats.org/drawingml/2006/main" xmlns:r="http://schemas.openxmlformats.org/officeDocument/2006/relationships" xmlns:p="http://schemas.openxmlformats.org/presentationml/2006/main">
  <p:tag name="ENAME" val="SLIDEDRAFT"/>
</p:tagLst>
</file>

<file path=ppt/tags/tag62.xml><?xml version="1.0" encoding="utf-8"?>
<p:tagLst xmlns:a="http://schemas.openxmlformats.org/drawingml/2006/main" xmlns:r="http://schemas.openxmlformats.org/officeDocument/2006/relationships" xmlns:p="http://schemas.openxmlformats.org/presentationml/2006/main">
  <p:tag name="ENAME" val="COVERLOGO"/>
  <p:tag name="IGNOREFONTNONCOMPLIANCE" val="0"/>
  <p:tag name="FONTNAME" val="Arial"/>
  <p:tag name="FONTSIZE" val="13"/>
  <p:tag name="FONTBOLD" val="0"/>
  <p:tag name="FONTITALIC" val="0"/>
  <p:tag name="FONTULINE" val="0"/>
  <p:tag name="FONTSHADOW" val="0"/>
  <p:tag name="FONTALIGNMENT" val="2"/>
  <p:tag name="FONTCOLOR" val="0"/>
  <p:tag name="FONT_COLOR_TYPE" val="1"/>
  <p:tag name="FONT_COLOR_SCHEME_INDEX" val="0"/>
  <p:tag name="IGNORECOLORLINESNONCOMPLIANCE" val="0"/>
  <p:tag name="FILLVISIBLE" val="0"/>
  <p:tag name="FILLCOLOR" val="16777215"/>
  <p:tag name="FILL_COLOR_SCHEME_INDEX" val="0"/>
  <p:tag name="FILL_COLOR_TYPE" val="1"/>
  <p:tag name="FILLCOLORING" val="No Fill"/>
  <p:tag name="LINEVISIBLE" val="-1"/>
  <p:tag name="LINECOLOR" val="15707648"/>
  <p:tag name="LINE_COLOR_SCHEME_INDEX" val="0"/>
  <p:tag name="LINE_COLOR_TYPE" val="1"/>
  <p:tag name="IGNOREPOSITIONNONCOMPLIANCE" val="0"/>
  <p:tag name="POSITIONTOP" val="79.625"/>
  <p:tag name="POSITIONLEFT" val="521.496"/>
  <p:tag name="IGNORESIZENONCOMPLIANCE" val="0"/>
  <p:tag name="SIZEWIDTH" val="216"/>
  <p:tag name="SIZEHEIGHT" val="72"/>
</p:tagLst>
</file>

<file path=ppt/tags/tag63.xml><?xml version="1.0" encoding="utf-8"?>
<p:tagLst xmlns:a="http://schemas.openxmlformats.org/drawingml/2006/main" xmlns:r="http://schemas.openxmlformats.org/officeDocument/2006/relationships" xmlns:p="http://schemas.openxmlformats.org/presentationml/2006/main">
  <p:tag name="ENAME" val="SLIDEDRAFT"/>
</p:tagLst>
</file>

<file path=ppt/tags/tag64.xml><?xml version="1.0" encoding="utf-8"?>
<p:tagLst xmlns:a="http://schemas.openxmlformats.org/drawingml/2006/main" xmlns:r="http://schemas.openxmlformats.org/officeDocument/2006/relationships" xmlns:p="http://schemas.openxmlformats.org/presentationml/2006/main">
  <p:tag name="ENAME" val="SLIDEDRAFT"/>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dSq0scyJHysi3atU8GlFZQ"/>
</p:tagLst>
</file>

<file path=ppt/tags/tag67.xml><?xml version="1.0" encoding="utf-8"?>
<p:tagLst xmlns:a="http://schemas.openxmlformats.org/drawingml/2006/main" xmlns:r="http://schemas.openxmlformats.org/officeDocument/2006/relationships" xmlns:p="http://schemas.openxmlformats.org/presentationml/2006/main">
  <p:tag name="ENAME" val="SLIDEDRAFT"/>
</p:tagLst>
</file>

<file path=ppt/tags/tag68.xml><?xml version="1.0" encoding="utf-8"?>
<p:tagLst xmlns:a="http://schemas.openxmlformats.org/drawingml/2006/main" xmlns:r="http://schemas.openxmlformats.org/officeDocument/2006/relationships" xmlns:p="http://schemas.openxmlformats.org/presentationml/2006/main">
  <p:tag name="ENAME" val="SLIDEDRAFT"/>
</p:tagLst>
</file>

<file path=ppt/tags/tag69.xml><?xml version="1.0" encoding="utf-8"?>
<p:tagLst xmlns:a="http://schemas.openxmlformats.org/drawingml/2006/main" xmlns:r="http://schemas.openxmlformats.org/officeDocument/2006/relationships" xmlns:p="http://schemas.openxmlformats.org/presentationml/2006/main">
  <p:tag name="ENAME" val="COVERLOGO"/>
  <p:tag name="IGNOREFONTNONCOMPLIANCE" val="0"/>
  <p:tag name="FONTNAME" val="Arial"/>
  <p:tag name="FONTSIZE" val="13"/>
  <p:tag name="FONTBOLD" val="0"/>
  <p:tag name="FONTITALIC" val="0"/>
  <p:tag name="FONTULINE" val="0"/>
  <p:tag name="FONTSHADOW" val="0"/>
  <p:tag name="FONTALIGNMENT" val="2"/>
  <p:tag name="FONTCOLOR" val="0"/>
  <p:tag name="FONT_COLOR_TYPE" val="1"/>
  <p:tag name="FONT_COLOR_SCHEME_INDEX" val="0"/>
  <p:tag name="IGNORECOLORLINESNONCOMPLIANCE" val="0"/>
  <p:tag name="FILLVISIBLE" val="0"/>
  <p:tag name="FILLCOLOR" val="16777215"/>
  <p:tag name="FILL_COLOR_SCHEME_INDEX" val="0"/>
  <p:tag name="FILL_COLOR_TYPE" val="1"/>
  <p:tag name="FILLCOLORING" val="No Fill"/>
  <p:tag name="LINEVISIBLE" val="-1"/>
  <p:tag name="LINECOLOR" val="15707648"/>
  <p:tag name="LINE_COLOR_SCHEME_INDEX" val="0"/>
  <p:tag name="LINE_COLOR_TYPE" val="1"/>
  <p:tag name="IGNOREPOSITIONNONCOMPLIANCE" val="0"/>
  <p:tag name="POSITIONTOP" val="79.625"/>
  <p:tag name="POSITIONLEFT" val="521.496"/>
  <p:tag name="IGNORESIZENONCOMPLIANCE" val="0"/>
  <p:tag name="SIZEWIDTH" val="216"/>
  <p:tag name="SIZEHEIGHT" val="72"/>
</p:tagLst>
</file>

<file path=ppt/tags/tag7.xml><?xml version="1.0" encoding="utf-8"?>
<p:tagLst xmlns:a="http://schemas.openxmlformats.org/drawingml/2006/main" xmlns:r="http://schemas.openxmlformats.org/officeDocument/2006/relationships" xmlns:p="http://schemas.openxmlformats.org/presentationml/2006/main">
  <p:tag name="ENAME" val="SLIDEDRAFT"/>
</p:tagLst>
</file>

<file path=ppt/tags/tag70.xml><?xml version="1.0" encoding="utf-8"?>
<p:tagLst xmlns:a="http://schemas.openxmlformats.org/drawingml/2006/main" xmlns:r="http://schemas.openxmlformats.org/officeDocument/2006/relationships" xmlns:p="http://schemas.openxmlformats.org/presentationml/2006/main">
  <p:tag name="ENAME" val="SLIDEDRAFT"/>
</p:tagLst>
</file>

<file path=ppt/tags/tag71.xml><?xml version="1.0" encoding="utf-8"?>
<p:tagLst xmlns:a="http://schemas.openxmlformats.org/drawingml/2006/main" xmlns:r="http://schemas.openxmlformats.org/officeDocument/2006/relationships" xmlns:p="http://schemas.openxmlformats.org/presentationml/2006/main">
  <p:tag name="ENAME" val="SLIDEDRAFT"/>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6TGXIfKQWqLoz1woUNIa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pFkbAdoJTCCRa7hf7fWfx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NAME" val="SLIDEDRAFT"/>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pFkbAdoJTCCRa7hf7fWfx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wPpExjZfMCFw5GQVqNb1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fn6wlk_USJ1pertzI0EAC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e9MbwgABgwF6sd2pSqutj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Tj8HPhcOb52bjJvs.cRsx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fXxhUnNcY_2WC521hHJpf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NDZ9QMqgRLQe9T3CHyMWo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rpRg8Vlt5ggp_XRnkZOd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J2VWUQIRXf.wlT9YZKp3R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c3aiw23oYGd8FxPN7CHgj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c210vDT_raEGLEzO6pVhT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AS0AuvAW85iAlhKVenvtEQ"/>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yZKpjtS7DWXFv.iQ_C9W.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38gpxHgPpxigTYH8AuhNt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nehuphFIKFsJPfpXyd2W9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Wa.i3Nttqugqeqs4tElqQ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DzoH4bB9s03Zeo5_EmsQc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TUlVDmrJbTv76lNLIYnyUQ"/>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DTQqAiiOcU2eDNnFa_r_Ag"/>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m4YRxBKYaRO5aezV9yAVg"/>
</p:tagLst>
</file>

<file path=ppt/theme/theme1.xml><?xml version="1.0" encoding="utf-8"?>
<a:theme xmlns:a="http://schemas.openxmlformats.org/drawingml/2006/main" name="Barclays PresBuilder">
  <a:themeElements>
    <a:clrScheme name="Agility_CG">
      <a:dk1>
        <a:srgbClr val="4B4B4B"/>
      </a:dk1>
      <a:lt1>
        <a:srgbClr val="FFFFFF"/>
      </a:lt1>
      <a:dk2>
        <a:srgbClr val="7E8083"/>
      </a:dk2>
      <a:lt2>
        <a:srgbClr val="CE361D"/>
      </a:lt2>
      <a:accent1>
        <a:srgbClr val="F69F1C"/>
      </a:accent1>
      <a:accent2>
        <a:srgbClr val="E86D27"/>
      </a:accent2>
      <a:accent3>
        <a:srgbClr val="C13D27"/>
      </a:accent3>
      <a:accent4>
        <a:srgbClr val="3F3F3F"/>
      </a:accent4>
      <a:accent5>
        <a:srgbClr val="FACDAB"/>
      </a:accent5>
      <a:accent6>
        <a:srgbClr val="D26222"/>
      </a:accent6>
      <a:hlink>
        <a:srgbClr val="C35C1D"/>
      </a:hlink>
      <a:folHlink>
        <a:srgbClr val="92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0000"/>
          </a:solidFill>
          <a:prstDash val="solid"/>
          <a:round/>
          <a:headEnd type="none" w="med" len="med"/>
          <a:tailEnd type="none" w="med" len="med"/>
        </a:ln>
        <a:effectLst/>
      </a:spPr>
      <a:bodyPr vert="horz" wrap="none" lIns="0" tIns="0" rIns="18288" bIns="18288"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rgbClr val="000000"/>
            </a:solidFill>
            <a:effectLst/>
            <a:latin typeface="Arial" pitchFamily="34" charset="0"/>
            <a:cs typeface="Arial" pitchFamily="34" charset="0"/>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lIns="0" rIns="0" rtlCol="0">
        <a:spAutoFit/>
      </a:bodyPr>
      <a:lstStyle>
        <a:defPPr algn="l">
          <a:defRPr sz="1200" dirty="0" err="1" smtClean="0">
            <a:solidFill>
              <a:schemeClr val="tx1"/>
            </a:solidFill>
          </a:defRPr>
        </a:defPPr>
      </a:lstStyle>
    </a:txDef>
  </a:objectDefaults>
  <a:extraClrSchemeLst/>
  <a:custClrLst>
    <a:custClr name="Stable Black (Dark 1)">
      <a:srgbClr val="000000"/>
    </a:custClr>
    <a:custClr name="Stable White (Light 1)">
      <a:srgbClr val="FFFFFF"/>
    </a:custClr>
    <a:custClr name="Stable Dark Blue (Dark 2)">
      <a:srgbClr val="00395C"/>
    </a:custClr>
    <a:custClr name="Stable White (Light 2)">
      <a:srgbClr val="FFFFFF"/>
    </a:custClr>
    <a:custClr name="Title Bar Fill (Teal)">
      <a:srgbClr val="006991"/>
    </a:custClr>
    <a:custClr name="Stable Barclays Cyan">
      <a:srgbClr val="00AEEF"/>
    </a:custClr>
    <a:custClr name="Stable Map Fill 1">
      <a:srgbClr val="FFF2CF"/>
    </a:custClr>
    <a:custClr name="Stable Map Fill 2">
      <a:srgbClr val="DDDEDE"/>
    </a:custClr>
    <a:custClr name="Stable Map Border">
      <a:srgbClr val="ACACAD"/>
    </a:custClr>
    <a:custClr name=" ">
      <a:srgbClr val="FFFFFF"/>
    </a:custClr>
    <a:custClr name="Barclays Cyan">
      <a:srgbClr val="00AEEF"/>
    </a:custClr>
    <a:custClr name="Yellow">
      <a:srgbClr val="FEBE10"/>
    </a:custClr>
    <a:custClr name="Teal">
      <a:srgbClr val="006991"/>
    </a:custClr>
    <a:custClr name="Lime Green">
      <a:srgbClr val="99B221"/>
    </a:custClr>
    <a:custClr name="Dark Gray">
      <a:srgbClr val="58595B"/>
    </a:custClr>
    <a:custClr name="Barclays 50%">
      <a:srgbClr val="80CDED"/>
    </a:custClr>
    <a:custClr name="Orange">
      <a:srgbClr val="E5801D"/>
    </a:custClr>
    <a:custClr name="Royal Blue">
      <a:srgbClr val="3250AA"/>
    </a:custClr>
    <a:custClr name="Green">
      <a:srgbClr val="519136"/>
    </a:custClr>
    <a:custClr name="Red">
      <a:srgbClr val="9D063B"/>
    </a:custClr>
    <a:custClr name="Barclays Cyan 70%">
      <a:srgbClr val="4DC6F4"/>
    </a:custClr>
    <a:custClr name="Yellow 50%">
      <a:srgbClr val="FEDF87"/>
    </a:custClr>
    <a:custClr name="Teal 50%">
      <a:srgbClr val="80B4C8"/>
    </a:custClr>
    <a:custClr name="Lime Green 50%">
      <a:srgbClr val="CCD890"/>
    </a:custClr>
    <a:custClr name="Dark Gray 50%">
      <a:srgbClr val="ACACAD"/>
    </a:custClr>
    <a:custClr name="Barclays 25%">
      <a:srgbClr val="C0E6F6"/>
    </a:custClr>
    <a:custClr name="Orange 50%">
      <a:srgbClr val="F2C08E"/>
    </a:custClr>
    <a:custClr name="Royal Blue 50%">
      <a:srgbClr val="99A8D4"/>
    </a:custClr>
    <a:custClr name="Green 50%">
      <a:srgbClr val="A8C89A"/>
    </a:custClr>
    <a:custClr name="Red 50%">
      <a:srgbClr val="CE829D"/>
    </a:custClr>
  </a:custClrLst>
</a:theme>
</file>

<file path=ppt/theme/theme10.xml><?xml version="1.0" encoding="utf-8"?>
<a:theme xmlns:a="http://schemas.openxmlformats.org/drawingml/2006/main" name="9_Barclays PresBuilder">
  <a:themeElements>
    <a:clrScheme name="Agility_CG">
      <a:dk1>
        <a:srgbClr val="4B4B4B"/>
      </a:dk1>
      <a:lt1>
        <a:srgbClr val="FFFFFF"/>
      </a:lt1>
      <a:dk2>
        <a:srgbClr val="7E8083"/>
      </a:dk2>
      <a:lt2>
        <a:srgbClr val="CE361D"/>
      </a:lt2>
      <a:accent1>
        <a:srgbClr val="F69F1C"/>
      </a:accent1>
      <a:accent2>
        <a:srgbClr val="E86D27"/>
      </a:accent2>
      <a:accent3>
        <a:srgbClr val="C13D27"/>
      </a:accent3>
      <a:accent4>
        <a:srgbClr val="3F3F3F"/>
      </a:accent4>
      <a:accent5>
        <a:srgbClr val="FACDAB"/>
      </a:accent5>
      <a:accent6>
        <a:srgbClr val="D26222"/>
      </a:accent6>
      <a:hlink>
        <a:srgbClr val="C35C1D"/>
      </a:hlink>
      <a:folHlink>
        <a:srgbClr val="92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0000"/>
          </a:solidFill>
          <a:prstDash val="solid"/>
          <a:round/>
          <a:headEnd type="none" w="med" len="med"/>
          <a:tailEnd type="none" w="med" len="med"/>
        </a:ln>
        <a:effectLst/>
      </a:spPr>
      <a:bodyPr vert="horz" wrap="none" lIns="0" tIns="0" rIns="18288" bIns="18288"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rgbClr val="000000"/>
            </a:solidFill>
            <a:effectLst/>
            <a:latin typeface="Arial" pitchFamily="34" charset="0"/>
            <a:cs typeface="Arial" pitchFamily="34" charset="0"/>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lIns="0" rIns="0" rtlCol="0">
        <a:spAutoFit/>
      </a:bodyPr>
      <a:lstStyle>
        <a:defPPr algn="l">
          <a:defRPr sz="1200" dirty="0" err="1" smtClean="0">
            <a:solidFill>
              <a:schemeClr val="tx1"/>
            </a:solidFill>
          </a:defRPr>
        </a:defPPr>
      </a:lstStyle>
    </a:txDef>
  </a:objectDefaults>
  <a:extraClrSchemeLst/>
  <a:custClrLst>
    <a:custClr name="Stable Black (Dark 1)">
      <a:srgbClr val="000000"/>
    </a:custClr>
    <a:custClr name="Stable White (Light 1)">
      <a:srgbClr val="FFFFFF"/>
    </a:custClr>
    <a:custClr name="Stable Dark Blue (Dark 2)">
      <a:srgbClr val="00395C"/>
    </a:custClr>
    <a:custClr name="Stable White (Light 2)">
      <a:srgbClr val="FFFFFF"/>
    </a:custClr>
    <a:custClr name="Title Bar Fill (Teal)">
      <a:srgbClr val="006991"/>
    </a:custClr>
    <a:custClr name="Stable Barclays Cyan">
      <a:srgbClr val="00AEEF"/>
    </a:custClr>
    <a:custClr name="Stable Map Fill 1">
      <a:srgbClr val="FFF2CF"/>
    </a:custClr>
    <a:custClr name="Stable Map Fill 2">
      <a:srgbClr val="DDDEDE"/>
    </a:custClr>
    <a:custClr name="Stable Map Border">
      <a:srgbClr val="ACACAD"/>
    </a:custClr>
    <a:custClr name=" ">
      <a:srgbClr val="FFFFFF"/>
    </a:custClr>
    <a:custClr name="Barclays Cyan">
      <a:srgbClr val="00AEEF"/>
    </a:custClr>
    <a:custClr name="Yellow">
      <a:srgbClr val="FEBE10"/>
    </a:custClr>
    <a:custClr name="Teal">
      <a:srgbClr val="006991"/>
    </a:custClr>
    <a:custClr name="Lime Green">
      <a:srgbClr val="99B221"/>
    </a:custClr>
    <a:custClr name="Dark Gray">
      <a:srgbClr val="58595B"/>
    </a:custClr>
    <a:custClr name="Barclays 50%">
      <a:srgbClr val="80CDED"/>
    </a:custClr>
    <a:custClr name="Orange">
      <a:srgbClr val="E5801D"/>
    </a:custClr>
    <a:custClr name="Royal Blue">
      <a:srgbClr val="3250AA"/>
    </a:custClr>
    <a:custClr name="Green">
      <a:srgbClr val="519136"/>
    </a:custClr>
    <a:custClr name="Red">
      <a:srgbClr val="9D063B"/>
    </a:custClr>
    <a:custClr name="Barclays Cyan 70%">
      <a:srgbClr val="4DC6F4"/>
    </a:custClr>
    <a:custClr name="Yellow 50%">
      <a:srgbClr val="FEDF87"/>
    </a:custClr>
    <a:custClr name="Teal 50%">
      <a:srgbClr val="80B4C8"/>
    </a:custClr>
    <a:custClr name="Lime Green 50%">
      <a:srgbClr val="CCD890"/>
    </a:custClr>
    <a:custClr name="Dark Gray 50%">
      <a:srgbClr val="ACACAD"/>
    </a:custClr>
    <a:custClr name="Barclays 25%">
      <a:srgbClr val="C0E6F6"/>
    </a:custClr>
    <a:custClr name="Orange 50%">
      <a:srgbClr val="F2C08E"/>
    </a:custClr>
    <a:custClr name="Royal Blue 50%">
      <a:srgbClr val="99A8D4"/>
    </a:custClr>
    <a:custClr name="Green 50%">
      <a:srgbClr val="A8C89A"/>
    </a:custClr>
    <a:custClr name="Red 50%">
      <a:srgbClr val="CE829D"/>
    </a:custClr>
  </a:custClrLst>
</a:theme>
</file>

<file path=ppt/theme/theme11.xml><?xml version="1.0" encoding="utf-8"?>
<a:theme xmlns:a="http://schemas.openxmlformats.org/drawingml/2006/main" name="Agility_Template">
  <a:themeElements>
    <a:clrScheme name="Custom 3">
      <a:dk1>
        <a:srgbClr val="474647"/>
      </a:dk1>
      <a:lt1>
        <a:srgbClr val="FFFFFF"/>
      </a:lt1>
      <a:dk2>
        <a:srgbClr val="D86018"/>
      </a:dk2>
      <a:lt2>
        <a:srgbClr val="FFFFFF"/>
      </a:lt2>
      <a:accent1>
        <a:srgbClr val="D86018"/>
      </a:accent1>
      <a:accent2>
        <a:srgbClr val="474647"/>
      </a:accent2>
      <a:accent3>
        <a:srgbClr val="EA7600"/>
      </a:accent3>
      <a:accent4>
        <a:srgbClr val="8C857B"/>
      </a:accent4>
      <a:accent5>
        <a:srgbClr val="A0D1CA"/>
      </a:accent5>
      <a:accent6>
        <a:srgbClr val="C4BFB6"/>
      </a:accent6>
      <a:hlink>
        <a:srgbClr val="D86018"/>
      </a:hlink>
      <a:folHlink>
        <a:srgbClr val="474647"/>
      </a:folHlink>
    </a:clrScheme>
    <a:fontScheme name="Agility">
      <a:majorFont>
        <a:latin typeface="Karla"/>
        <a:ea typeface=""/>
        <a:cs typeface=""/>
      </a:majorFont>
      <a:minorFont>
        <a:latin typeface="Noto Sans"/>
        <a:ea typeface=""/>
        <a:cs typeface=""/>
      </a:minorFont>
    </a:fontScheme>
    <a:fmtScheme name="Aspect">
      <a:fillStyleLst>
        <a:solidFill>
          <a:schemeClr val="phClr"/>
        </a:solidFill>
        <a:gradFill rotWithShape="1">
          <a:gsLst>
            <a:gs pos="0">
              <a:schemeClr val="phClr">
                <a:tint val="65000"/>
                <a:satMod val="270000"/>
              </a:schemeClr>
            </a:gs>
            <a:gs pos="25000">
              <a:schemeClr val="phClr">
                <a:tint val="60000"/>
                <a:satMod val="300000"/>
              </a:schemeClr>
            </a:gs>
            <a:gs pos="100000">
              <a:schemeClr val="phClr">
                <a:tint val="29000"/>
                <a:satMod val="400000"/>
              </a:schemeClr>
            </a:gs>
          </a:gsLst>
          <a:lin ang="16200000" scaled="1"/>
        </a:gradFill>
        <a:gradFill rotWithShape="1">
          <a:gsLst>
            <a:gs pos="0">
              <a:schemeClr val="phClr">
                <a:shade val="45000"/>
                <a:satMod val="155000"/>
              </a:schemeClr>
            </a:gs>
            <a:gs pos="60000">
              <a:schemeClr val="phClr">
                <a:shade val="95000"/>
                <a:satMod val="150000"/>
              </a:schemeClr>
            </a:gs>
            <a:gs pos="100000">
              <a:schemeClr val="phClr">
                <a:tint val="87000"/>
                <a:satMod val="250000"/>
              </a:schemeClr>
            </a:gs>
          </a:gsLst>
          <a:lin ang="16200000" scaled="0"/>
        </a:gradFill>
      </a:fillStyleLst>
      <a:lnStyleLst>
        <a:ln w="9525" cap="flat" cmpd="sng" algn="ctr">
          <a:solidFill>
            <a:schemeClr val="phClr">
              <a:satMod val="150000"/>
            </a:schemeClr>
          </a:solidFill>
          <a:prstDash val="solid"/>
        </a:ln>
        <a:ln w="42500" cap="flat" cmpd="sng" algn="ctr">
          <a:solidFill>
            <a:schemeClr val="phClr"/>
          </a:solidFill>
          <a:prstDash val="solid"/>
        </a:ln>
        <a:ln w="38100" cap="flat" cmpd="sng" algn="ctr">
          <a:solidFill>
            <a:schemeClr val="phClr"/>
          </a:solidFill>
          <a:prstDash val="solid"/>
        </a:ln>
      </a:lnStyleLst>
      <a:effectStyleLst>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txDef>
      <a:spPr>
        <a:noFill/>
        <a:ln>
          <a:noFill/>
        </a:ln>
      </a:spPr>
      <a:bodyPr wrap="none" lIns="0" tIns="0" rIns="0" bIns="0" rtlCol="0" anchor="t" anchorCtr="0">
        <a:noAutofit/>
      </a:bodyPr>
      <a:lstStyle>
        <a:defPPr marL="457200" indent="-457200" algn="l">
          <a:lnSpc>
            <a:spcPts val="3500"/>
          </a:lnSpc>
          <a:buFont typeface="Arial" panose="020B0604020202020204" pitchFamily="34" charset="0"/>
          <a:buChar char="•"/>
          <a:defRPr sz="3200" dirty="0" smtClean="0">
            <a:latin typeface="+mn-lt"/>
            <a:cs typeface="Etelka Text Pro"/>
          </a:defRPr>
        </a:defPPr>
      </a:lstStyle>
    </a:txDef>
  </a:objectDefaults>
  <a:extraClrSchemeLst/>
  <a:extLst>
    <a:ext uri="{05A4C25C-085E-4340-85A3-A5531E510DB2}">
      <thm15:themeFamily xmlns:thm15="http://schemas.microsoft.com/office/thememl/2012/main" name="Agility PowerPoint Template.potx" id="{10B3BA49-D7FC-40AC-A474-FF3714D676CC}" vid="{5951586C-CB17-483F-9383-6ED948F83BA2}"/>
    </a:ext>
  </a:extLst>
</a:theme>
</file>

<file path=ppt/theme/theme12.xml><?xml version="1.0" encoding="utf-8"?>
<a:theme xmlns:a="http://schemas.openxmlformats.org/drawingml/2006/main" name="1_Agility_Template">
  <a:themeElements>
    <a:clrScheme name="Custom 3">
      <a:dk1>
        <a:srgbClr val="474647"/>
      </a:dk1>
      <a:lt1>
        <a:srgbClr val="FFFFFF"/>
      </a:lt1>
      <a:dk2>
        <a:srgbClr val="D86018"/>
      </a:dk2>
      <a:lt2>
        <a:srgbClr val="FFFFFF"/>
      </a:lt2>
      <a:accent1>
        <a:srgbClr val="D86018"/>
      </a:accent1>
      <a:accent2>
        <a:srgbClr val="474647"/>
      </a:accent2>
      <a:accent3>
        <a:srgbClr val="EA7600"/>
      </a:accent3>
      <a:accent4>
        <a:srgbClr val="8C857B"/>
      </a:accent4>
      <a:accent5>
        <a:srgbClr val="A0D1CA"/>
      </a:accent5>
      <a:accent6>
        <a:srgbClr val="C4BFB6"/>
      </a:accent6>
      <a:hlink>
        <a:srgbClr val="D86018"/>
      </a:hlink>
      <a:folHlink>
        <a:srgbClr val="474647"/>
      </a:folHlink>
    </a:clrScheme>
    <a:fontScheme name="Agility">
      <a:majorFont>
        <a:latin typeface="Karla"/>
        <a:ea typeface=""/>
        <a:cs typeface=""/>
      </a:majorFont>
      <a:minorFont>
        <a:latin typeface="Noto Sans"/>
        <a:ea typeface=""/>
        <a:cs typeface=""/>
      </a:minorFont>
    </a:fontScheme>
    <a:fmtScheme name="Aspect">
      <a:fillStyleLst>
        <a:solidFill>
          <a:schemeClr val="phClr"/>
        </a:solidFill>
        <a:gradFill rotWithShape="1">
          <a:gsLst>
            <a:gs pos="0">
              <a:schemeClr val="phClr">
                <a:tint val="65000"/>
                <a:satMod val="270000"/>
              </a:schemeClr>
            </a:gs>
            <a:gs pos="25000">
              <a:schemeClr val="phClr">
                <a:tint val="60000"/>
                <a:satMod val="300000"/>
              </a:schemeClr>
            </a:gs>
            <a:gs pos="100000">
              <a:schemeClr val="phClr">
                <a:tint val="29000"/>
                <a:satMod val="400000"/>
              </a:schemeClr>
            </a:gs>
          </a:gsLst>
          <a:lin ang="16200000" scaled="1"/>
        </a:gradFill>
        <a:gradFill rotWithShape="1">
          <a:gsLst>
            <a:gs pos="0">
              <a:schemeClr val="phClr">
                <a:shade val="45000"/>
                <a:satMod val="155000"/>
              </a:schemeClr>
            </a:gs>
            <a:gs pos="60000">
              <a:schemeClr val="phClr">
                <a:shade val="95000"/>
                <a:satMod val="150000"/>
              </a:schemeClr>
            </a:gs>
            <a:gs pos="100000">
              <a:schemeClr val="phClr">
                <a:tint val="87000"/>
                <a:satMod val="250000"/>
              </a:schemeClr>
            </a:gs>
          </a:gsLst>
          <a:lin ang="16200000" scaled="0"/>
        </a:gradFill>
      </a:fillStyleLst>
      <a:lnStyleLst>
        <a:ln w="9525" cap="flat" cmpd="sng" algn="ctr">
          <a:solidFill>
            <a:schemeClr val="phClr">
              <a:satMod val="150000"/>
            </a:schemeClr>
          </a:solidFill>
          <a:prstDash val="solid"/>
        </a:ln>
        <a:ln w="42500" cap="flat" cmpd="sng" algn="ctr">
          <a:solidFill>
            <a:schemeClr val="phClr"/>
          </a:solidFill>
          <a:prstDash val="solid"/>
        </a:ln>
        <a:ln w="38100" cap="flat" cmpd="sng" algn="ctr">
          <a:solidFill>
            <a:schemeClr val="phClr"/>
          </a:solidFill>
          <a:prstDash val="solid"/>
        </a:ln>
      </a:lnStyleLst>
      <a:effectStyleLst>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txDef>
      <a:spPr>
        <a:noFill/>
        <a:ln>
          <a:noFill/>
        </a:ln>
      </a:spPr>
      <a:bodyPr wrap="none" lIns="0" tIns="0" rIns="0" bIns="0" rtlCol="0" anchor="t" anchorCtr="0">
        <a:noAutofit/>
      </a:bodyPr>
      <a:lstStyle>
        <a:defPPr marL="457200" indent="-457200" algn="l">
          <a:lnSpc>
            <a:spcPts val="3500"/>
          </a:lnSpc>
          <a:buFont typeface="Arial" panose="020B0604020202020204" pitchFamily="34" charset="0"/>
          <a:buChar char="•"/>
          <a:defRPr sz="3200" dirty="0" smtClean="0">
            <a:latin typeface="+mn-lt"/>
            <a:cs typeface="Etelka Text Pro"/>
          </a:defRPr>
        </a:defPPr>
      </a:lstStyle>
    </a:txDef>
  </a:objectDefaults>
  <a:extraClrSchemeLst/>
  <a:extLst>
    <a:ext uri="{05A4C25C-085E-4340-85A3-A5531E510DB2}">
      <thm15:themeFamily xmlns:thm15="http://schemas.microsoft.com/office/thememl/2012/main" name="Agility PowerPoint Template.potx" id="{10B3BA49-D7FC-40AC-A474-FF3714D676CC}" vid="{5951586C-CB17-483F-9383-6ED948F83BA2}"/>
    </a:ext>
  </a:extLst>
</a:theme>
</file>

<file path=ppt/theme/theme13.xml><?xml version="1.0" encoding="utf-8"?>
<a:theme xmlns:a="http://schemas.openxmlformats.org/drawingml/2006/main" name="2_Agility_Template">
  <a:themeElements>
    <a:clrScheme name="Custom 3">
      <a:dk1>
        <a:srgbClr val="474647"/>
      </a:dk1>
      <a:lt1>
        <a:srgbClr val="FFFFFF"/>
      </a:lt1>
      <a:dk2>
        <a:srgbClr val="D86018"/>
      </a:dk2>
      <a:lt2>
        <a:srgbClr val="FFFFFF"/>
      </a:lt2>
      <a:accent1>
        <a:srgbClr val="D86018"/>
      </a:accent1>
      <a:accent2>
        <a:srgbClr val="474647"/>
      </a:accent2>
      <a:accent3>
        <a:srgbClr val="EA7600"/>
      </a:accent3>
      <a:accent4>
        <a:srgbClr val="8C857B"/>
      </a:accent4>
      <a:accent5>
        <a:srgbClr val="A0D1CA"/>
      </a:accent5>
      <a:accent6>
        <a:srgbClr val="C4BFB6"/>
      </a:accent6>
      <a:hlink>
        <a:srgbClr val="D86018"/>
      </a:hlink>
      <a:folHlink>
        <a:srgbClr val="474647"/>
      </a:folHlink>
    </a:clrScheme>
    <a:fontScheme name="Agility">
      <a:majorFont>
        <a:latin typeface="Karla"/>
        <a:ea typeface=""/>
        <a:cs typeface=""/>
      </a:majorFont>
      <a:minorFont>
        <a:latin typeface="Noto Sans"/>
        <a:ea typeface=""/>
        <a:cs typeface=""/>
      </a:minorFont>
    </a:fontScheme>
    <a:fmtScheme name="Aspect">
      <a:fillStyleLst>
        <a:solidFill>
          <a:schemeClr val="phClr"/>
        </a:solidFill>
        <a:gradFill rotWithShape="1">
          <a:gsLst>
            <a:gs pos="0">
              <a:schemeClr val="phClr">
                <a:tint val="65000"/>
                <a:satMod val="270000"/>
              </a:schemeClr>
            </a:gs>
            <a:gs pos="25000">
              <a:schemeClr val="phClr">
                <a:tint val="60000"/>
                <a:satMod val="300000"/>
              </a:schemeClr>
            </a:gs>
            <a:gs pos="100000">
              <a:schemeClr val="phClr">
                <a:tint val="29000"/>
                <a:satMod val="400000"/>
              </a:schemeClr>
            </a:gs>
          </a:gsLst>
          <a:lin ang="16200000" scaled="1"/>
        </a:gradFill>
        <a:gradFill rotWithShape="1">
          <a:gsLst>
            <a:gs pos="0">
              <a:schemeClr val="phClr">
                <a:shade val="45000"/>
                <a:satMod val="155000"/>
              </a:schemeClr>
            </a:gs>
            <a:gs pos="60000">
              <a:schemeClr val="phClr">
                <a:shade val="95000"/>
                <a:satMod val="150000"/>
              </a:schemeClr>
            </a:gs>
            <a:gs pos="100000">
              <a:schemeClr val="phClr">
                <a:tint val="87000"/>
                <a:satMod val="250000"/>
              </a:schemeClr>
            </a:gs>
          </a:gsLst>
          <a:lin ang="16200000" scaled="0"/>
        </a:gradFill>
      </a:fillStyleLst>
      <a:lnStyleLst>
        <a:ln w="9525" cap="flat" cmpd="sng" algn="ctr">
          <a:solidFill>
            <a:schemeClr val="phClr">
              <a:satMod val="150000"/>
            </a:schemeClr>
          </a:solidFill>
          <a:prstDash val="solid"/>
        </a:ln>
        <a:ln w="42500" cap="flat" cmpd="sng" algn="ctr">
          <a:solidFill>
            <a:schemeClr val="phClr"/>
          </a:solidFill>
          <a:prstDash val="solid"/>
        </a:ln>
        <a:ln w="38100" cap="flat" cmpd="sng" algn="ctr">
          <a:solidFill>
            <a:schemeClr val="phClr"/>
          </a:solidFill>
          <a:prstDash val="solid"/>
        </a:ln>
      </a:lnStyleLst>
      <a:effectStyleLst>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effectStyle>
        <a:effectStyle>
          <a:effectLst>
            <a:outerShdw blurRad="65500" dist="38100" dir="5400000" rotWithShape="0">
              <a:srgbClr val="000000">
                <a:alpha val="40000"/>
              </a:srgbClr>
            </a:outerShdw>
          </a:effectLst>
          <a:scene3d>
            <a:camera prst="orthographicFront" fov="0">
              <a:rot lat="0" lon="0" rev="0"/>
            </a:camera>
            <a:lightRig rig="contrasting" dir="t">
              <a:rot lat="0" lon="0" rev="12000000"/>
            </a:lightRig>
          </a:scene3d>
          <a:sp3d prstMaterial="powder">
            <a:bevelT h="50800"/>
          </a:sp3d>
        </a:effectStyle>
      </a:effectStyleLst>
      <a:bgFillStyleLst>
        <a:solidFill>
          <a:schemeClr val="phClr"/>
        </a:solidFill>
        <a:gradFill rotWithShape="1">
          <a:gsLst>
            <a:gs pos="0">
              <a:schemeClr val="phClr">
                <a:shade val="75000"/>
                <a:satMod val="250000"/>
              </a:schemeClr>
            </a:gs>
            <a:gs pos="20000">
              <a:schemeClr val="phClr">
                <a:shade val="85000"/>
                <a:satMod val="175000"/>
              </a:schemeClr>
            </a:gs>
            <a:gs pos="100000">
              <a:schemeClr val="phClr">
                <a:tint val="70000"/>
                <a:satMod val="175000"/>
              </a:schemeClr>
            </a:gs>
          </a:gsLst>
          <a:lin ang="16200000" scaled="1"/>
        </a:gradFill>
        <a:gradFill rotWithShape="1">
          <a:gsLst>
            <a:gs pos="0">
              <a:schemeClr val="phClr">
                <a:shade val="50000"/>
                <a:satMod val="145000"/>
              </a:schemeClr>
            </a:gs>
            <a:gs pos="30000">
              <a:schemeClr val="phClr">
                <a:shade val="65000"/>
                <a:satMod val="155000"/>
              </a:schemeClr>
            </a:gs>
            <a:gs pos="100000">
              <a:schemeClr val="phClr">
                <a:tint val="60000"/>
                <a:satMod val="170000"/>
              </a:schemeClr>
            </a:gs>
          </a:gsLst>
          <a:lin ang="16200000" scaled="1"/>
        </a:gradFill>
      </a:bgFillStyleLst>
    </a:fmtScheme>
  </a:themeElements>
  <a:objectDefaults>
    <a:txDef>
      <a:spPr>
        <a:noFill/>
        <a:ln>
          <a:noFill/>
        </a:ln>
      </a:spPr>
      <a:bodyPr wrap="none" lIns="0" tIns="0" rIns="0" bIns="0" rtlCol="0" anchor="t" anchorCtr="0">
        <a:noAutofit/>
      </a:bodyPr>
      <a:lstStyle>
        <a:defPPr marL="457200" indent="-457200" algn="l">
          <a:lnSpc>
            <a:spcPts val="3500"/>
          </a:lnSpc>
          <a:buFont typeface="Arial" panose="020B0604020202020204" pitchFamily="34" charset="0"/>
          <a:buChar char="•"/>
          <a:defRPr sz="3200" dirty="0" smtClean="0">
            <a:latin typeface="+mn-lt"/>
            <a:cs typeface="Etelka Text Pro"/>
          </a:defRPr>
        </a:defPPr>
      </a:lstStyle>
    </a:txDef>
  </a:objectDefaults>
  <a:extraClrSchemeLst/>
  <a:extLst>
    <a:ext uri="{05A4C25C-085E-4340-85A3-A5531E510DB2}">
      <thm15:themeFamily xmlns:thm15="http://schemas.microsoft.com/office/thememl/2012/main" name="Agility PowerPoint Template.potx" id="{10B3BA49-D7FC-40AC-A474-FF3714D676CC}" vid="{5951586C-CB17-483F-9383-6ED948F83BA2}"/>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Barclays PresBuilder">
  <a:themeElements>
    <a:clrScheme name="Agility_CG">
      <a:dk1>
        <a:srgbClr val="4B4B4B"/>
      </a:dk1>
      <a:lt1>
        <a:srgbClr val="FFFFFF"/>
      </a:lt1>
      <a:dk2>
        <a:srgbClr val="7E8083"/>
      </a:dk2>
      <a:lt2>
        <a:srgbClr val="CE361D"/>
      </a:lt2>
      <a:accent1>
        <a:srgbClr val="F69F1C"/>
      </a:accent1>
      <a:accent2>
        <a:srgbClr val="E86D27"/>
      </a:accent2>
      <a:accent3>
        <a:srgbClr val="C13D27"/>
      </a:accent3>
      <a:accent4>
        <a:srgbClr val="3F3F3F"/>
      </a:accent4>
      <a:accent5>
        <a:srgbClr val="FACDAB"/>
      </a:accent5>
      <a:accent6>
        <a:srgbClr val="D26222"/>
      </a:accent6>
      <a:hlink>
        <a:srgbClr val="C35C1D"/>
      </a:hlink>
      <a:folHlink>
        <a:srgbClr val="92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0000"/>
          </a:solidFill>
          <a:prstDash val="solid"/>
          <a:round/>
          <a:headEnd type="none" w="med" len="med"/>
          <a:tailEnd type="none" w="med" len="med"/>
        </a:ln>
        <a:effectLst/>
      </a:spPr>
      <a:bodyPr vert="horz" wrap="none" lIns="0" tIns="0" rIns="18288" bIns="18288"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rgbClr val="000000"/>
            </a:solidFill>
            <a:effectLst/>
            <a:latin typeface="Arial" pitchFamily="34" charset="0"/>
            <a:cs typeface="Arial" pitchFamily="34" charset="0"/>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lIns="0" rIns="0" rtlCol="0">
        <a:spAutoFit/>
      </a:bodyPr>
      <a:lstStyle>
        <a:defPPr algn="l">
          <a:defRPr sz="1200" dirty="0" err="1" smtClean="0">
            <a:solidFill>
              <a:schemeClr val="tx1"/>
            </a:solidFill>
          </a:defRPr>
        </a:defPPr>
      </a:lstStyle>
    </a:txDef>
  </a:objectDefaults>
  <a:extraClrSchemeLst/>
  <a:custClrLst>
    <a:custClr name="Stable Black (Dark 1)">
      <a:srgbClr val="000000"/>
    </a:custClr>
    <a:custClr name="Stable White (Light 1)">
      <a:srgbClr val="FFFFFF"/>
    </a:custClr>
    <a:custClr name="Stable Dark Blue (Dark 2)">
      <a:srgbClr val="00395C"/>
    </a:custClr>
    <a:custClr name="Stable White (Light 2)">
      <a:srgbClr val="FFFFFF"/>
    </a:custClr>
    <a:custClr name="Title Bar Fill (Teal)">
      <a:srgbClr val="006991"/>
    </a:custClr>
    <a:custClr name="Stable Barclays Cyan">
      <a:srgbClr val="00AEEF"/>
    </a:custClr>
    <a:custClr name="Stable Map Fill 1">
      <a:srgbClr val="FFF2CF"/>
    </a:custClr>
    <a:custClr name="Stable Map Fill 2">
      <a:srgbClr val="DDDEDE"/>
    </a:custClr>
    <a:custClr name="Stable Map Border">
      <a:srgbClr val="ACACAD"/>
    </a:custClr>
    <a:custClr name=" ">
      <a:srgbClr val="FFFFFF"/>
    </a:custClr>
    <a:custClr name="Barclays Cyan">
      <a:srgbClr val="00AEEF"/>
    </a:custClr>
    <a:custClr name="Yellow">
      <a:srgbClr val="FEBE10"/>
    </a:custClr>
    <a:custClr name="Teal">
      <a:srgbClr val="006991"/>
    </a:custClr>
    <a:custClr name="Lime Green">
      <a:srgbClr val="99B221"/>
    </a:custClr>
    <a:custClr name="Dark Gray">
      <a:srgbClr val="58595B"/>
    </a:custClr>
    <a:custClr name="Barclays 50%">
      <a:srgbClr val="80CDED"/>
    </a:custClr>
    <a:custClr name="Orange">
      <a:srgbClr val="E5801D"/>
    </a:custClr>
    <a:custClr name="Royal Blue">
      <a:srgbClr val="3250AA"/>
    </a:custClr>
    <a:custClr name="Green">
      <a:srgbClr val="519136"/>
    </a:custClr>
    <a:custClr name="Red">
      <a:srgbClr val="9D063B"/>
    </a:custClr>
    <a:custClr name="Barclays Cyan 70%">
      <a:srgbClr val="4DC6F4"/>
    </a:custClr>
    <a:custClr name="Yellow 50%">
      <a:srgbClr val="FEDF87"/>
    </a:custClr>
    <a:custClr name="Teal 50%">
      <a:srgbClr val="80B4C8"/>
    </a:custClr>
    <a:custClr name="Lime Green 50%">
      <a:srgbClr val="CCD890"/>
    </a:custClr>
    <a:custClr name="Dark Gray 50%">
      <a:srgbClr val="ACACAD"/>
    </a:custClr>
    <a:custClr name="Barclays 25%">
      <a:srgbClr val="C0E6F6"/>
    </a:custClr>
    <a:custClr name="Orange 50%">
      <a:srgbClr val="F2C08E"/>
    </a:custClr>
    <a:custClr name="Royal Blue 50%">
      <a:srgbClr val="99A8D4"/>
    </a:custClr>
    <a:custClr name="Green 50%">
      <a:srgbClr val="A8C89A"/>
    </a:custClr>
    <a:custClr name="Red 50%">
      <a:srgbClr val="CE829D"/>
    </a:custClr>
  </a:custClrLst>
</a:theme>
</file>

<file path=ppt/theme/theme3.xml><?xml version="1.0" encoding="utf-8"?>
<a:theme xmlns:a="http://schemas.openxmlformats.org/drawingml/2006/main" name="2_Barclays PresBuilder">
  <a:themeElements>
    <a:clrScheme name="Agility_CG">
      <a:dk1>
        <a:srgbClr val="4B4B4B"/>
      </a:dk1>
      <a:lt1>
        <a:srgbClr val="FFFFFF"/>
      </a:lt1>
      <a:dk2>
        <a:srgbClr val="7E8083"/>
      </a:dk2>
      <a:lt2>
        <a:srgbClr val="CE361D"/>
      </a:lt2>
      <a:accent1>
        <a:srgbClr val="F69F1C"/>
      </a:accent1>
      <a:accent2>
        <a:srgbClr val="E86D27"/>
      </a:accent2>
      <a:accent3>
        <a:srgbClr val="C13D27"/>
      </a:accent3>
      <a:accent4>
        <a:srgbClr val="3F3F3F"/>
      </a:accent4>
      <a:accent5>
        <a:srgbClr val="FACDAB"/>
      </a:accent5>
      <a:accent6>
        <a:srgbClr val="D26222"/>
      </a:accent6>
      <a:hlink>
        <a:srgbClr val="C35C1D"/>
      </a:hlink>
      <a:folHlink>
        <a:srgbClr val="92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0000"/>
          </a:solidFill>
          <a:prstDash val="solid"/>
          <a:round/>
          <a:headEnd type="none" w="med" len="med"/>
          <a:tailEnd type="none" w="med" len="med"/>
        </a:ln>
        <a:effectLst/>
      </a:spPr>
      <a:bodyPr vert="horz" wrap="none" lIns="0" tIns="0" rIns="18288" bIns="18288"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rgbClr val="000000"/>
            </a:solidFill>
            <a:effectLst/>
            <a:latin typeface="Arial" pitchFamily="34" charset="0"/>
            <a:cs typeface="Arial" pitchFamily="34" charset="0"/>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lIns="0" rIns="0" rtlCol="0">
        <a:spAutoFit/>
      </a:bodyPr>
      <a:lstStyle>
        <a:defPPr algn="l">
          <a:defRPr sz="1200" dirty="0" err="1" smtClean="0">
            <a:solidFill>
              <a:schemeClr val="tx1"/>
            </a:solidFill>
          </a:defRPr>
        </a:defPPr>
      </a:lstStyle>
    </a:txDef>
  </a:objectDefaults>
  <a:extraClrSchemeLst/>
  <a:custClrLst>
    <a:custClr name="Stable Black (Dark 1)">
      <a:srgbClr val="000000"/>
    </a:custClr>
    <a:custClr name="Stable White (Light 1)">
      <a:srgbClr val="FFFFFF"/>
    </a:custClr>
    <a:custClr name="Stable Dark Blue (Dark 2)">
      <a:srgbClr val="00395C"/>
    </a:custClr>
    <a:custClr name="Stable White (Light 2)">
      <a:srgbClr val="FFFFFF"/>
    </a:custClr>
    <a:custClr name="Title Bar Fill (Teal)">
      <a:srgbClr val="006991"/>
    </a:custClr>
    <a:custClr name="Stable Barclays Cyan">
      <a:srgbClr val="00AEEF"/>
    </a:custClr>
    <a:custClr name="Stable Map Fill 1">
      <a:srgbClr val="FFF2CF"/>
    </a:custClr>
    <a:custClr name="Stable Map Fill 2">
      <a:srgbClr val="DDDEDE"/>
    </a:custClr>
    <a:custClr name="Stable Map Border">
      <a:srgbClr val="ACACAD"/>
    </a:custClr>
    <a:custClr name=" ">
      <a:srgbClr val="FFFFFF"/>
    </a:custClr>
    <a:custClr name="Barclays Cyan">
      <a:srgbClr val="00AEEF"/>
    </a:custClr>
    <a:custClr name="Yellow">
      <a:srgbClr val="FEBE10"/>
    </a:custClr>
    <a:custClr name="Teal">
      <a:srgbClr val="006991"/>
    </a:custClr>
    <a:custClr name="Lime Green">
      <a:srgbClr val="99B221"/>
    </a:custClr>
    <a:custClr name="Dark Gray">
      <a:srgbClr val="58595B"/>
    </a:custClr>
    <a:custClr name="Barclays 50%">
      <a:srgbClr val="80CDED"/>
    </a:custClr>
    <a:custClr name="Orange">
      <a:srgbClr val="E5801D"/>
    </a:custClr>
    <a:custClr name="Royal Blue">
      <a:srgbClr val="3250AA"/>
    </a:custClr>
    <a:custClr name="Green">
      <a:srgbClr val="519136"/>
    </a:custClr>
    <a:custClr name="Red">
      <a:srgbClr val="9D063B"/>
    </a:custClr>
    <a:custClr name="Barclays Cyan 70%">
      <a:srgbClr val="4DC6F4"/>
    </a:custClr>
    <a:custClr name="Yellow 50%">
      <a:srgbClr val="FEDF87"/>
    </a:custClr>
    <a:custClr name="Teal 50%">
      <a:srgbClr val="80B4C8"/>
    </a:custClr>
    <a:custClr name="Lime Green 50%">
      <a:srgbClr val="CCD890"/>
    </a:custClr>
    <a:custClr name="Dark Gray 50%">
      <a:srgbClr val="ACACAD"/>
    </a:custClr>
    <a:custClr name="Barclays 25%">
      <a:srgbClr val="C0E6F6"/>
    </a:custClr>
    <a:custClr name="Orange 50%">
      <a:srgbClr val="F2C08E"/>
    </a:custClr>
    <a:custClr name="Royal Blue 50%">
      <a:srgbClr val="99A8D4"/>
    </a:custClr>
    <a:custClr name="Green 50%">
      <a:srgbClr val="A8C89A"/>
    </a:custClr>
    <a:custClr name="Red 50%">
      <a:srgbClr val="CE829D"/>
    </a:custClr>
  </a:custClrLst>
</a:theme>
</file>

<file path=ppt/theme/theme4.xml><?xml version="1.0" encoding="utf-8"?>
<a:theme xmlns:a="http://schemas.openxmlformats.org/drawingml/2006/main" name="3_Barclays PresBuilder">
  <a:themeElements>
    <a:clrScheme name="Agility_CG">
      <a:dk1>
        <a:srgbClr val="4B4B4B"/>
      </a:dk1>
      <a:lt1>
        <a:srgbClr val="FFFFFF"/>
      </a:lt1>
      <a:dk2>
        <a:srgbClr val="7E8083"/>
      </a:dk2>
      <a:lt2>
        <a:srgbClr val="CE361D"/>
      </a:lt2>
      <a:accent1>
        <a:srgbClr val="F69F1C"/>
      </a:accent1>
      <a:accent2>
        <a:srgbClr val="E86D27"/>
      </a:accent2>
      <a:accent3>
        <a:srgbClr val="C13D27"/>
      </a:accent3>
      <a:accent4>
        <a:srgbClr val="3F3F3F"/>
      </a:accent4>
      <a:accent5>
        <a:srgbClr val="FACDAB"/>
      </a:accent5>
      <a:accent6>
        <a:srgbClr val="D26222"/>
      </a:accent6>
      <a:hlink>
        <a:srgbClr val="C35C1D"/>
      </a:hlink>
      <a:folHlink>
        <a:srgbClr val="92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0000"/>
          </a:solidFill>
          <a:prstDash val="solid"/>
          <a:round/>
          <a:headEnd type="none" w="med" len="med"/>
          <a:tailEnd type="none" w="med" len="med"/>
        </a:ln>
        <a:effectLst/>
      </a:spPr>
      <a:bodyPr vert="horz" wrap="none" lIns="0" tIns="0" rIns="18288" bIns="18288"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rgbClr val="000000"/>
            </a:solidFill>
            <a:effectLst/>
            <a:latin typeface="Arial" pitchFamily="34" charset="0"/>
            <a:cs typeface="Arial" pitchFamily="34" charset="0"/>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lIns="0" rIns="0" rtlCol="0">
        <a:spAutoFit/>
      </a:bodyPr>
      <a:lstStyle>
        <a:defPPr algn="l">
          <a:defRPr sz="1200" dirty="0" err="1" smtClean="0">
            <a:solidFill>
              <a:schemeClr val="tx1"/>
            </a:solidFill>
          </a:defRPr>
        </a:defPPr>
      </a:lstStyle>
    </a:txDef>
  </a:objectDefaults>
  <a:extraClrSchemeLst/>
  <a:custClrLst>
    <a:custClr name="Stable Black (Dark 1)">
      <a:srgbClr val="000000"/>
    </a:custClr>
    <a:custClr name="Stable White (Light 1)">
      <a:srgbClr val="FFFFFF"/>
    </a:custClr>
    <a:custClr name="Stable Dark Blue (Dark 2)">
      <a:srgbClr val="00395C"/>
    </a:custClr>
    <a:custClr name="Stable White (Light 2)">
      <a:srgbClr val="FFFFFF"/>
    </a:custClr>
    <a:custClr name="Title Bar Fill (Teal)">
      <a:srgbClr val="006991"/>
    </a:custClr>
    <a:custClr name="Stable Barclays Cyan">
      <a:srgbClr val="00AEEF"/>
    </a:custClr>
    <a:custClr name="Stable Map Fill 1">
      <a:srgbClr val="FFF2CF"/>
    </a:custClr>
    <a:custClr name="Stable Map Fill 2">
      <a:srgbClr val="DDDEDE"/>
    </a:custClr>
    <a:custClr name="Stable Map Border">
      <a:srgbClr val="ACACAD"/>
    </a:custClr>
    <a:custClr name=" ">
      <a:srgbClr val="FFFFFF"/>
    </a:custClr>
    <a:custClr name="Barclays Cyan">
      <a:srgbClr val="00AEEF"/>
    </a:custClr>
    <a:custClr name="Yellow">
      <a:srgbClr val="FEBE10"/>
    </a:custClr>
    <a:custClr name="Teal">
      <a:srgbClr val="006991"/>
    </a:custClr>
    <a:custClr name="Lime Green">
      <a:srgbClr val="99B221"/>
    </a:custClr>
    <a:custClr name="Dark Gray">
      <a:srgbClr val="58595B"/>
    </a:custClr>
    <a:custClr name="Barclays 50%">
      <a:srgbClr val="80CDED"/>
    </a:custClr>
    <a:custClr name="Orange">
      <a:srgbClr val="E5801D"/>
    </a:custClr>
    <a:custClr name="Royal Blue">
      <a:srgbClr val="3250AA"/>
    </a:custClr>
    <a:custClr name="Green">
      <a:srgbClr val="519136"/>
    </a:custClr>
    <a:custClr name="Red">
      <a:srgbClr val="9D063B"/>
    </a:custClr>
    <a:custClr name="Barclays Cyan 70%">
      <a:srgbClr val="4DC6F4"/>
    </a:custClr>
    <a:custClr name="Yellow 50%">
      <a:srgbClr val="FEDF87"/>
    </a:custClr>
    <a:custClr name="Teal 50%">
      <a:srgbClr val="80B4C8"/>
    </a:custClr>
    <a:custClr name="Lime Green 50%">
      <a:srgbClr val="CCD890"/>
    </a:custClr>
    <a:custClr name="Dark Gray 50%">
      <a:srgbClr val="ACACAD"/>
    </a:custClr>
    <a:custClr name="Barclays 25%">
      <a:srgbClr val="C0E6F6"/>
    </a:custClr>
    <a:custClr name="Orange 50%">
      <a:srgbClr val="F2C08E"/>
    </a:custClr>
    <a:custClr name="Royal Blue 50%">
      <a:srgbClr val="99A8D4"/>
    </a:custClr>
    <a:custClr name="Green 50%">
      <a:srgbClr val="A8C89A"/>
    </a:custClr>
    <a:custClr name="Red 50%">
      <a:srgbClr val="CE829D"/>
    </a:custClr>
  </a:custClrLst>
</a:theme>
</file>

<file path=ppt/theme/theme5.xml><?xml version="1.0" encoding="utf-8"?>
<a:theme xmlns:a="http://schemas.openxmlformats.org/drawingml/2006/main" name="4_Barclays PresBuilder">
  <a:themeElements>
    <a:clrScheme name="Agility_CG">
      <a:dk1>
        <a:srgbClr val="4B4B4B"/>
      </a:dk1>
      <a:lt1>
        <a:srgbClr val="FFFFFF"/>
      </a:lt1>
      <a:dk2>
        <a:srgbClr val="7E8083"/>
      </a:dk2>
      <a:lt2>
        <a:srgbClr val="CE361D"/>
      </a:lt2>
      <a:accent1>
        <a:srgbClr val="F69F1C"/>
      </a:accent1>
      <a:accent2>
        <a:srgbClr val="E86D27"/>
      </a:accent2>
      <a:accent3>
        <a:srgbClr val="C13D27"/>
      </a:accent3>
      <a:accent4>
        <a:srgbClr val="3F3F3F"/>
      </a:accent4>
      <a:accent5>
        <a:srgbClr val="FACDAB"/>
      </a:accent5>
      <a:accent6>
        <a:srgbClr val="D26222"/>
      </a:accent6>
      <a:hlink>
        <a:srgbClr val="C35C1D"/>
      </a:hlink>
      <a:folHlink>
        <a:srgbClr val="92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0000"/>
          </a:solidFill>
          <a:prstDash val="solid"/>
          <a:round/>
          <a:headEnd type="none" w="med" len="med"/>
          <a:tailEnd type="none" w="med" len="med"/>
        </a:ln>
        <a:effectLst/>
      </a:spPr>
      <a:bodyPr vert="horz" wrap="none" lIns="0" tIns="0" rIns="18288" bIns="18288"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rgbClr val="000000"/>
            </a:solidFill>
            <a:effectLst/>
            <a:latin typeface="Arial" pitchFamily="34" charset="0"/>
            <a:cs typeface="Arial" pitchFamily="34" charset="0"/>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lIns="0" rIns="0" rtlCol="0">
        <a:spAutoFit/>
      </a:bodyPr>
      <a:lstStyle>
        <a:defPPr algn="l">
          <a:defRPr sz="1200" dirty="0" err="1" smtClean="0">
            <a:solidFill>
              <a:schemeClr val="tx1"/>
            </a:solidFill>
          </a:defRPr>
        </a:defPPr>
      </a:lstStyle>
    </a:txDef>
  </a:objectDefaults>
  <a:extraClrSchemeLst/>
  <a:custClrLst>
    <a:custClr name="Stable Black (Dark 1)">
      <a:srgbClr val="000000"/>
    </a:custClr>
    <a:custClr name="Stable White (Light 1)">
      <a:srgbClr val="FFFFFF"/>
    </a:custClr>
    <a:custClr name="Stable Dark Blue (Dark 2)">
      <a:srgbClr val="00395C"/>
    </a:custClr>
    <a:custClr name="Stable White (Light 2)">
      <a:srgbClr val="FFFFFF"/>
    </a:custClr>
    <a:custClr name="Title Bar Fill (Teal)">
      <a:srgbClr val="006991"/>
    </a:custClr>
    <a:custClr name="Stable Barclays Cyan">
      <a:srgbClr val="00AEEF"/>
    </a:custClr>
    <a:custClr name="Stable Map Fill 1">
      <a:srgbClr val="FFF2CF"/>
    </a:custClr>
    <a:custClr name="Stable Map Fill 2">
      <a:srgbClr val="DDDEDE"/>
    </a:custClr>
    <a:custClr name="Stable Map Border">
      <a:srgbClr val="ACACAD"/>
    </a:custClr>
    <a:custClr name=" ">
      <a:srgbClr val="FFFFFF"/>
    </a:custClr>
    <a:custClr name="Barclays Cyan">
      <a:srgbClr val="00AEEF"/>
    </a:custClr>
    <a:custClr name="Yellow">
      <a:srgbClr val="FEBE10"/>
    </a:custClr>
    <a:custClr name="Teal">
      <a:srgbClr val="006991"/>
    </a:custClr>
    <a:custClr name="Lime Green">
      <a:srgbClr val="99B221"/>
    </a:custClr>
    <a:custClr name="Dark Gray">
      <a:srgbClr val="58595B"/>
    </a:custClr>
    <a:custClr name="Barclays 50%">
      <a:srgbClr val="80CDED"/>
    </a:custClr>
    <a:custClr name="Orange">
      <a:srgbClr val="E5801D"/>
    </a:custClr>
    <a:custClr name="Royal Blue">
      <a:srgbClr val="3250AA"/>
    </a:custClr>
    <a:custClr name="Green">
      <a:srgbClr val="519136"/>
    </a:custClr>
    <a:custClr name="Red">
      <a:srgbClr val="9D063B"/>
    </a:custClr>
    <a:custClr name="Barclays Cyan 70%">
      <a:srgbClr val="4DC6F4"/>
    </a:custClr>
    <a:custClr name="Yellow 50%">
      <a:srgbClr val="FEDF87"/>
    </a:custClr>
    <a:custClr name="Teal 50%">
      <a:srgbClr val="80B4C8"/>
    </a:custClr>
    <a:custClr name="Lime Green 50%">
      <a:srgbClr val="CCD890"/>
    </a:custClr>
    <a:custClr name="Dark Gray 50%">
      <a:srgbClr val="ACACAD"/>
    </a:custClr>
    <a:custClr name="Barclays 25%">
      <a:srgbClr val="C0E6F6"/>
    </a:custClr>
    <a:custClr name="Orange 50%">
      <a:srgbClr val="F2C08E"/>
    </a:custClr>
    <a:custClr name="Royal Blue 50%">
      <a:srgbClr val="99A8D4"/>
    </a:custClr>
    <a:custClr name="Green 50%">
      <a:srgbClr val="A8C89A"/>
    </a:custClr>
    <a:custClr name="Red 50%">
      <a:srgbClr val="CE829D"/>
    </a:custClr>
  </a:custClrLst>
</a:theme>
</file>

<file path=ppt/theme/theme6.xml><?xml version="1.0" encoding="utf-8"?>
<a:theme xmlns:a="http://schemas.openxmlformats.org/drawingml/2006/main" name="5_Barclays PresBuilder">
  <a:themeElements>
    <a:clrScheme name="Agility_CG">
      <a:dk1>
        <a:srgbClr val="4B4B4B"/>
      </a:dk1>
      <a:lt1>
        <a:srgbClr val="FFFFFF"/>
      </a:lt1>
      <a:dk2>
        <a:srgbClr val="7E8083"/>
      </a:dk2>
      <a:lt2>
        <a:srgbClr val="CE361D"/>
      </a:lt2>
      <a:accent1>
        <a:srgbClr val="F69F1C"/>
      </a:accent1>
      <a:accent2>
        <a:srgbClr val="E86D27"/>
      </a:accent2>
      <a:accent3>
        <a:srgbClr val="C13D27"/>
      </a:accent3>
      <a:accent4>
        <a:srgbClr val="3F3F3F"/>
      </a:accent4>
      <a:accent5>
        <a:srgbClr val="FACDAB"/>
      </a:accent5>
      <a:accent6>
        <a:srgbClr val="D26222"/>
      </a:accent6>
      <a:hlink>
        <a:srgbClr val="C35C1D"/>
      </a:hlink>
      <a:folHlink>
        <a:srgbClr val="92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0000"/>
          </a:solidFill>
          <a:prstDash val="solid"/>
          <a:round/>
          <a:headEnd type="none" w="med" len="med"/>
          <a:tailEnd type="none" w="med" len="med"/>
        </a:ln>
        <a:effectLst/>
      </a:spPr>
      <a:bodyPr vert="horz" wrap="none" lIns="0" tIns="0" rIns="18288" bIns="18288"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rgbClr val="000000"/>
            </a:solidFill>
            <a:effectLst/>
            <a:latin typeface="Arial" pitchFamily="34" charset="0"/>
            <a:cs typeface="Arial" pitchFamily="34" charset="0"/>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lIns="0" rIns="0" rtlCol="0">
        <a:spAutoFit/>
      </a:bodyPr>
      <a:lstStyle>
        <a:defPPr algn="l">
          <a:defRPr sz="1200" dirty="0" err="1" smtClean="0">
            <a:solidFill>
              <a:schemeClr val="tx1"/>
            </a:solidFill>
          </a:defRPr>
        </a:defPPr>
      </a:lstStyle>
    </a:txDef>
  </a:objectDefaults>
  <a:extraClrSchemeLst/>
  <a:custClrLst>
    <a:custClr name="Stable Black (Dark 1)">
      <a:srgbClr val="000000"/>
    </a:custClr>
    <a:custClr name="Stable White (Light 1)">
      <a:srgbClr val="FFFFFF"/>
    </a:custClr>
    <a:custClr name="Stable Dark Blue (Dark 2)">
      <a:srgbClr val="00395C"/>
    </a:custClr>
    <a:custClr name="Stable White (Light 2)">
      <a:srgbClr val="FFFFFF"/>
    </a:custClr>
    <a:custClr name="Title Bar Fill (Teal)">
      <a:srgbClr val="006991"/>
    </a:custClr>
    <a:custClr name="Stable Barclays Cyan">
      <a:srgbClr val="00AEEF"/>
    </a:custClr>
    <a:custClr name="Stable Map Fill 1">
      <a:srgbClr val="FFF2CF"/>
    </a:custClr>
    <a:custClr name="Stable Map Fill 2">
      <a:srgbClr val="DDDEDE"/>
    </a:custClr>
    <a:custClr name="Stable Map Border">
      <a:srgbClr val="ACACAD"/>
    </a:custClr>
    <a:custClr name=" ">
      <a:srgbClr val="FFFFFF"/>
    </a:custClr>
    <a:custClr name="Barclays Cyan">
      <a:srgbClr val="00AEEF"/>
    </a:custClr>
    <a:custClr name="Yellow">
      <a:srgbClr val="FEBE10"/>
    </a:custClr>
    <a:custClr name="Teal">
      <a:srgbClr val="006991"/>
    </a:custClr>
    <a:custClr name="Lime Green">
      <a:srgbClr val="99B221"/>
    </a:custClr>
    <a:custClr name="Dark Gray">
      <a:srgbClr val="58595B"/>
    </a:custClr>
    <a:custClr name="Barclays 50%">
      <a:srgbClr val="80CDED"/>
    </a:custClr>
    <a:custClr name="Orange">
      <a:srgbClr val="E5801D"/>
    </a:custClr>
    <a:custClr name="Royal Blue">
      <a:srgbClr val="3250AA"/>
    </a:custClr>
    <a:custClr name="Green">
      <a:srgbClr val="519136"/>
    </a:custClr>
    <a:custClr name="Red">
      <a:srgbClr val="9D063B"/>
    </a:custClr>
    <a:custClr name="Barclays Cyan 70%">
      <a:srgbClr val="4DC6F4"/>
    </a:custClr>
    <a:custClr name="Yellow 50%">
      <a:srgbClr val="FEDF87"/>
    </a:custClr>
    <a:custClr name="Teal 50%">
      <a:srgbClr val="80B4C8"/>
    </a:custClr>
    <a:custClr name="Lime Green 50%">
      <a:srgbClr val="CCD890"/>
    </a:custClr>
    <a:custClr name="Dark Gray 50%">
      <a:srgbClr val="ACACAD"/>
    </a:custClr>
    <a:custClr name="Barclays 25%">
      <a:srgbClr val="C0E6F6"/>
    </a:custClr>
    <a:custClr name="Orange 50%">
      <a:srgbClr val="F2C08E"/>
    </a:custClr>
    <a:custClr name="Royal Blue 50%">
      <a:srgbClr val="99A8D4"/>
    </a:custClr>
    <a:custClr name="Green 50%">
      <a:srgbClr val="A8C89A"/>
    </a:custClr>
    <a:custClr name="Red 50%">
      <a:srgbClr val="CE829D"/>
    </a:custClr>
  </a:custClrLst>
</a:theme>
</file>

<file path=ppt/theme/theme7.xml><?xml version="1.0" encoding="utf-8"?>
<a:theme xmlns:a="http://schemas.openxmlformats.org/drawingml/2006/main" name="6_Barclays PresBuilder">
  <a:themeElements>
    <a:clrScheme name="Agility_CG">
      <a:dk1>
        <a:srgbClr val="4B4B4B"/>
      </a:dk1>
      <a:lt1>
        <a:srgbClr val="FFFFFF"/>
      </a:lt1>
      <a:dk2>
        <a:srgbClr val="7E8083"/>
      </a:dk2>
      <a:lt2>
        <a:srgbClr val="CE361D"/>
      </a:lt2>
      <a:accent1>
        <a:srgbClr val="F69F1C"/>
      </a:accent1>
      <a:accent2>
        <a:srgbClr val="E86D27"/>
      </a:accent2>
      <a:accent3>
        <a:srgbClr val="C13D27"/>
      </a:accent3>
      <a:accent4>
        <a:srgbClr val="3F3F3F"/>
      </a:accent4>
      <a:accent5>
        <a:srgbClr val="FACDAB"/>
      </a:accent5>
      <a:accent6>
        <a:srgbClr val="D26222"/>
      </a:accent6>
      <a:hlink>
        <a:srgbClr val="C35C1D"/>
      </a:hlink>
      <a:folHlink>
        <a:srgbClr val="92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0000"/>
          </a:solidFill>
          <a:prstDash val="solid"/>
          <a:round/>
          <a:headEnd type="none" w="med" len="med"/>
          <a:tailEnd type="none" w="med" len="med"/>
        </a:ln>
        <a:effectLst/>
      </a:spPr>
      <a:bodyPr vert="horz" wrap="none" lIns="0" tIns="0" rIns="18288" bIns="18288"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rgbClr val="000000"/>
            </a:solidFill>
            <a:effectLst/>
            <a:latin typeface="Arial" pitchFamily="34" charset="0"/>
            <a:cs typeface="Arial" pitchFamily="34" charset="0"/>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lIns="0" rIns="0" rtlCol="0">
        <a:spAutoFit/>
      </a:bodyPr>
      <a:lstStyle>
        <a:defPPr algn="l">
          <a:defRPr sz="1200" dirty="0" err="1" smtClean="0">
            <a:solidFill>
              <a:schemeClr val="tx1"/>
            </a:solidFill>
          </a:defRPr>
        </a:defPPr>
      </a:lstStyle>
    </a:txDef>
  </a:objectDefaults>
  <a:extraClrSchemeLst/>
  <a:custClrLst>
    <a:custClr name="Stable Black (Dark 1)">
      <a:srgbClr val="000000"/>
    </a:custClr>
    <a:custClr name="Stable White (Light 1)">
      <a:srgbClr val="FFFFFF"/>
    </a:custClr>
    <a:custClr name="Stable Dark Blue (Dark 2)">
      <a:srgbClr val="00395C"/>
    </a:custClr>
    <a:custClr name="Stable White (Light 2)">
      <a:srgbClr val="FFFFFF"/>
    </a:custClr>
    <a:custClr name="Title Bar Fill (Teal)">
      <a:srgbClr val="006991"/>
    </a:custClr>
    <a:custClr name="Stable Barclays Cyan">
      <a:srgbClr val="00AEEF"/>
    </a:custClr>
    <a:custClr name="Stable Map Fill 1">
      <a:srgbClr val="FFF2CF"/>
    </a:custClr>
    <a:custClr name="Stable Map Fill 2">
      <a:srgbClr val="DDDEDE"/>
    </a:custClr>
    <a:custClr name="Stable Map Border">
      <a:srgbClr val="ACACAD"/>
    </a:custClr>
    <a:custClr name=" ">
      <a:srgbClr val="FFFFFF"/>
    </a:custClr>
    <a:custClr name="Barclays Cyan">
      <a:srgbClr val="00AEEF"/>
    </a:custClr>
    <a:custClr name="Yellow">
      <a:srgbClr val="FEBE10"/>
    </a:custClr>
    <a:custClr name="Teal">
      <a:srgbClr val="006991"/>
    </a:custClr>
    <a:custClr name="Lime Green">
      <a:srgbClr val="99B221"/>
    </a:custClr>
    <a:custClr name="Dark Gray">
      <a:srgbClr val="58595B"/>
    </a:custClr>
    <a:custClr name="Barclays 50%">
      <a:srgbClr val="80CDED"/>
    </a:custClr>
    <a:custClr name="Orange">
      <a:srgbClr val="E5801D"/>
    </a:custClr>
    <a:custClr name="Royal Blue">
      <a:srgbClr val="3250AA"/>
    </a:custClr>
    <a:custClr name="Green">
      <a:srgbClr val="519136"/>
    </a:custClr>
    <a:custClr name="Red">
      <a:srgbClr val="9D063B"/>
    </a:custClr>
    <a:custClr name="Barclays Cyan 70%">
      <a:srgbClr val="4DC6F4"/>
    </a:custClr>
    <a:custClr name="Yellow 50%">
      <a:srgbClr val="FEDF87"/>
    </a:custClr>
    <a:custClr name="Teal 50%">
      <a:srgbClr val="80B4C8"/>
    </a:custClr>
    <a:custClr name="Lime Green 50%">
      <a:srgbClr val="CCD890"/>
    </a:custClr>
    <a:custClr name="Dark Gray 50%">
      <a:srgbClr val="ACACAD"/>
    </a:custClr>
    <a:custClr name="Barclays 25%">
      <a:srgbClr val="C0E6F6"/>
    </a:custClr>
    <a:custClr name="Orange 50%">
      <a:srgbClr val="F2C08E"/>
    </a:custClr>
    <a:custClr name="Royal Blue 50%">
      <a:srgbClr val="99A8D4"/>
    </a:custClr>
    <a:custClr name="Green 50%">
      <a:srgbClr val="A8C89A"/>
    </a:custClr>
    <a:custClr name="Red 50%">
      <a:srgbClr val="CE829D"/>
    </a:custClr>
  </a:custClrLst>
</a:theme>
</file>

<file path=ppt/theme/theme8.xml><?xml version="1.0" encoding="utf-8"?>
<a:theme xmlns:a="http://schemas.openxmlformats.org/drawingml/2006/main" name="7_Barclays PresBuilder">
  <a:themeElements>
    <a:clrScheme name="Agility_CG">
      <a:dk1>
        <a:srgbClr val="4B4B4B"/>
      </a:dk1>
      <a:lt1>
        <a:srgbClr val="FFFFFF"/>
      </a:lt1>
      <a:dk2>
        <a:srgbClr val="7E8083"/>
      </a:dk2>
      <a:lt2>
        <a:srgbClr val="CE361D"/>
      </a:lt2>
      <a:accent1>
        <a:srgbClr val="F69F1C"/>
      </a:accent1>
      <a:accent2>
        <a:srgbClr val="E86D27"/>
      </a:accent2>
      <a:accent3>
        <a:srgbClr val="C13D27"/>
      </a:accent3>
      <a:accent4>
        <a:srgbClr val="3F3F3F"/>
      </a:accent4>
      <a:accent5>
        <a:srgbClr val="FACDAB"/>
      </a:accent5>
      <a:accent6>
        <a:srgbClr val="D26222"/>
      </a:accent6>
      <a:hlink>
        <a:srgbClr val="C35C1D"/>
      </a:hlink>
      <a:folHlink>
        <a:srgbClr val="92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0000"/>
          </a:solidFill>
          <a:prstDash val="solid"/>
          <a:round/>
          <a:headEnd type="none" w="med" len="med"/>
          <a:tailEnd type="none" w="med" len="med"/>
        </a:ln>
        <a:effectLst/>
      </a:spPr>
      <a:bodyPr vert="horz" wrap="none" lIns="0" tIns="0" rIns="18288" bIns="18288"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rgbClr val="000000"/>
            </a:solidFill>
            <a:effectLst/>
            <a:latin typeface="Arial" pitchFamily="34" charset="0"/>
            <a:cs typeface="Arial" pitchFamily="34" charset="0"/>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lIns="0" rIns="0" rtlCol="0">
        <a:spAutoFit/>
      </a:bodyPr>
      <a:lstStyle>
        <a:defPPr algn="l">
          <a:defRPr sz="1200" dirty="0" err="1" smtClean="0">
            <a:solidFill>
              <a:schemeClr val="tx1"/>
            </a:solidFill>
          </a:defRPr>
        </a:defPPr>
      </a:lstStyle>
    </a:txDef>
  </a:objectDefaults>
  <a:extraClrSchemeLst/>
  <a:custClrLst>
    <a:custClr name="Stable Black (Dark 1)">
      <a:srgbClr val="000000"/>
    </a:custClr>
    <a:custClr name="Stable White (Light 1)">
      <a:srgbClr val="FFFFFF"/>
    </a:custClr>
    <a:custClr name="Stable Dark Blue (Dark 2)">
      <a:srgbClr val="00395C"/>
    </a:custClr>
    <a:custClr name="Stable White (Light 2)">
      <a:srgbClr val="FFFFFF"/>
    </a:custClr>
    <a:custClr name="Title Bar Fill (Teal)">
      <a:srgbClr val="006991"/>
    </a:custClr>
    <a:custClr name="Stable Barclays Cyan">
      <a:srgbClr val="00AEEF"/>
    </a:custClr>
    <a:custClr name="Stable Map Fill 1">
      <a:srgbClr val="FFF2CF"/>
    </a:custClr>
    <a:custClr name="Stable Map Fill 2">
      <a:srgbClr val="DDDEDE"/>
    </a:custClr>
    <a:custClr name="Stable Map Border">
      <a:srgbClr val="ACACAD"/>
    </a:custClr>
    <a:custClr name=" ">
      <a:srgbClr val="FFFFFF"/>
    </a:custClr>
    <a:custClr name="Barclays Cyan">
      <a:srgbClr val="00AEEF"/>
    </a:custClr>
    <a:custClr name="Yellow">
      <a:srgbClr val="FEBE10"/>
    </a:custClr>
    <a:custClr name="Teal">
      <a:srgbClr val="006991"/>
    </a:custClr>
    <a:custClr name="Lime Green">
      <a:srgbClr val="99B221"/>
    </a:custClr>
    <a:custClr name="Dark Gray">
      <a:srgbClr val="58595B"/>
    </a:custClr>
    <a:custClr name="Barclays 50%">
      <a:srgbClr val="80CDED"/>
    </a:custClr>
    <a:custClr name="Orange">
      <a:srgbClr val="E5801D"/>
    </a:custClr>
    <a:custClr name="Royal Blue">
      <a:srgbClr val="3250AA"/>
    </a:custClr>
    <a:custClr name="Green">
      <a:srgbClr val="519136"/>
    </a:custClr>
    <a:custClr name="Red">
      <a:srgbClr val="9D063B"/>
    </a:custClr>
    <a:custClr name="Barclays Cyan 70%">
      <a:srgbClr val="4DC6F4"/>
    </a:custClr>
    <a:custClr name="Yellow 50%">
      <a:srgbClr val="FEDF87"/>
    </a:custClr>
    <a:custClr name="Teal 50%">
      <a:srgbClr val="80B4C8"/>
    </a:custClr>
    <a:custClr name="Lime Green 50%">
      <a:srgbClr val="CCD890"/>
    </a:custClr>
    <a:custClr name="Dark Gray 50%">
      <a:srgbClr val="ACACAD"/>
    </a:custClr>
    <a:custClr name="Barclays 25%">
      <a:srgbClr val="C0E6F6"/>
    </a:custClr>
    <a:custClr name="Orange 50%">
      <a:srgbClr val="F2C08E"/>
    </a:custClr>
    <a:custClr name="Royal Blue 50%">
      <a:srgbClr val="99A8D4"/>
    </a:custClr>
    <a:custClr name="Green 50%">
      <a:srgbClr val="A8C89A"/>
    </a:custClr>
    <a:custClr name="Red 50%">
      <a:srgbClr val="CE829D"/>
    </a:custClr>
  </a:custClrLst>
</a:theme>
</file>

<file path=ppt/theme/theme9.xml><?xml version="1.0" encoding="utf-8"?>
<a:theme xmlns:a="http://schemas.openxmlformats.org/drawingml/2006/main" name="8_Barclays PresBuilder">
  <a:themeElements>
    <a:clrScheme name="Agility_CG">
      <a:dk1>
        <a:srgbClr val="4B4B4B"/>
      </a:dk1>
      <a:lt1>
        <a:srgbClr val="FFFFFF"/>
      </a:lt1>
      <a:dk2>
        <a:srgbClr val="7E8083"/>
      </a:dk2>
      <a:lt2>
        <a:srgbClr val="CE361D"/>
      </a:lt2>
      <a:accent1>
        <a:srgbClr val="F69F1C"/>
      </a:accent1>
      <a:accent2>
        <a:srgbClr val="E86D27"/>
      </a:accent2>
      <a:accent3>
        <a:srgbClr val="C13D27"/>
      </a:accent3>
      <a:accent4>
        <a:srgbClr val="3F3F3F"/>
      </a:accent4>
      <a:accent5>
        <a:srgbClr val="FACDAB"/>
      </a:accent5>
      <a:accent6>
        <a:srgbClr val="D26222"/>
      </a:accent6>
      <a:hlink>
        <a:srgbClr val="C35C1D"/>
      </a:hlink>
      <a:folHlink>
        <a:srgbClr val="92000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0000"/>
          </a:solidFill>
          <a:prstDash val="solid"/>
          <a:round/>
          <a:headEnd type="none" w="med" len="med"/>
          <a:tailEnd type="none" w="med" len="med"/>
        </a:ln>
        <a:effectLst/>
      </a:spPr>
      <a:bodyPr vert="horz" wrap="none" lIns="0" tIns="0" rIns="18288" bIns="18288" numCol="1" anchor="ctr"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400" b="0" i="0" u="none" strike="noStrike" cap="none" normalizeH="0" baseline="0" smtClean="0">
            <a:ln>
              <a:noFill/>
            </a:ln>
            <a:solidFill>
              <a:srgbClr val="000000"/>
            </a:solidFill>
            <a:effectLst/>
            <a:latin typeface="Arial" pitchFamily="34" charset="0"/>
            <a:cs typeface="Arial" pitchFamily="34" charset="0"/>
          </a:defRPr>
        </a:defPPr>
      </a:lstStyle>
    </a:spDef>
    <a:lnDef>
      <a:spPr bwMode="auto">
        <a:noFill/>
        <a:ln w="9525" cap="flat" cmpd="sng" algn="ctr">
          <a:solidFill>
            <a:schemeClr val="tx1"/>
          </a:solidFill>
          <a:prstDash val="solid"/>
          <a:round/>
          <a:headEnd type="none" w="med" len="med"/>
          <a:tailEnd type="none" w="med" len="med"/>
        </a:ln>
        <a:effectLst/>
      </a:spPr>
      <a:bodyPr/>
      <a:lstStyle/>
    </a:lnDef>
    <a:txDef>
      <a:spPr>
        <a:noFill/>
      </a:spPr>
      <a:bodyPr wrap="square" lIns="0" rIns="0" rtlCol="0">
        <a:spAutoFit/>
      </a:bodyPr>
      <a:lstStyle>
        <a:defPPr algn="l">
          <a:defRPr sz="1200" dirty="0" err="1" smtClean="0">
            <a:solidFill>
              <a:schemeClr val="tx1"/>
            </a:solidFill>
          </a:defRPr>
        </a:defPPr>
      </a:lstStyle>
    </a:txDef>
  </a:objectDefaults>
  <a:extraClrSchemeLst/>
  <a:custClrLst>
    <a:custClr name="Stable Black (Dark 1)">
      <a:srgbClr val="000000"/>
    </a:custClr>
    <a:custClr name="Stable White (Light 1)">
      <a:srgbClr val="FFFFFF"/>
    </a:custClr>
    <a:custClr name="Stable Dark Blue (Dark 2)">
      <a:srgbClr val="00395C"/>
    </a:custClr>
    <a:custClr name="Stable White (Light 2)">
      <a:srgbClr val="FFFFFF"/>
    </a:custClr>
    <a:custClr name="Title Bar Fill (Teal)">
      <a:srgbClr val="006991"/>
    </a:custClr>
    <a:custClr name="Stable Barclays Cyan">
      <a:srgbClr val="00AEEF"/>
    </a:custClr>
    <a:custClr name="Stable Map Fill 1">
      <a:srgbClr val="FFF2CF"/>
    </a:custClr>
    <a:custClr name="Stable Map Fill 2">
      <a:srgbClr val="DDDEDE"/>
    </a:custClr>
    <a:custClr name="Stable Map Border">
      <a:srgbClr val="ACACAD"/>
    </a:custClr>
    <a:custClr name=" ">
      <a:srgbClr val="FFFFFF"/>
    </a:custClr>
    <a:custClr name="Barclays Cyan">
      <a:srgbClr val="00AEEF"/>
    </a:custClr>
    <a:custClr name="Yellow">
      <a:srgbClr val="FEBE10"/>
    </a:custClr>
    <a:custClr name="Teal">
      <a:srgbClr val="006991"/>
    </a:custClr>
    <a:custClr name="Lime Green">
      <a:srgbClr val="99B221"/>
    </a:custClr>
    <a:custClr name="Dark Gray">
      <a:srgbClr val="58595B"/>
    </a:custClr>
    <a:custClr name="Barclays 50%">
      <a:srgbClr val="80CDED"/>
    </a:custClr>
    <a:custClr name="Orange">
      <a:srgbClr val="E5801D"/>
    </a:custClr>
    <a:custClr name="Royal Blue">
      <a:srgbClr val="3250AA"/>
    </a:custClr>
    <a:custClr name="Green">
      <a:srgbClr val="519136"/>
    </a:custClr>
    <a:custClr name="Red">
      <a:srgbClr val="9D063B"/>
    </a:custClr>
    <a:custClr name="Barclays Cyan 70%">
      <a:srgbClr val="4DC6F4"/>
    </a:custClr>
    <a:custClr name="Yellow 50%">
      <a:srgbClr val="FEDF87"/>
    </a:custClr>
    <a:custClr name="Teal 50%">
      <a:srgbClr val="80B4C8"/>
    </a:custClr>
    <a:custClr name="Lime Green 50%">
      <a:srgbClr val="CCD890"/>
    </a:custClr>
    <a:custClr name="Dark Gray 50%">
      <a:srgbClr val="ACACAD"/>
    </a:custClr>
    <a:custClr name="Barclays 25%">
      <a:srgbClr val="C0E6F6"/>
    </a:custClr>
    <a:custClr name="Orange 50%">
      <a:srgbClr val="F2C08E"/>
    </a:custClr>
    <a:custClr name="Royal Blue 50%">
      <a:srgbClr val="99A8D4"/>
    </a:custClr>
    <a:custClr name="Green 50%">
      <a:srgbClr val="A8C89A"/>
    </a:custClr>
    <a:custClr name="Red 50%">
      <a:srgbClr val="CE829D"/>
    </a:custClr>
  </a:custClr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6E1EBC73811BD146B68A22B35CFC502F" ma:contentTypeVersion="2" ma:contentTypeDescription="Create a new document." ma:contentTypeScope="" ma:versionID="855095dc298a7cbddf1e217532fbc16f">
  <xsd:schema xmlns:xsd="http://www.w3.org/2001/XMLSchema" xmlns:xs="http://www.w3.org/2001/XMLSchema" xmlns:p="http://schemas.microsoft.com/office/2006/metadata/properties" xmlns:ns3="a47c963e-636c-401c-8b09-1011ded18ffb" targetNamespace="http://schemas.microsoft.com/office/2006/metadata/properties" ma:root="true" ma:fieldsID="34455151418d35216dc51308329f7a30" ns3:_="">
    <xsd:import namespace="a47c963e-636c-401c-8b09-1011ded18ffb"/>
    <xsd:element name="properties">
      <xsd:complexType>
        <xsd:sequence>
          <xsd:element name="documentManagement">
            <xsd:complexType>
              <xsd:all>
                <xsd:element ref="ns3:MediaServiceMetadata" minOccurs="0"/>
                <xsd:element ref="ns3: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47c963e-636c-401c-8b09-1011ded18ff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301357F-E917-4C3E-BFF3-3916F5E14008}">
  <ds:schemaRefs>
    <ds:schemaRef ds:uri="http://schemas.microsoft.com/sharepoint/v3/contenttype/forms"/>
  </ds:schemaRefs>
</ds:datastoreItem>
</file>

<file path=customXml/itemProps2.xml><?xml version="1.0" encoding="utf-8"?>
<ds:datastoreItem xmlns:ds="http://schemas.openxmlformats.org/officeDocument/2006/customXml" ds:itemID="{9A8520CD-D54C-4B0A-8A96-6288BDDE4AE3}">
  <ds:schemaRefs>
    <ds:schemaRef ds:uri="http://purl.org/dc/elements/1.1/"/>
    <ds:schemaRef ds:uri="http://schemas.microsoft.com/office/infopath/2007/PartnerControls"/>
    <ds:schemaRef ds:uri="http://www.w3.org/XML/1998/namespace"/>
    <ds:schemaRef ds:uri="http://purl.org/dc/terms/"/>
    <ds:schemaRef ds:uri="http://schemas.openxmlformats.org/package/2006/metadata/core-properties"/>
    <ds:schemaRef ds:uri="http://purl.org/dc/dcmitype/"/>
    <ds:schemaRef ds:uri="http://schemas.microsoft.com/office/2006/documentManagement/types"/>
    <ds:schemaRef ds:uri="a47c963e-636c-401c-8b09-1011ded18ffb"/>
    <ds:schemaRef ds:uri="http://schemas.microsoft.com/office/2006/metadata/properties"/>
  </ds:schemaRefs>
</ds:datastoreItem>
</file>

<file path=customXml/itemProps3.xml><?xml version="1.0" encoding="utf-8"?>
<ds:datastoreItem xmlns:ds="http://schemas.openxmlformats.org/officeDocument/2006/customXml" ds:itemID="{67B6EF3C-1ABA-4A72-AC55-E9C2A2E6156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47c963e-636c-401c-8b09-1011ded18ff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template4</Template>
  <TotalTime>28221</TotalTime>
  <Words>42238</Words>
  <Application>Microsoft Office PowerPoint</Application>
  <PresentationFormat>Widescreen</PresentationFormat>
  <Paragraphs>435</Paragraphs>
  <Slides>13</Slides>
  <Notes>11</Notes>
  <HiddenSlides>0</HiddenSlides>
  <MMClips>0</MMClips>
  <ScaleCrop>false</ScaleCrop>
  <HeadingPairs>
    <vt:vector size="8" baseType="variant">
      <vt:variant>
        <vt:lpstr>Fonts Used</vt:lpstr>
      </vt:variant>
      <vt:variant>
        <vt:i4>10</vt:i4>
      </vt:variant>
      <vt:variant>
        <vt:lpstr>Theme</vt:lpstr>
      </vt:variant>
      <vt:variant>
        <vt:i4>13</vt:i4>
      </vt:variant>
      <vt:variant>
        <vt:lpstr>Embedded OLE Servers</vt:lpstr>
      </vt:variant>
      <vt:variant>
        <vt:i4>1</vt:i4>
      </vt:variant>
      <vt:variant>
        <vt:lpstr>Slide Titles</vt:lpstr>
      </vt:variant>
      <vt:variant>
        <vt:i4>13</vt:i4>
      </vt:variant>
    </vt:vector>
  </HeadingPairs>
  <TitlesOfParts>
    <vt:vector size="37" baseType="lpstr">
      <vt:lpstr>Arial</vt:lpstr>
      <vt:lpstr>Arial Nova</vt:lpstr>
      <vt:lpstr>Calibri</vt:lpstr>
      <vt:lpstr>Etelka Text Pro</vt:lpstr>
      <vt:lpstr>Karla</vt:lpstr>
      <vt:lpstr>Noto Sans</vt:lpstr>
      <vt:lpstr>Verdana</vt:lpstr>
      <vt:lpstr>Wingdings</vt:lpstr>
      <vt:lpstr>Wingdings 2</vt:lpstr>
      <vt:lpstr>Wingdings 3</vt:lpstr>
      <vt:lpstr>Barclays PresBuilder</vt:lpstr>
      <vt:lpstr>1_Barclays PresBuilder</vt:lpstr>
      <vt:lpstr>2_Barclays PresBuilder</vt:lpstr>
      <vt:lpstr>3_Barclays PresBuilder</vt:lpstr>
      <vt:lpstr>4_Barclays PresBuilder</vt:lpstr>
      <vt:lpstr>5_Barclays PresBuilder</vt:lpstr>
      <vt:lpstr>6_Barclays PresBuilder</vt:lpstr>
      <vt:lpstr>7_Barclays PresBuilder</vt:lpstr>
      <vt:lpstr>8_Barclays PresBuilder</vt:lpstr>
      <vt:lpstr>9_Barclays PresBuilder</vt:lpstr>
      <vt:lpstr>Agility_Template</vt:lpstr>
      <vt:lpstr>1_Agility_Template</vt:lpstr>
      <vt:lpstr>2_Agility_Templat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Agility</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yoti Tauro</dc:creator>
  <cp:lastModifiedBy>Soriana Borjas</cp:lastModifiedBy>
  <cp:revision>2063</cp:revision>
  <cp:lastPrinted>2022-05-19T08:51:41Z</cp:lastPrinted>
  <dcterms:created xsi:type="dcterms:W3CDTF">2018-02-18T09:41:51Z</dcterms:created>
  <dcterms:modified xsi:type="dcterms:W3CDTF">2023-11-16T11:16: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1EBC73811BD146B68A22B35CFC502F</vt:lpwstr>
  </property>
</Properties>
</file>